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glb" ContentType="model/gltf.binary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2.xml" ContentType="application/vnd.openxmlformats-officedocument.theme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1.xml" ContentType="application/vnd.openxmlformats-officedocument.presentationml.tags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microsoft.com/office/2020/02/relationships/classificationlabels" Target="docMetadata/LabelInfo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embedTrueTypeFonts="1" saveSubsetFonts="1" autoCompressPictures="0">
  <p:sldMasterIdLst>
    <p:sldMasterId id="2147485612" r:id="rId1"/>
    <p:sldMasterId id="2147485649" r:id="rId2"/>
    <p:sldMasterId id="2147485871" r:id="rId3"/>
  </p:sldMasterIdLst>
  <p:notesMasterIdLst>
    <p:notesMasterId r:id="rId51"/>
  </p:notesMasterIdLst>
  <p:sldIdLst>
    <p:sldId id="261" r:id="rId4"/>
    <p:sldId id="263" r:id="rId5"/>
    <p:sldId id="256" r:id="rId6"/>
    <p:sldId id="415" r:id="rId7"/>
    <p:sldId id="595" r:id="rId8"/>
    <p:sldId id="260" r:id="rId9"/>
    <p:sldId id="414" r:id="rId10"/>
    <p:sldId id="2147481932" r:id="rId11"/>
    <p:sldId id="2147479667" r:id="rId12"/>
    <p:sldId id="2147483618" r:id="rId13"/>
    <p:sldId id="2147483620" r:id="rId14"/>
    <p:sldId id="2147483619" r:id="rId15"/>
    <p:sldId id="2147483589" r:id="rId16"/>
    <p:sldId id="290" r:id="rId17"/>
    <p:sldId id="365" r:id="rId18"/>
    <p:sldId id="2147483596" r:id="rId19"/>
    <p:sldId id="2147483622" r:id="rId20"/>
    <p:sldId id="2147483621" r:id="rId21"/>
    <p:sldId id="2147483623" r:id="rId22"/>
    <p:sldId id="2147483624" r:id="rId23"/>
    <p:sldId id="447" r:id="rId24"/>
    <p:sldId id="267" r:id="rId25"/>
    <p:sldId id="273" r:id="rId26"/>
    <p:sldId id="428" r:id="rId27"/>
    <p:sldId id="269" r:id="rId28"/>
    <p:sldId id="369" r:id="rId29"/>
    <p:sldId id="371" r:id="rId30"/>
    <p:sldId id="277" r:id="rId31"/>
    <p:sldId id="278" r:id="rId32"/>
    <p:sldId id="279" r:id="rId33"/>
    <p:sldId id="2147483564" r:id="rId34"/>
    <p:sldId id="272" r:id="rId35"/>
    <p:sldId id="262" r:id="rId36"/>
    <p:sldId id="2147483608" r:id="rId37"/>
    <p:sldId id="377" r:id="rId38"/>
    <p:sldId id="2147483602" r:id="rId39"/>
    <p:sldId id="431" r:id="rId40"/>
    <p:sldId id="2147481957" r:id="rId41"/>
    <p:sldId id="338" r:id="rId42"/>
    <p:sldId id="403" r:id="rId43"/>
    <p:sldId id="2147481910" r:id="rId44"/>
    <p:sldId id="418" r:id="rId45"/>
    <p:sldId id="257" r:id="rId46"/>
    <p:sldId id="274" r:id="rId47"/>
    <p:sldId id="613" r:id="rId48"/>
    <p:sldId id="2147483625" r:id="rId49"/>
    <p:sldId id="258" r:id="rId50"/>
  </p:sldIdLst>
  <p:sldSz cx="12192000" cy="6858000"/>
  <p:notesSz cx="6858000" cy="9144000"/>
  <p:embeddedFontLst>
    <p:embeddedFont>
      <p:font typeface="Cascadia Mono Light" panose="020B0609020000020004" pitchFamily="49" charset="0"/>
      <p:regular r:id="rId52"/>
      <p:italic r:id="rId53"/>
    </p:embeddedFont>
    <p:embeddedFont>
      <p:font typeface="Consolas" panose="020B0609020204030204" pitchFamily="49" charset="0"/>
      <p:regular r:id="rId54"/>
      <p:bold r:id="rId55"/>
      <p:italic r:id="rId56"/>
      <p:boldItalic r:id="rId57"/>
    </p:embeddedFont>
    <p:embeddedFont>
      <p:font typeface="Mona Sans" pitchFamily="2" charset="0"/>
      <p:regular r:id="rId58"/>
      <p:bold r:id="rId59"/>
      <p:italic r:id="rId60"/>
      <p:boldItalic r:id="rId61"/>
    </p:embeddedFont>
    <p:embeddedFont>
      <p:font typeface="Quattrocento Sans" panose="020B0502050000020003" pitchFamily="34" charset="0"/>
      <p:regular r:id="rId62"/>
      <p:bold r:id="rId63"/>
      <p:italic r:id="rId64"/>
      <p:boldItalic r:id="rId65"/>
    </p:embeddedFont>
    <p:embeddedFont>
      <p:font typeface="Segoe Pro Display" panose="020B0502040504020203" pitchFamily="34" charset="0"/>
      <p:regular r:id="rId66"/>
      <p:bold r:id="rId67"/>
    </p:embeddedFont>
    <p:embeddedFont>
      <p:font typeface="Segoe Pro Display Semibold" panose="020B0702040504020203" pitchFamily="34" charset="0"/>
      <p:bold r:id="rId68"/>
    </p:embeddedFont>
    <p:embeddedFont>
      <p:font typeface="Segoe Sans Display" pitchFamily="2" charset="0"/>
      <p:regular r:id="rId69"/>
      <p:bold r:id="rId70"/>
      <p:italic r:id="rId71"/>
      <p:boldItalic r:id="rId72"/>
    </p:embeddedFont>
    <p:embeddedFont>
      <p:font typeface="Segoe Sans Display Semibold" pitchFamily="2" charset="0"/>
      <p:regular r:id="rId73"/>
      <p:bold r:id="rId74"/>
      <p:boldItalic r:id="rId75"/>
    </p:embeddedFont>
    <p:embeddedFont>
      <p:font typeface="Segoe Sans Text" pitchFamily="2" charset="0"/>
      <p:regular r:id="rId76"/>
      <p:bold r:id="rId77"/>
      <p:italic r:id="rId78"/>
      <p:boldItalic r:id="rId79"/>
    </p:embeddedFont>
    <p:embeddedFont>
      <p:font typeface="Segoe Sans Text Semibold" pitchFamily="2" charset="0"/>
      <p:bold r:id="rId80"/>
      <p:boldItalic r:id="rId81"/>
    </p:embeddedFont>
    <p:embeddedFont>
      <p:font typeface="Segoe UI" panose="020B0502040204020203" pitchFamily="34" charset="0"/>
      <p:regular r:id="rId82"/>
      <p:bold r:id="rId83"/>
      <p:italic r:id="rId84"/>
      <p:boldItalic r:id="rId85"/>
    </p:embeddedFont>
    <p:embeddedFont>
      <p:font typeface="Segoe UI Semibold" panose="020B0702040204020203" pitchFamily="34" charset="0"/>
      <p:regular r:id="rId86"/>
      <p:bold r:id="rId87"/>
      <p:italic r:id="rId88"/>
      <p:boldItalic r:id="rId89"/>
    </p:embeddedFont>
    <p:embeddedFont>
      <p:font typeface="Segoe UI Semilight" panose="020B0402040204020203" pitchFamily="34" charset="0"/>
      <p:regular r:id="rId90"/>
      <p:italic r:id="rId91"/>
    </p:embeddedFont>
    <p:embeddedFont>
      <p:font typeface="Segoe UI Variable Display Semib" pitchFamily="2" charset="0"/>
      <p:bold r:id="rId92"/>
    </p:embeddedFont>
    <p:embeddedFont>
      <p:font typeface="Segoe UI Variable Display Semibold" pitchFamily="2" charset="0"/>
      <p:bold r:id="rId93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521415D9-36F7-43E2-AB2F-B90AF26B5E84}">
      <p14:sectionLst xmlns:p14="http://schemas.microsoft.com/office/powerpoint/2010/main">
        <p14:section name="Default Section" id="{911FEFD7-E0AC-4983-9ACB-FA1F418277F7}">
          <p14:sldIdLst>
            <p14:sldId id="261"/>
            <p14:sldId id="263"/>
            <p14:sldId id="256"/>
            <p14:sldId id="415"/>
            <p14:sldId id="595"/>
            <p14:sldId id="260"/>
            <p14:sldId id="414"/>
            <p14:sldId id="2147481932"/>
            <p14:sldId id="2147479667"/>
            <p14:sldId id="2147483618"/>
            <p14:sldId id="2147483620"/>
            <p14:sldId id="2147483619"/>
            <p14:sldId id="2147483589"/>
            <p14:sldId id="290"/>
            <p14:sldId id="365"/>
            <p14:sldId id="2147483596"/>
            <p14:sldId id="2147483622"/>
            <p14:sldId id="2147483621"/>
            <p14:sldId id="2147483623"/>
            <p14:sldId id="2147483624"/>
            <p14:sldId id="447"/>
            <p14:sldId id="267"/>
            <p14:sldId id="273"/>
            <p14:sldId id="428"/>
            <p14:sldId id="269"/>
            <p14:sldId id="369"/>
            <p14:sldId id="371"/>
            <p14:sldId id="277"/>
            <p14:sldId id="278"/>
            <p14:sldId id="279"/>
            <p14:sldId id="2147483564"/>
            <p14:sldId id="272"/>
            <p14:sldId id="262"/>
            <p14:sldId id="2147483608"/>
            <p14:sldId id="377"/>
            <p14:sldId id="2147483602"/>
            <p14:sldId id="431"/>
            <p14:sldId id="2147481957"/>
            <p14:sldId id="338"/>
            <p14:sldId id="403"/>
            <p14:sldId id="2147481910"/>
            <p14:sldId id="418"/>
            <p14:sldId id="257"/>
            <p14:sldId id="274"/>
            <p14:sldId id="613"/>
            <p14:sldId id="2147483625"/>
          </p14:sldIdLst>
        </p14:section>
        <p14:section name="Closing" id="{C350BFE4-1A56-418B-8628-0145DA83CCC9}">
          <p14:sldIdLst>
            <p14:sldId id="258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  <p:ext uri="GoogleSlidesCustomDataVersion2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514" roundtripDataSignature="AMtx7mgHyi3MDMQQsYYyO/L3g3CNVuroyg==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8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FD1C69D-180F-4A4D-B66A-F591821D3DE6}" v="102" dt="2025-07-03T12:42:09.958"/>
  </p1510:revLst>
</p1510:revInfo>
</file>

<file path=ppt/tableStyles.xml><?xml version="1.0" encoding="utf-8"?>
<a:tblStyleLst xmlns:a="http://schemas.openxmlformats.org/drawingml/2006/main" def="{B2DBD723-3049-4293-A166-0D4BCD4DFD20}">
  <a:tblStyle styleId="{B2DBD723-3049-4293-A166-0D4BCD4DFD20}" styleName="Table_0">
    <a:wholeTbl>
      <a:tcTxStyle b="off" i="off">
        <a:font>
          <a:latin typeface="Segoe UI"/>
          <a:ea typeface="Segoe UI"/>
          <a:cs typeface="Segoe UI"/>
        </a:font>
        <a:schemeClr val="dk1"/>
      </a:tcTxStyle>
      <a:tcStyle>
        <a:tcBdr>
          <a:lef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FFF3E6"/>
          </a:solidFill>
        </a:fill>
      </a:tcStyle>
    </a:wholeTbl>
    <a:band1H>
      <a:tcTxStyle/>
      <a:tcStyle>
        <a:tcBdr/>
        <a:fill>
          <a:solidFill>
            <a:srgbClr val="FFE6CA"/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rgbClr val="FFE6CA"/>
          </a:solidFill>
        </a:fill>
      </a:tcStyle>
    </a:band1V>
    <a:band2V>
      <a:tcTxStyle/>
      <a:tcStyle>
        <a:tcBdr/>
      </a:tcStyle>
    </a:band2V>
    <a:lastCol>
      <a:tcTxStyle b="on" i="off">
        <a:font>
          <a:latin typeface="Segoe UI"/>
          <a:ea typeface="Segoe UI"/>
          <a:cs typeface="Segoe UI"/>
        </a:font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 i="off">
        <a:font>
          <a:latin typeface="Segoe UI"/>
          <a:ea typeface="Segoe UI"/>
          <a:cs typeface="Segoe UI"/>
        </a:font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 i="off">
        <a:font>
          <a:latin typeface="Segoe UI"/>
          <a:ea typeface="Segoe UI"/>
          <a:cs typeface="Segoe UI"/>
        </a:font>
        <a:schemeClr val="lt1"/>
      </a:tcTxStyle>
      <a:tcStyle>
        <a:tcBdr>
          <a:top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</a:tcBdr>
        <a:fill>
          <a:solidFill>
            <a:schemeClr val="accent3"/>
          </a:solidFill>
        </a:fill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 b="on" i="off">
        <a:font>
          <a:latin typeface="Segoe UI"/>
          <a:ea typeface="Segoe UI"/>
          <a:cs typeface="Segoe UI"/>
        </a:font>
        <a:schemeClr val="lt1"/>
      </a:tcTxStyle>
      <a:tcStyle>
        <a:tcBdr>
          <a:bottom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</a:tcBdr>
        <a:fill>
          <a:solidFill>
            <a:schemeClr val="accent3"/>
          </a:solidFill>
        </a:fill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662" autoAdjust="0"/>
    <p:restoredTop sz="94675" autoAdjust="0"/>
  </p:normalViewPr>
  <p:slideViewPr>
    <p:cSldViewPr snapToGrid="0">
      <p:cViewPr varScale="1">
        <p:scale>
          <a:sx n="89" d="100"/>
          <a:sy n="89" d="100"/>
        </p:scale>
        <p:origin x="44" y="2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100" d="100"/>
          <a:sy n="100" d="100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3.xml"/><Relationship Id="rId515" Type="http://schemas.openxmlformats.org/officeDocument/2006/relationships/presProps" Target="presProps.xml"/><Relationship Id="rId21" Type="http://schemas.openxmlformats.org/officeDocument/2006/relationships/slide" Target="slides/slide18.xml"/><Relationship Id="rId42" Type="http://schemas.openxmlformats.org/officeDocument/2006/relationships/slide" Target="slides/slide39.xml"/><Relationship Id="rId47" Type="http://schemas.openxmlformats.org/officeDocument/2006/relationships/slide" Target="slides/slide44.xml"/><Relationship Id="rId63" Type="http://schemas.openxmlformats.org/officeDocument/2006/relationships/font" Target="fonts/font12.fntdata"/><Relationship Id="rId68" Type="http://schemas.openxmlformats.org/officeDocument/2006/relationships/font" Target="fonts/font17.fntdata"/><Relationship Id="rId84" Type="http://schemas.openxmlformats.org/officeDocument/2006/relationships/font" Target="fonts/font33.fntdata"/><Relationship Id="rId89" Type="http://schemas.openxmlformats.org/officeDocument/2006/relationships/font" Target="fonts/font38.fntdata"/><Relationship Id="rId16" Type="http://schemas.openxmlformats.org/officeDocument/2006/relationships/slide" Target="slides/slide13.xml"/><Relationship Id="rId11" Type="http://schemas.openxmlformats.org/officeDocument/2006/relationships/slide" Target="slides/slide8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53" Type="http://schemas.openxmlformats.org/officeDocument/2006/relationships/font" Target="fonts/font2.fntdata"/><Relationship Id="rId58" Type="http://schemas.openxmlformats.org/officeDocument/2006/relationships/font" Target="fonts/font7.fntdata"/><Relationship Id="rId74" Type="http://schemas.openxmlformats.org/officeDocument/2006/relationships/font" Target="fonts/font23.fntdata"/><Relationship Id="rId79" Type="http://schemas.openxmlformats.org/officeDocument/2006/relationships/font" Target="fonts/font28.fntdata"/><Relationship Id="rId5" Type="http://schemas.openxmlformats.org/officeDocument/2006/relationships/slide" Target="slides/slide2.xml"/><Relationship Id="rId90" Type="http://schemas.openxmlformats.org/officeDocument/2006/relationships/font" Target="fonts/font39.fntdata"/><Relationship Id="rId516" Type="http://schemas.openxmlformats.org/officeDocument/2006/relationships/viewProps" Target="viewProps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43" Type="http://schemas.openxmlformats.org/officeDocument/2006/relationships/slide" Target="slides/slide40.xml"/><Relationship Id="rId48" Type="http://schemas.openxmlformats.org/officeDocument/2006/relationships/slide" Target="slides/slide45.xml"/><Relationship Id="rId64" Type="http://schemas.openxmlformats.org/officeDocument/2006/relationships/font" Target="fonts/font13.fntdata"/><Relationship Id="rId69" Type="http://schemas.openxmlformats.org/officeDocument/2006/relationships/font" Target="fonts/font18.fntdata"/><Relationship Id="rId80" Type="http://schemas.openxmlformats.org/officeDocument/2006/relationships/font" Target="fonts/font29.fntdata"/><Relationship Id="rId85" Type="http://schemas.openxmlformats.org/officeDocument/2006/relationships/font" Target="fonts/font34.fntdata"/><Relationship Id="rId3" Type="http://schemas.openxmlformats.org/officeDocument/2006/relationships/slideMaster" Target="slideMasters/slideMaster3.xml"/><Relationship Id="rId519" Type="http://schemas.microsoft.com/office/2015/10/relationships/revisionInfo" Target="revisionInfo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slide" Target="slides/slide43.xml"/><Relationship Id="rId59" Type="http://schemas.openxmlformats.org/officeDocument/2006/relationships/font" Target="fonts/font8.fntdata"/><Relationship Id="rId67" Type="http://schemas.openxmlformats.org/officeDocument/2006/relationships/font" Target="fonts/font16.fntdata"/><Relationship Id="rId514" Type="http://customschemas.google.com/relationships/presentationmetadata" Target="metadata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54" Type="http://schemas.openxmlformats.org/officeDocument/2006/relationships/font" Target="fonts/font3.fntdata"/><Relationship Id="rId62" Type="http://schemas.openxmlformats.org/officeDocument/2006/relationships/font" Target="fonts/font11.fntdata"/><Relationship Id="rId70" Type="http://schemas.openxmlformats.org/officeDocument/2006/relationships/font" Target="fonts/font19.fntdata"/><Relationship Id="rId75" Type="http://schemas.openxmlformats.org/officeDocument/2006/relationships/font" Target="fonts/font24.fntdata"/><Relationship Id="rId83" Type="http://schemas.openxmlformats.org/officeDocument/2006/relationships/font" Target="fonts/font32.fntdata"/><Relationship Id="rId88" Type="http://schemas.openxmlformats.org/officeDocument/2006/relationships/font" Target="fonts/font37.fntdata"/><Relationship Id="rId91" Type="http://schemas.openxmlformats.org/officeDocument/2006/relationships/font" Target="fonts/font40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slide" Target="slides/slide46.xml"/><Relationship Id="rId57" Type="http://schemas.openxmlformats.org/officeDocument/2006/relationships/font" Target="fonts/font6.fntdata"/><Relationship Id="rId517" Type="http://schemas.openxmlformats.org/officeDocument/2006/relationships/theme" Target="theme/theme1.xml"/><Relationship Id="rId10" Type="http://schemas.openxmlformats.org/officeDocument/2006/relationships/slide" Target="slides/slide7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52" Type="http://schemas.openxmlformats.org/officeDocument/2006/relationships/font" Target="fonts/font1.fntdata"/><Relationship Id="rId60" Type="http://schemas.openxmlformats.org/officeDocument/2006/relationships/font" Target="fonts/font9.fntdata"/><Relationship Id="rId65" Type="http://schemas.openxmlformats.org/officeDocument/2006/relationships/font" Target="fonts/font14.fntdata"/><Relationship Id="rId73" Type="http://schemas.openxmlformats.org/officeDocument/2006/relationships/font" Target="fonts/font22.fntdata"/><Relationship Id="rId78" Type="http://schemas.openxmlformats.org/officeDocument/2006/relationships/font" Target="fonts/font27.fntdata"/><Relationship Id="rId81" Type="http://schemas.openxmlformats.org/officeDocument/2006/relationships/font" Target="fonts/font30.fntdata"/><Relationship Id="rId86" Type="http://schemas.openxmlformats.org/officeDocument/2006/relationships/font" Target="fonts/font35.fntdata"/><Relationship Id="rId520" Type="http://schemas.microsoft.com/office/2018/10/relationships/authors" Target="author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39" Type="http://schemas.openxmlformats.org/officeDocument/2006/relationships/slide" Target="slides/slide36.xml"/><Relationship Id="rId34" Type="http://schemas.openxmlformats.org/officeDocument/2006/relationships/slide" Target="slides/slide31.xml"/><Relationship Id="rId50" Type="http://schemas.openxmlformats.org/officeDocument/2006/relationships/slide" Target="slides/slide47.xml"/><Relationship Id="rId55" Type="http://schemas.openxmlformats.org/officeDocument/2006/relationships/font" Target="fonts/font4.fntdata"/><Relationship Id="rId76" Type="http://schemas.openxmlformats.org/officeDocument/2006/relationships/font" Target="fonts/font25.fntdata"/><Relationship Id="rId7" Type="http://schemas.openxmlformats.org/officeDocument/2006/relationships/slide" Target="slides/slide4.xml"/><Relationship Id="rId71" Type="http://schemas.openxmlformats.org/officeDocument/2006/relationships/font" Target="fonts/font20.fntdata"/><Relationship Id="rId92" Type="http://schemas.openxmlformats.org/officeDocument/2006/relationships/font" Target="fonts/font41.fntdata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6.xml"/><Relationship Id="rId518" Type="http://schemas.openxmlformats.org/officeDocument/2006/relationships/tableStyles" Target="tableStyles.xml"/><Relationship Id="rId24" Type="http://schemas.openxmlformats.org/officeDocument/2006/relationships/slide" Target="slides/slide21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66" Type="http://schemas.openxmlformats.org/officeDocument/2006/relationships/font" Target="fonts/font15.fntdata"/><Relationship Id="rId87" Type="http://schemas.openxmlformats.org/officeDocument/2006/relationships/font" Target="fonts/font36.fntdata"/><Relationship Id="rId61" Type="http://schemas.openxmlformats.org/officeDocument/2006/relationships/font" Target="fonts/font10.fntdata"/><Relationship Id="rId82" Type="http://schemas.openxmlformats.org/officeDocument/2006/relationships/font" Target="fonts/font31.fntdata"/><Relationship Id="rId19" Type="http://schemas.openxmlformats.org/officeDocument/2006/relationships/slide" Target="slides/slide16.xml"/><Relationship Id="rId14" Type="http://schemas.openxmlformats.org/officeDocument/2006/relationships/slide" Target="slides/slide11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56" Type="http://schemas.openxmlformats.org/officeDocument/2006/relationships/font" Target="fonts/font5.fntdata"/><Relationship Id="rId77" Type="http://schemas.openxmlformats.org/officeDocument/2006/relationships/font" Target="fonts/font26.fntdata"/><Relationship Id="rId8" Type="http://schemas.openxmlformats.org/officeDocument/2006/relationships/slide" Target="slides/slide5.xml"/><Relationship Id="rId51" Type="http://schemas.openxmlformats.org/officeDocument/2006/relationships/notesMaster" Target="notesMasters/notesMaster1.xml"/><Relationship Id="rId72" Type="http://schemas.openxmlformats.org/officeDocument/2006/relationships/font" Target="fonts/font21.fntdata"/><Relationship Id="rId93" Type="http://schemas.openxmlformats.org/officeDocument/2006/relationships/font" Target="fonts/font42.fntdata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76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76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76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76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76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76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76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76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>
            <a:spLocks noGrp="1" noRot="1" noChangeAspect="1"/>
          </p:cNvSpPr>
          <p:nvPr>
            <p:ph type="sldImg" idx="3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5" name="Google Shape;5;n"/>
          <p:cNvSpPr txBox="1">
            <a:spLocks noGrp="1"/>
          </p:cNvSpPr>
          <p:nvPr>
            <p:ph type="ftr" idx="11"/>
          </p:nvPr>
        </p:nvSpPr>
        <p:spPr>
          <a:xfrm>
            <a:off x="0" y="8686800"/>
            <a:ext cx="5920740" cy="3559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76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76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76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76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76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76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76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76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" name="Google Shape;6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76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76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76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76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76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76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76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76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882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1pPr>
            <a:lvl2pPr marL="914400" marR="0" lvl="1" indent="-284607" algn="l" rtl="0">
              <a:lnSpc>
                <a:spcPct val="90000"/>
              </a:lnSpc>
              <a:spcBef>
                <a:spcPts val="333"/>
              </a:spcBef>
              <a:spcAft>
                <a:spcPts val="0"/>
              </a:spcAft>
              <a:buClr>
                <a:schemeClr val="dk1"/>
              </a:buClr>
              <a:buSzPts val="882"/>
              <a:buFont typeface="Arial"/>
              <a:buChar char="•"/>
              <a:defRPr sz="882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2pPr>
            <a:lvl3pPr marL="1371600" marR="0" lvl="2" indent="-284607" algn="l" rtl="0">
              <a:lnSpc>
                <a:spcPct val="90000"/>
              </a:lnSpc>
              <a:spcBef>
                <a:spcPts val="333"/>
              </a:spcBef>
              <a:spcAft>
                <a:spcPts val="0"/>
              </a:spcAft>
              <a:buClr>
                <a:schemeClr val="dk1"/>
              </a:buClr>
              <a:buSzPts val="882"/>
              <a:buFont typeface="Arial"/>
              <a:buChar char="•"/>
              <a:defRPr sz="882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3pPr>
            <a:lvl4pPr marL="1828800" marR="0" lvl="3" indent="-284607" algn="l" rtl="0">
              <a:lnSpc>
                <a:spcPct val="90000"/>
              </a:lnSpc>
              <a:spcBef>
                <a:spcPts val="333"/>
              </a:spcBef>
              <a:spcAft>
                <a:spcPts val="0"/>
              </a:spcAft>
              <a:buClr>
                <a:schemeClr val="dk1"/>
              </a:buClr>
              <a:buSzPts val="882"/>
              <a:buFont typeface="Arial"/>
              <a:buChar char="•"/>
              <a:defRPr sz="882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4pPr>
            <a:lvl5pPr marL="2286000" marR="0" lvl="4" indent="-284607" algn="l" rtl="0">
              <a:lnSpc>
                <a:spcPct val="90000"/>
              </a:lnSpc>
              <a:spcBef>
                <a:spcPts val="333"/>
              </a:spcBef>
              <a:spcAft>
                <a:spcPts val="0"/>
              </a:spcAft>
              <a:buClr>
                <a:schemeClr val="dk1"/>
              </a:buClr>
              <a:buSzPts val="882"/>
              <a:buFont typeface="Arial"/>
              <a:buChar char="•"/>
              <a:defRPr sz="882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5pPr>
            <a:lvl6pPr marL="2743200" marR="0" lvl="5" indent="-228600" algn="l" rtl="0">
              <a:spcBef>
                <a:spcPts val="333"/>
              </a:spcBef>
              <a:spcAft>
                <a:spcPts val="0"/>
              </a:spcAft>
              <a:buSzPts val="1400"/>
              <a:buNone/>
              <a:defRPr sz="1176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176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176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176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5909309" y="8685213"/>
            <a:ext cx="947103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158F7F-59A0-DC38-E421-0DEAC0F8AC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10C8471-AF59-0910-B53F-D9A5256D774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593725" y="1085850"/>
            <a:ext cx="5213350" cy="2932113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A0AB150-52EB-41A7-5FEC-03CD09390AB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7000"/>
              </a:lnSpc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0CBE36-CBCC-4D10-A6C4-77626153219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8304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54A4EC1-C524-ED45-A185-10510AA0C8D1}" type="slidenum"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pPr marL="0" marR="0" lvl="0" indent="0" algn="r" defTabSz="83043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2755374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F2000D-940B-564C-79F9-DDDCA8FD70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CEBB92C-517B-24A1-772D-57F28958AAE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77875" y="1200150"/>
            <a:ext cx="5759450" cy="3240088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577490F-3FC6-A6C1-7E36-79FA7696AE8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367" rtl="0" eaLnBrk="1" fontAlgn="base" latinLnBrk="0" hangingPunct="1">
              <a:lnSpc>
                <a:spcPts val="1564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9C736D-12AD-8B02-B808-3BE9DFB003C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643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60CD717-BA3E-410B-AAE6-2C9310D382AA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643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8163349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3B7A628-547B-4FC1-A4A4-B3804DF14F5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8607915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10B1B71-AA82-464B-A393-9479827C6D1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7210159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4B1534-AE31-892A-B5A1-B1F6D1F731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9D92A49-5469-7BE6-19B0-AB7C72470FA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E7DFDAA-6E06-E721-EE7D-77B96541967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E82C996-9CEF-9C95-22AD-4A071BB4EBE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10B1B71-AA82-464B-A393-9479827C6D1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911470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6CE63F-9E7F-4C04-9D0D-FCA25A8E9E86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/3/2025 8:44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0307533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3B7A628-547B-4FC1-A4A4-B3804DF14F5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5383657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110838-9CF8-368B-A0A5-75533F8290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7595FA5-8358-234A-75A5-0DD77896C38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4B33B1A-B4B5-4B61-D5FA-15EA5B1053F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zh-TW" alt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1DC5064-7DEB-96AD-1FCD-A842EBE908E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A0D00C-D97D-4D9F-A1A5-E7BA88B482E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0061887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620C4D9-8779-DA45-0F26-C20604E4D4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7AEFDA0-3B6F-55C1-8A54-D50EF9A778A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C8BE353-FADC-7801-7FD9-9D674ABA19E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340FC4DB-03F7-87C6-DC15-361E7D704B97}"/>
              </a:ext>
            </a:extLst>
          </p:cNvPr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Quattrocento Sans"/>
              <a:sym typeface="Quattrocento San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FD1D32D-CDE3-E88A-D9B1-25BD35BA48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  <a:sym typeface="Calibri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BAF4ADEB-F1F0-73E2-ECFC-94D393D45479}"/>
              </a:ext>
            </a:extLst>
          </p:cNvPr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fld id="{72E0C910-0166-48E0-B8EF-5071277A02A8}" type="datetime8">
              <a:rPr kumimoji="0" lang="en-US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Quattrocento Sans"/>
                <a:sym typeface="Quattrocento San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t>7/3/2025 8:44 PM</a:t>
            </a:fld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Quattrocento Sans"/>
              <a:sym typeface="Quattrocento San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ED4824A-1A6D-F7B4-194B-D26F920BF7A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B4008EB6-D09E-4580-8CD6-DDB14511944F}" type="slidenum">
              <a:rPr kumimoji="0" lang="en-US" sz="14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37</a:t>
            </a:fld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125500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Quattrocento Sans"/>
              <a:sym typeface="Quattrocento Sans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fld id="{386CE63F-9E7F-4C04-9D0D-FCA25A8E9E86}" type="datetime8">
              <a:rPr kumimoji="0" lang="en-US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Quattrocento Sans"/>
                <a:sym typeface="Quattrocento San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t>7/3/2025 8:44 PM</a:t>
            </a:fld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Quattrocento Sans"/>
              <a:sym typeface="Quattrocento San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B4008EB6-D09E-4580-8CD6-DDB14511944F}" type="slidenum">
              <a:rPr kumimoji="0" lang="en-US" sz="14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38</a:t>
            </a:fld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6936704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6C033C-DCAF-5CCE-5F65-84C5E5FD421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99154E1-DEF9-220F-5506-3DB6268FEFC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C0954D0-0559-012C-C1DB-4F9BE7B93BF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87F94DE0-EBF8-EE0F-E75B-C6E20B7816BA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  <a:sym typeface="Quattrocento San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B7316E-32CA-7948-60C4-44DD16869FA3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  <a:sym typeface="Calibri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AD7C969-2681-33E6-538A-8387840FE102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6CE63F-9E7F-4C04-9D0D-FCA25A8E9E86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  <a:sym typeface="Quattrocento San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/3/2025 8:44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  <a:sym typeface="Quattrocento San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1F64A4C-D831-1C6E-5171-F3ABB424EFC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Arial"/>
                <a:sym typeface="Arial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549780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Quattrocento Sans"/>
              <a:sym typeface="Quattrocento San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  <a:sym typeface="Calibri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fld id="{386CE63F-9E7F-4C04-9D0D-FCA25A8E9E86}" type="datetime8">
              <a:rPr kumimoji="0" lang="en-US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Quattrocento Sans"/>
                <a:sym typeface="Quattrocento San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t>7/3/2025 8:44 PM</a:t>
            </a:fld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Quattrocento Sans"/>
              <a:sym typeface="Quattrocento San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B4008EB6-D09E-4580-8CD6-DDB14511944F}" type="slidenum">
              <a:rPr kumimoji="0" lang="en-US" sz="14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5</a:t>
            </a:fld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0184315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88F7CD-6897-82C7-B3F1-CBBFADC4FE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CA0B1B8-0935-2DB5-3DFA-38099A0F49E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5571382-4DD3-FDE8-CDC3-A46FE26B2F6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ECCE834-65C0-5EBC-6573-C5E1DC0A22E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AC31A8-61D8-804C-AF82-1518A6CAEE2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 Semibold" panose="020B0702040204020203" pitchFamily="34" charset="0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5215598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76EA6A3-DAD7-D077-0F0F-65A250AD1E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9CFE96F-A284-152F-D09D-1D5B50A91A4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D22D360-10B9-B47C-756F-F8CE5B4D614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7A149385-828E-C6A2-935F-E8BFC0264058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Sans Text" pitchFamily="2" charset="0"/>
              <a:ea typeface="+mn-ea"/>
              <a:cs typeface="+mn-cs"/>
              <a:sym typeface="Quattrocento San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0D94022-887E-548C-0A5A-678E8ED67610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Sans Text" pitchFamily="2" charset="0"/>
                <a:ea typeface="Segoe UI" pitchFamily="34" charset="0"/>
                <a:cs typeface="Segoe Sans Text" pitchFamily="2" charset="0"/>
                <a:sym typeface="Calibri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6E618741-E4A1-717A-F22B-3275B8D952E7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6CE63F-9E7F-4C04-9D0D-FCA25A8E9E86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Sans Text" pitchFamily="2" charset="0"/>
                <a:ea typeface="+mn-ea"/>
                <a:cs typeface="+mn-cs"/>
                <a:sym typeface="Quattrocento San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/3/2025 8:44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Sans Text" pitchFamily="2" charset="0"/>
              <a:ea typeface="+mn-ea"/>
              <a:cs typeface="+mn-cs"/>
              <a:sym typeface="Quattrocento San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66E6362-3ECC-8FC8-CB4A-32F66B68005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Sans Text" pitchFamily="2" charset="0"/>
                <a:ea typeface="+mn-ea"/>
                <a:cs typeface="Arial"/>
                <a:sym typeface="Arial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Sans Text" pitchFamily="2" charset="0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9604047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H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43</a:t>
            </a:fld>
            <a:endParaRPr lang="en-US" sz="1200" b="0" i="0" u="none" strike="noStrike" cap="none">
              <a:solidFill>
                <a:schemeClr val="dk1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</p:spTree>
    <p:extLst>
      <p:ext uri="{BB962C8B-B14F-4D97-AF65-F5344CB8AC3E}">
        <p14:creationId xmlns:p14="http://schemas.microsoft.com/office/powerpoint/2010/main" val="194386188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258127-B981-7B39-9E72-FC3A5044C2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C5FA667-5D45-4DAE-9931-42BA62C5516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DE42843-357C-9077-95DB-E7262C0F47D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D1FDA51-970E-3F64-62ED-DF58D6118AB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6DBA25-EEB1-46C0-8126-D5B74A701FA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5683692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279749-1719-FA75-92F3-70812B82D4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261DD0C-12F4-0A07-FDD6-1401DCECC20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0E7620A-FAC5-D780-25EA-77935D9CECB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HK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7E046B7-9C50-24A3-12B3-271E6F6D72F1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47</a:t>
            </a:fld>
            <a:endParaRPr lang="en-US" sz="1200" b="0" i="0" u="none" strike="noStrike" cap="none">
              <a:solidFill>
                <a:schemeClr val="dk1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</p:spTree>
    <p:extLst>
      <p:ext uri="{BB962C8B-B14F-4D97-AF65-F5344CB8AC3E}">
        <p14:creationId xmlns:p14="http://schemas.microsoft.com/office/powerpoint/2010/main" val="409605090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556B198-DB12-162C-6915-E3186A96475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AA7B8E7-1BAF-8B9D-577F-80277AECD9A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D257851-8AAD-D7EF-5896-623C33DC861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-146933" algn="l">
              <a:buFont typeface="Arial"/>
              <a:buNone/>
            </a:pPr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FA6C002E-6D50-4AAD-97DF-CD1ED5FCC73B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  <a:sym typeface="Quattrocento San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9212C8-F5DF-DA06-E5F2-0062EA641FC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  <a:sym typeface="Calibri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68AC2D2-0EF1-830C-9668-329B2201F89F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6CE63F-9E7F-4C04-9D0D-FCA25A8E9E86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  <a:sym typeface="Quattrocento San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/3/2025 8:44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  <a:sym typeface="Quattrocento San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D7DB84B-5BE5-2401-C9F0-B4DBD205E82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Arial"/>
                <a:sym typeface="Arial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3999724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17C0C9-D094-00C0-188C-3306B42E86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BC9C2E7-A9DF-142A-E93C-AB803C923EF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FED8C97-11EB-C3BE-AAB5-58B6EA40DCE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211E32B8-F871-C144-3C2F-A9D36711206E}"/>
              </a:ext>
            </a:extLst>
          </p:cNvPr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  <a:sym typeface="Quattrocento San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1DAC720-02D1-998C-2D4B-38B043E27A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  <a:sym typeface="Calibri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1F52CB9-D93F-675B-DBC4-03CE88D7D27C}"/>
              </a:ext>
            </a:extLst>
          </p:cNvPr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27A7F7-BB1E-479D-AFAA-B52F4D0C99F2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  <a:sym typeface="Quattrocento San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/3/2025 8:44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  <a:sym typeface="Quattrocento San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F4E0DE3-30AF-08AA-9B2C-5CCFFF4FD6F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Arial"/>
                <a:sym typeface="Arial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9949046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H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CDAF419-E5ED-4428-B666-D754F1EFF5C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2668788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93725" y="1085850"/>
            <a:ext cx="5213350" cy="29321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7176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60CD717-BA3E-410B-AAE6-2C9310D382A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pPr marL="0" marR="0" lvl="0" indent="0" algn="r" defTabSz="7176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8765916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E49516A-1A4F-E67B-1425-6C67BFD0B7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5652E09-1D89-A075-217B-4713BFC5C2B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4D0250D-CD57-260C-4822-30512EBF3CB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338E80DB-0CB7-56D9-83ED-8898395E2F7C}"/>
              </a:ext>
            </a:extLst>
          </p:cNvPr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  <a:sym typeface="Quattrocento San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5C14FBE-40B1-335A-F056-54337899EA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  <a:sym typeface="Calibri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7701B80-4838-F3E7-B81F-A7C8514B5105}"/>
              </a:ext>
            </a:extLst>
          </p:cNvPr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27A7F7-BB1E-479D-AFAA-B52F4D0C99F2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  <a:sym typeface="Quattrocento San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/3/2025 8:44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  <a:sym typeface="Quattrocento San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0E4AA83-48D0-2AB8-FC70-8698D148FAE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Arial"/>
                <a:sym typeface="Arial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1260413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93725" y="1085850"/>
            <a:ext cx="5213350" cy="29321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7176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60CD717-BA3E-410B-AAE6-2C9310D382A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pPr marL="0" marR="0" lvl="0" indent="0" algn="r" defTabSz="7176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7147282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9066B5B-7435-98BF-F8C0-B178C6363D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ED4D4E1-3D81-652C-263D-9C73C9117E7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413A04B-2C36-D673-4854-3E10B65E1B2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62B3B7-AAA1-7735-069E-4886880B09B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6DBA25-EEB1-46C0-8126-D5B74A701FA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583970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svg"/><Relationship Id="rId2" Type="http://schemas.openxmlformats.org/officeDocument/2006/relationships/image" Target="../media/image65.png"/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svg"/><Relationship Id="rId2" Type="http://schemas.openxmlformats.org/officeDocument/2006/relationships/image" Target="../media/image65.png"/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svg"/><Relationship Id="rId2" Type="http://schemas.openxmlformats.org/officeDocument/2006/relationships/image" Target="../media/image65.png"/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svg"/><Relationship Id="rId2" Type="http://schemas.openxmlformats.org/officeDocument/2006/relationships/image" Target="../media/image65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68.svg"/><Relationship Id="rId4" Type="http://schemas.openxmlformats.org/officeDocument/2006/relationships/image" Target="../media/image67.png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svg"/><Relationship Id="rId2" Type="http://schemas.openxmlformats.org/officeDocument/2006/relationships/image" Target="../media/image69.png"/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7.jpe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8.jpeg"/><Relationship Id="rId4" Type="http://schemas.openxmlformats.org/officeDocument/2006/relationships/image" Target="../media/image17.jpe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3.jpeg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7.jpeg"/><Relationship Id="rId4" Type="http://schemas.openxmlformats.org/officeDocument/2006/relationships/image" Target="../media/image26.jpeg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8.jpeg"/><Relationship Id="rId5" Type="http://schemas.openxmlformats.org/officeDocument/2006/relationships/image" Target="../media/image18.jpeg"/><Relationship Id="rId4" Type="http://schemas.openxmlformats.org/officeDocument/2006/relationships/image" Target="../media/image17.jpeg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7.jpeg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8.jpeg"/><Relationship Id="rId4" Type="http://schemas.openxmlformats.org/officeDocument/2006/relationships/image" Target="../media/image17.jpeg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g"/><Relationship Id="rId2" Type="http://schemas.openxmlformats.org/officeDocument/2006/relationships/image" Target="../media/image29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3.jpg"/><Relationship Id="rId5" Type="http://schemas.openxmlformats.org/officeDocument/2006/relationships/image" Target="../media/image32.jpg"/><Relationship Id="rId4" Type="http://schemas.openxmlformats.org/officeDocument/2006/relationships/image" Target="../media/image31.jpg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sv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.xml"/><Relationship Id="rId5" Type="http://schemas.microsoft.com/office/2007/relationships/hdphoto" Target="../media/hdphoto1.wdp"/><Relationship Id="rId4" Type="http://schemas.openxmlformats.org/officeDocument/2006/relationships/image" Target="../media/image37.png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sv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.xml"/><Relationship Id="rId5" Type="http://schemas.microsoft.com/office/2007/relationships/hdphoto" Target="../media/hdphoto1.wdp"/><Relationship Id="rId4" Type="http://schemas.openxmlformats.org/officeDocument/2006/relationships/image" Target="../media/image37.png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sv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Relationship Id="rId5" Type="http://schemas.microsoft.com/office/2007/relationships/hdphoto" Target="../media/hdphoto1.wdp"/><Relationship Id="rId4" Type="http://schemas.openxmlformats.org/officeDocument/2006/relationships/image" Target="../media/image37.png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2.xml"/><Relationship Id="rId5" Type="http://schemas.microsoft.com/office/2007/relationships/hdphoto" Target="../media/hdphoto1.wdp"/><Relationship Id="rId4" Type="http://schemas.openxmlformats.org/officeDocument/2006/relationships/image" Target="../media/image37.png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svg"/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Relationship Id="rId5" Type="http://schemas.microsoft.com/office/2007/relationships/hdphoto" Target="../media/hdphoto1.wdp"/><Relationship Id="rId4" Type="http://schemas.openxmlformats.org/officeDocument/2006/relationships/image" Target="../media/image37.png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svg"/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2.xml"/><Relationship Id="rId5" Type="http://schemas.microsoft.com/office/2007/relationships/hdphoto" Target="../media/hdphoto1.wdp"/><Relationship Id="rId4" Type="http://schemas.openxmlformats.org/officeDocument/2006/relationships/image" Target="../media/image37.png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svg"/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2.xml"/><Relationship Id="rId5" Type="http://schemas.microsoft.com/office/2007/relationships/hdphoto" Target="../media/hdphoto1.wdp"/><Relationship Id="rId4" Type="http://schemas.openxmlformats.org/officeDocument/2006/relationships/image" Target="../media/image37.png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svg"/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2.xml"/><Relationship Id="rId5" Type="http://schemas.microsoft.com/office/2007/relationships/hdphoto" Target="../media/hdphoto1.wdp"/><Relationship Id="rId4" Type="http://schemas.openxmlformats.org/officeDocument/2006/relationships/image" Target="../media/image37.png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svg"/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2.jpeg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svg"/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2.jpe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svg"/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2.jpeg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svg"/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2.jpeg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sv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2.jpeg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svg"/><Relationship Id="rId2" Type="http://schemas.openxmlformats.org/officeDocument/2006/relationships/image" Target="../media/image6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2.jpeg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svg"/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2.jpeg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svg"/><Relationship Id="rId2" Type="http://schemas.openxmlformats.org/officeDocument/2006/relationships/image" Target="../media/image65.png"/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svg"/><Relationship Id="rId2" Type="http://schemas.openxmlformats.org/officeDocument/2006/relationships/image" Target="../media/image65.png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lose-up of several cubes&#10;&#10;AI-generated content may be incorrect.">
            <a:extLst>
              <a:ext uri="{FF2B5EF4-FFF2-40B4-BE49-F238E27FC236}">
                <a16:creationId xmlns:a16="http://schemas.microsoft.com/office/drawing/2014/main" id="{9DBEF36C-9F70-C79E-ACA0-D5B443EE16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Picture 8" descr="A close up of a sign&#10;&#10;AI-generated content may be incorrect.">
            <a:extLst>
              <a:ext uri="{FF2B5EF4-FFF2-40B4-BE49-F238E27FC236}">
                <a16:creationId xmlns:a16="http://schemas.microsoft.com/office/drawing/2014/main" id="{0269CA22-C0A8-1306-404C-17E5D3F3AD5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465" y="2703056"/>
            <a:ext cx="3376457" cy="1514143"/>
          </a:xfrm>
          <a:prstGeom prst="rect">
            <a:avLst/>
          </a:prstGeom>
        </p:spPr>
      </p:pic>
      <p:pic>
        <p:nvPicPr>
          <p:cNvPr id="10" name="MS logo white - EMF" descr="Microsoft logo white text version">
            <a:extLst>
              <a:ext uri="{FF2B5EF4-FFF2-40B4-BE49-F238E27FC236}">
                <a16:creationId xmlns:a16="http://schemas.microsoft.com/office/drawing/2014/main" id="{C2E04E97-EBB4-15B9-B98C-DFFA25C0C2C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5629985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Bullet with Subhea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D525736-DEE8-4391-8135-23DE0640053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1436688"/>
            <a:ext cx="5219700" cy="430887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8E90344-0294-48E2-AAF0-601BB99500E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84200" y="2084388"/>
            <a:ext cx="5219700" cy="1612749"/>
          </a:xfrm>
        </p:spPr>
        <p:txBody>
          <a:bodyPr>
            <a:spAutoFit/>
          </a:bodyPr>
          <a:lstStyle>
            <a:lvl1pPr marL="171450" indent="-171450">
              <a:defRPr lang="en-US" sz="2400" dirty="0"/>
            </a:lvl1pPr>
            <a:lvl2pPr marL="342900" indent="-171450">
              <a:defRPr lang="en-US" dirty="0"/>
            </a:lvl2pPr>
            <a:lvl3pPr marL="514350" indent="-171450">
              <a:defRPr lang="en-US" dirty="0"/>
            </a:lvl3pPr>
            <a:lvl4pPr marL="666750" indent="-152400">
              <a:defRPr lang="en-US" dirty="0"/>
            </a:lvl4pPr>
            <a:lvl5pPr marL="793750" indent="-120650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B4F729D4-B1F1-45F2-A06A-40234B19C88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97625" y="1436688"/>
            <a:ext cx="5219700" cy="430887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1F896FB-325C-4849-B372-8DF0D6C0562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97625" y="2084388"/>
            <a:ext cx="5219700" cy="1612749"/>
          </a:xfrm>
        </p:spPr>
        <p:txBody>
          <a:bodyPr>
            <a:spAutoFit/>
          </a:bodyPr>
          <a:lstStyle>
            <a:lvl1pPr marL="171450" indent="-171450">
              <a:defRPr lang="en-US" sz="2400" dirty="0"/>
            </a:lvl1pPr>
            <a:lvl2pPr marL="342900" indent="-171450">
              <a:defRPr lang="en-US" dirty="0"/>
            </a:lvl2pPr>
            <a:lvl3pPr marL="514350" indent="-171450">
              <a:defRPr lang="en-US" dirty="0"/>
            </a:lvl3pPr>
            <a:lvl4pPr marL="685800" indent="-136525">
              <a:defRPr lang="en-US" dirty="0"/>
            </a:lvl4pPr>
            <a:lvl5pPr marL="793750" indent="-120650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4099507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311">
          <p15:clr>
            <a:srgbClr val="5ACBF0"/>
          </p15:clr>
        </p15:guide>
        <p15:guide id="4" pos="3656">
          <p15:clr>
            <a:srgbClr val="5ACBF0"/>
          </p15:clr>
        </p15:guide>
        <p15:guide id="5" pos="4024">
          <p15:clr>
            <a:srgbClr val="5ACBF0"/>
          </p15:clr>
        </p15:guide>
        <p15:guide id="7" orient="horz" pos="905">
          <p15:clr>
            <a:srgbClr val="5ACBF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3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: Shape 7">
            <a:extLst>
              <a:ext uri="{FF2B5EF4-FFF2-40B4-BE49-F238E27FC236}">
                <a16:creationId xmlns:a16="http://schemas.microsoft.com/office/drawing/2014/main" id="{D1878DE7-7CE1-155D-58B8-0E821BFE4D97}"/>
              </a:ext>
            </a:extLst>
          </p:cNvPr>
          <p:cNvSpPr/>
          <p:nvPr userDrawn="1"/>
        </p:nvSpPr>
        <p:spPr>
          <a:xfrm>
            <a:off x="0" y="-3432"/>
            <a:ext cx="12192000" cy="6864864"/>
          </a:xfrm>
          <a:custGeom>
            <a:avLst/>
            <a:gdLst>
              <a:gd name="connsiteX0" fmla="*/ 0 w 12192000"/>
              <a:gd name="connsiteY0" fmla="*/ 0 h 6864864"/>
              <a:gd name="connsiteX1" fmla="*/ 12192000 w 12192000"/>
              <a:gd name="connsiteY1" fmla="*/ 0 h 6864864"/>
              <a:gd name="connsiteX2" fmla="*/ 12192000 w 12192000"/>
              <a:gd name="connsiteY2" fmla="*/ 6864864 h 6864864"/>
              <a:gd name="connsiteX3" fmla="*/ 0 w 12192000"/>
              <a:gd name="connsiteY3" fmla="*/ 6864864 h 6864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64864">
                <a:moveTo>
                  <a:pt x="0" y="0"/>
                </a:moveTo>
                <a:lnTo>
                  <a:pt x="12192000" y="0"/>
                </a:lnTo>
                <a:lnTo>
                  <a:pt x="12192000" y="6864864"/>
                </a:lnTo>
                <a:lnTo>
                  <a:pt x="0" y="6864864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1373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5C3FA7E9-87A6-6D06-563E-16727CB182D1}"/>
              </a:ext>
            </a:extLst>
          </p:cNvPr>
          <p:cNvGrpSpPr/>
          <p:nvPr userDrawn="1"/>
        </p:nvGrpSpPr>
        <p:grpSpPr>
          <a:xfrm>
            <a:off x="3227441" y="1"/>
            <a:ext cx="8964559" cy="6858000"/>
            <a:chOff x="3227441" y="0"/>
            <a:chExt cx="8964559" cy="6915049"/>
          </a:xfrm>
        </p:grpSpPr>
        <p:sp>
          <p:nvSpPr>
            <p:cNvPr id="4" name="Freeform: Shape 15">
              <a:extLst>
                <a:ext uri="{FF2B5EF4-FFF2-40B4-BE49-F238E27FC236}">
                  <a16:creationId xmlns:a16="http://schemas.microsoft.com/office/drawing/2014/main" id="{AD738473-E7DA-B632-CA2B-3E9AD4E339DF}"/>
                </a:ext>
              </a:extLst>
            </p:cNvPr>
            <p:cNvSpPr/>
            <p:nvPr/>
          </p:nvSpPr>
          <p:spPr>
            <a:xfrm flipH="1">
              <a:off x="7434216" y="2145932"/>
              <a:ext cx="4757784" cy="4757604"/>
            </a:xfrm>
            <a:custGeom>
              <a:avLst/>
              <a:gdLst>
                <a:gd name="connsiteX0" fmla="*/ 4757785 w 4757784"/>
                <a:gd name="connsiteY0" fmla="*/ 4757605 h 4757604"/>
                <a:gd name="connsiteX1" fmla="*/ 1673176 w 4757784"/>
                <a:gd name="connsiteY1" fmla="*/ 4757605 h 4757604"/>
                <a:gd name="connsiteX2" fmla="*/ 1115151 w 4757784"/>
                <a:gd name="connsiteY2" fmla="*/ 4199580 h 4757604"/>
                <a:gd name="connsiteX3" fmla="*/ 0 w 4757784"/>
                <a:gd name="connsiteY3" fmla="*/ 3084429 h 4757604"/>
                <a:gd name="connsiteX4" fmla="*/ 0 w 4757784"/>
                <a:gd name="connsiteY4" fmla="*/ 0 h 4757604"/>
                <a:gd name="connsiteX5" fmla="*/ 10434 w 4757784"/>
                <a:gd name="connsiteY5" fmla="*/ 10434 h 4757604"/>
                <a:gd name="connsiteX6" fmla="*/ 90666 w 4757784"/>
                <a:gd name="connsiteY6" fmla="*/ 90486 h 4757604"/>
                <a:gd name="connsiteX7" fmla="*/ 101639 w 4757784"/>
                <a:gd name="connsiteY7" fmla="*/ 101459 h 4757604"/>
                <a:gd name="connsiteX8" fmla="*/ 154167 w 4757784"/>
                <a:gd name="connsiteY8" fmla="*/ 154167 h 4757604"/>
                <a:gd name="connsiteX9" fmla="*/ 165141 w 4757784"/>
                <a:gd name="connsiteY9" fmla="*/ 165141 h 4757604"/>
                <a:gd name="connsiteX10" fmla="*/ 272177 w 4757784"/>
                <a:gd name="connsiteY10" fmla="*/ 272177 h 4757604"/>
                <a:gd name="connsiteX11" fmla="*/ 283150 w 4757784"/>
                <a:gd name="connsiteY11" fmla="*/ 283150 h 4757604"/>
                <a:gd name="connsiteX12" fmla="*/ 453868 w 4757784"/>
                <a:gd name="connsiteY12" fmla="*/ 453868 h 4757604"/>
                <a:gd name="connsiteX13" fmla="*/ 517549 w 4757784"/>
                <a:gd name="connsiteY13" fmla="*/ 517370 h 4757604"/>
                <a:gd name="connsiteX14" fmla="*/ 635559 w 4757784"/>
                <a:gd name="connsiteY14" fmla="*/ 635379 h 4757604"/>
                <a:gd name="connsiteX15" fmla="*/ 699060 w 4757784"/>
                <a:gd name="connsiteY15" fmla="*/ 699060 h 4757604"/>
                <a:gd name="connsiteX16" fmla="*/ 1577473 w 4757784"/>
                <a:gd name="connsiteY16" fmla="*/ 1577473 h 4757604"/>
                <a:gd name="connsiteX17" fmla="*/ 1732900 w 4757784"/>
                <a:gd name="connsiteY17" fmla="*/ 1732720 h 4757604"/>
                <a:gd name="connsiteX18" fmla="*/ 1800180 w 4757784"/>
                <a:gd name="connsiteY18" fmla="*/ 1800180 h 4757604"/>
                <a:gd name="connsiteX19" fmla="*/ 1932940 w 4757784"/>
                <a:gd name="connsiteY19" fmla="*/ 1932940 h 4757604"/>
                <a:gd name="connsiteX20" fmla="*/ 2407675 w 4757784"/>
                <a:gd name="connsiteY20" fmla="*/ 2407675 h 4757604"/>
                <a:gd name="connsiteX21" fmla="*/ 2475135 w 4757784"/>
                <a:gd name="connsiteY21" fmla="*/ 2474955 h 4757604"/>
                <a:gd name="connsiteX22" fmla="*/ 2630381 w 4757784"/>
                <a:gd name="connsiteY22" fmla="*/ 2630201 h 4757604"/>
                <a:gd name="connsiteX23" fmla="*/ 2699460 w 4757784"/>
                <a:gd name="connsiteY23" fmla="*/ 2699460 h 4757604"/>
                <a:gd name="connsiteX24" fmla="*/ 2893923 w 4757784"/>
                <a:gd name="connsiteY24" fmla="*/ 2893923 h 4757604"/>
                <a:gd name="connsiteX25" fmla="*/ 3174735 w 4757784"/>
                <a:gd name="connsiteY25" fmla="*/ 3174555 h 4757604"/>
                <a:gd name="connsiteX26" fmla="*/ 4757785 w 4757784"/>
                <a:gd name="connsiteY26" fmla="*/ 4757605 h 4757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757784" h="4757604">
                  <a:moveTo>
                    <a:pt x="4757785" y="4757605"/>
                  </a:moveTo>
                  <a:lnTo>
                    <a:pt x="1673176" y="4757605"/>
                  </a:lnTo>
                  <a:lnTo>
                    <a:pt x="1115151" y="4199580"/>
                  </a:lnTo>
                  <a:lnTo>
                    <a:pt x="0" y="3084429"/>
                  </a:lnTo>
                  <a:lnTo>
                    <a:pt x="0" y="0"/>
                  </a:lnTo>
                  <a:lnTo>
                    <a:pt x="10434" y="10434"/>
                  </a:lnTo>
                  <a:lnTo>
                    <a:pt x="90666" y="90486"/>
                  </a:lnTo>
                  <a:lnTo>
                    <a:pt x="101639" y="101459"/>
                  </a:lnTo>
                  <a:lnTo>
                    <a:pt x="154167" y="154167"/>
                  </a:lnTo>
                  <a:lnTo>
                    <a:pt x="165141" y="165141"/>
                  </a:lnTo>
                  <a:lnTo>
                    <a:pt x="272177" y="272177"/>
                  </a:lnTo>
                  <a:lnTo>
                    <a:pt x="283150" y="283150"/>
                  </a:lnTo>
                  <a:lnTo>
                    <a:pt x="453868" y="453868"/>
                  </a:lnTo>
                  <a:lnTo>
                    <a:pt x="517549" y="517370"/>
                  </a:lnTo>
                  <a:lnTo>
                    <a:pt x="635559" y="635379"/>
                  </a:lnTo>
                  <a:lnTo>
                    <a:pt x="699060" y="699060"/>
                  </a:lnTo>
                  <a:lnTo>
                    <a:pt x="1577473" y="1577473"/>
                  </a:lnTo>
                  <a:lnTo>
                    <a:pt x="1732900" y="1732720"/>
                  </a:lnTo>
                  <a:lnTo>
                    <a:pt x="1800180" y="1800180"/>
                  </a:lnTo>
                  <a:lnTo>
                    <a:pt x="1932940" y="1932940"/>
                  </a:lnTo>
                  <a:lnTo>
                    <a:pt x="2407675" y="2407675"/>
                  </a:lnTo>
                  <a:lnTo>
                    <a:pt x="2475135" y="2474955"/>
                  </a:lnTo>
                  <a:lnTo>
                    <a:pt x="2630381" y="2630201"/>
                  </a:lnTo>
                  <a:lnTo>
                    <a:pt x="2699460" y="2699460"/>
                  </a:lnTo>
                  <a:lnTo>
                    <a:pt x="2893923" y="2893923"/>
                  </a:lnTo>
                  <a:lnTo>
                    <a:pt x="3174735" y="3174555"/>
                  </a:lnTo>
                  <a:lnTo>
                    <a:pt x="4757785" y="4757605"/>
                  </a:lnTo>
                  <a:close/>
                </a:path>
              </a:pathLst>
            </a:custGeom>
            <a:gradFill>
              <a:gsLst>
                <a:gs pos="0">
                  <a:srgbClr val="FFFFFF">
                    <a:alpha val="8000"/>
                  </a:srgbClr>
                </a:gs>
                <a:gs pos="99000">
                  <a:srgbClr val="FFFFFF">
                    <a:alpha val="0"/>
                  </a:srgbClr>
                </a:gs>
              </a:gsLst>
              <a:lin ang="13500000" scaled="1"/>
            </a:gradFill>
            <a:ln w="17980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2A446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" name="Freeform: Shape 18">
              <a:extLst>
                <a:ext uri="{FF2B5EF4-FFF2-40B4-BE49-F238E27FC236}">
                  <a16:creationId xmlns:a16="http://schemas.microsoft.com/office/drawing/2014/main" id="{105BF785-B0BC-2278-6F39-F349B1E407D6}"/>
                </a:ext>
              </a:extLst>
            </p:cNvPr>
            <p:cNvSpPr/>
            <p:nvPr/>
          </p:nvSpPr>
          <p:spPr>
            <a:xfrm flipH="1">
              <a:off x="7886051" y="0"/>
              <a:ext cx="4305949" cy="5076210"/>
            </a:xfrm>
            <a:custGeom>
              <a:avLst/>
              <a:gdLst>
                <a:gd name="connsiteX0" fmla="*/ 4257325 w 4305949"/>
                <a:gd name="connsiteY0" fmla="*/ 4492264 h 5076210"/>
                <a:gd name="connsiteX1" fmla="*/ 4050809 w 4305949"/>
                <a:gd name="connsiteY1" fmla="*/ 4820927 h 5076210"/>
                <a:gd name="connsiteX2" fmla="*/ 3558804 w 4305949"/>
                <a:gd name="connsiteY2" fmla="*/ 5067379 h 5076210"/>
                <a:gd name="connsiteX3" fmla="*/ 2987647 w 4305949"/>
                <a:gd name="connsiteY3" fmla="*/ 4952967 h 5076210"/>
                <a:gd name="connsiteX4" fmla="*/ 2910473 w 4305949"/>
                <a:gd name="connsiteY4" fmla="*/ 4900979 h 5076210"/>
                <a:gd name="connsiteX5" fmla="*/ 2818369 w 4305949"/>
                <a:gd name="connsiteY5" fmla="*/ 4820927 h 5076210"/>
                <a:gd name="connsiteX6" fmla="*/ 2554107 w 4305949"/>
                <a:gd name="connsiteY6" fmla="*/ 4556665 h 5076210"/>
                <a:gd name="connsiteX7" fmla="*/ 2488447 w 4305949"/>
                <a:gd name="connsiteY7" fmla="*/ 4491005 h 5076210"/>
                <a:gd name="connsiteX8" fmla="*/ 2362162 w 4305949"/>
                <a:gd name="connsiteY8" fmla="*/ 4364721 h 5076210"/>
                <a:gd name="connsiteX9" fmla="*/ 2303158 w 4305949"/>
                <a:gd name="connsiteY9" fmla="*/ 4305716 h 5076210"/>
                <a:gd name="connsiteX10" fmla="*/ 2048251 w 4305949"/>
                <a:gd name="connsiteY10" fmla="*/ 4050809 h 5076210"/>
                <a:gd name="connsiteX11" fmla="*/ 1862782 w 4305949"/>
                <a:gd name="connsiteY11" fmla="*/ 3865340 h 5076210"/>
                <a:gd name="connsiteX12" fmla="*/ 1796942 w 4305949"/>
                <a:gd name="connsiteY12" fmla="*/ 3799500 h 5076210"/>
                <a:gd name="connsiteX13" fmla="*/ 1575495 w 4305949"/>
                <a:gd name="connsiteY13" fmla="*/ 3578053 h 5076210"/>
                <a:gd name="connsiteX14" fmla="*/ 1446872 w 4305949"/>
                <a:gd name="connsiteY14" fmla="*/ 3449430 h 5076210"/>
                <a:gd name="connsiteX15" fmla="*/ 1382111 w 4305949"/>
                <a:gd name="connsiteY15" fmla="*/ 3384669 h 5076210"/>
                <a:gd name="connsiteX16" fmla="*/ 1041215 w 4305949"/>
                <a:gd name="connsiteY16" fmla="*/ 3043773 h 5076210"/>
                <a:gd name="connsiteX17" fmla="*/ 952528 w 4305949"/>
                <a:gd name="connsiteY17" fmla="*/ 2955087 h 5076210"/>
                <a:gd name="connsiteX18" fmla="*/ 888847 w 4305949"/>
                <a:gd name="connsiteY18" fmla="*/ 2891405 h 5076210"/>
                <a:gd name="connsiteX19" fmla="*/ 770837 w 4305949"/>
                <a:gd name="connsiteY19" fmla="*/ 2773396 h 5076210"/>
                <a:gd name="connsiteX20" fmla="*/ 589146 w 4305949"/>
                <a:gd name="connsiteY20" fmla="*/ 2591705 h 5076210"/>
                <a:gd name="connsiteX21" fmla="*/ 525465 w 4305949"/>
                <a:gd name="connsiteY21" fmla="*/ 2528023 h 5076210"/>
                <a:gd name="connsiteX22" fmla="*/ 407455 w 4305949"/>
                <a:gd name="connsiteY22" fmla="*/ 2410014 h 5076210"/>
                <a:gd name="connsiteX23" fmla="*/ 343954 w 4305949"/>
                <a:gd name="connsiteY23" fmla="*/ 2346512 h 5076210"/>
                <a:gd name="connsiteX24" fmla="*/ 225944 w 4305949"/>
                <a:gd name="connsiteY24" fmla="*/ 2228503 h 5076210"/>
                <a:gd name="connsiteX25" fmla="*/ 162263 w 4305949"/>
                <a:gd name="connsiteY25" fmla="*/ 2164821 h 5076210"/>
                <a:gd name="connsiteX26" fmla="*/ 44253 w 4305949"/>
                <a:gd name="connsiteY26" fmla="*/ 2046812 h 5076210"/>
                <a:gd name="connsiteX27" fmla="*/ 0 w 4305949"/>
                <a:gd name="connsiteY27" fmla="*/ 2002558 h 5076210"/>
                <a:gd name="connsiteX28" fmla="*/ 0 w 4305949"/>
                <a:gd name="connsiteY28" fmla="*/ 0 h 5076210"/>
                <a:gd name="connsiteX29" fmla="*/ 462323 w 4305949"/>
                <a:gd name="connsiteY29" fmla="*/ 0 h 5076210"/>
                <a:gd name="connsiteX30" fmla="*/ 2742814 w 4305949"/>
                <a:gd name="connsiteY30" fmla="*/ 2280491 h 5076210"/>
                <a:gd name="connsiteX31" fmla="*/ 3305516 w 4305949"/>
                <a:gd name="connsiteY31" fmla="*/ 2843194 h 5076210"/>
                <a:gd name="connsiteX32" fmla="*/ 3381970 w 4305949"/>
                <a:gd name="connsiteY32" fmla="*/ 2919648 h 5076210"/>
                <a:gd name="connsiteX33" fmla="*/ 4050809 w 4305949"/>
                <a:gd name="connsiteY33" fmla="*/ 3588486 h 5076210"/>
                <a:gd name="connsiteX34" fmla="*/ 4293663 w 4305949"/>
                <a:gd name="connsiteY34" fmla="*/ 4058724 h 5076210"/>
                <a:gd name="connsiteX35" fmla="*/ 4257325 w 4305949"/>
                <a:gd name="connsiteY35" fmla="*/ 4492264 h 5076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4305949" h="5076210">
                  <a:moveTo>
                    <a:pt x="4257325" y="4492264"/>
                  </a:moveTo>
                  <a:cubicBezTo>
                    <a:pt x="4215590" y="4612252"/>
                    <a:pt x="4146691" y="4725044"/>
                    <a:pt x="4050809" y="4820927"/>
                  </a:cubicBezTo>
                  <a:cubicBezTo>
                    <a:pt x="3912292" y="4959444"/>
                    <a:pt x="3738696" y="5041654"/>
                    <a:pt x="3558804" y="5067379"/>
                  </a:cubicBezTo>
                  <a:cubicBezTo>
                    <a:pt x="3363981" y="5095262"/>
                    <a:pt x="3161603" y="5057125"/>
                    <a:pt x="2987647" y="4952967"/>
                  </a:cubicBezTo>
                  <a:cubicBezTo>
                    <a:pt x="2961203" y="4937317"/>
                    <a:pt x="2935478" y="4919867"/>
                    <a:pt x="2910473" y="4900979"/>
                  </a:cubicBezTo>
                  <a:cubicBezTo>
                    <a:pt x="2878452" y="4876873"/>
                    <a:pt x="2847511" y="4850069"/>
                    <a:pt x="2818369" y="4820927"/>
                  </a:cubicBezTo>
                  <a:lnTo>
                    <a:pt x="2554107" y="4556665"/>
                  </a:lnTo>
                  <a:lnTo>
                    <a:pt x="2488447" y="4491005"/>
                  </a:lnTo>
                  <a:lnTo>
                    <a:pt x="2362162" y="4364721"/>
                  </a:lnTo>
                  <a:lnTo>
                    <a:pt x="2303158" y="4305716"/>
                  </a:lnTo>
                  <a:lnTo>
                    <a:pt x="2048251" y="4050809"/>
                  </a:lnTo>
                  <a:lnTo>
                    <a:pt x="1862782" y="3865340"/>
                  </a:lnTo>
                  <a:lnTo>
                    <a:pt x="1796942" y="3799500"/>
                  </a:lnTo>
                  <a:lnTo>
                    <a:pt x="1575495" y="3578053"/>
                  </a:lnTo>
                  <a:lnTo>
                    <a:pt x="1446872" y="3449430"/>
                  </a:lnTo>
                  <a:lnTo>
                    <a:pt x="1382111" y="3384669"/>
                  </a:lnTo>
                  <a:lnTo>
                    <a:pt x="1041215" y="3043773"/>
                  </a:lnTo>
                  <a:lnTo>
                    <a:pt x="952528" y="2955087"/>
                  </a:lnTo>
                  <a:lnTo>
                    <a:pt x="888847" y="2891405"/>
                  </a:lnTo>
                  <a:lnTo>
                    <a:pt x="770837" y="2773396"/>
                  </a:lnTo>
                  <a:lnTo>
                    <a:pt x="589146" y="2591705"/>
                  </a:lnTo>
                  <a:lnTo>
                    <a:pt x="525465" y="2528023"/>
                  </a:lnTo>
                  <a:lnTo>
                    <a:pt x="407455" y="2410014"/>
                  </a:lnTo>
                  <a:lnTo>
                    <a:pt x="343954" y="2346512"/>
                  </a:lnTo>
                  <a:lnTo>
                    <a:pt x="225944" y="2228503"/>
                  </a:lnTo>
                  <a:lnTo>
                    <a:pt x="162263" y="2164821"/>
                  </a:lnTo>
                  <a:lnTo>
                    <a:pt x="44253" y="2046812"/>
                  </a:lnTo>
                  <a:lnTo>
                    <a:pt x="0" y="2002558"/>
                  </a:lnTo>
                  <a:lnTo>
                    <a:pt x="0" y="0"/>
                  </a:lnTo>
                  <a:lnTo>
                    <a:pt x="462323" y="0"/>
                  </a:lnTo>
                  <a:lnTo>
                    <a:pt x="2742814" y="2280491"/>
                  </a:lnTo>
                  <a:lnTo>
                    <a:pt x="3305516" y="2843194"/>
                  </a:lnTo>
                  <a:lnTo>
                    <a:pt x="3381970" y="2919648"/>
                  </a:lnTo>
                  <a:lnTo>
                    <a:pt x="4050809" y="3588486"/>
                  </a:lnTo>
                  <a:cubicBezTo>
                    <a:pt x="4183749" y="3721426"/>
                    <a:pt x="4264701" y="3886568"/>
                    <a:pt x="4293663" y="4058724"/>
                  </a:cubicBezTo>
                  <a:cubicBezTo>
                    <a:pt x="4318129" y="4203177"/>
                    <a:pt x="4306076" y="4352668"/>
                    <a:pt x="4257325" y="4492264"/>
                  </a:cubicBezTo>
                  <a:close/>
                </a:path>
              </a:pathLst>
            </a:custGeom>
            <a:gradFill>
              <a:gsLst>
                <a:gs pos="0">
                  <a:srgbClr val="FFFFFF">
                    <a:alpha val="8000"/>
                  </a:srgbClr>
                </a:gs>
                <a:gs pos="99000">
                  <a:srgbClr val="FFFFFF">
                    <a:alpha val="0"/>
                  </a:srgbClr>
                </a:gs>
              </a:gsLst>
              <a:lin ang="13500000" scaled="1"/>
            </a:gradFill>
            <a:ln w="17980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2A446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" name="Freeform: Shape 19">
              <a:extLst>
                <a:ext uri="{FF2B5EF4-FFF2-40B4-BE49-F238E27FC236}">
                  <a16:creationId xmlns:a16="http://schemas.microsoft.com/office/drawing/2014/main" id="{5C1E4B12-B33D-A109-1ADE-6DFF6349FD88}"/>
                </a:ext>
              </a:extLst>
            </p:cNvPr>
            <p:cNvSpPr/>
            <p:nvPr/>
          </p:nvSpPr>
          <p:spPr>
            <a:xfrm flipH="1">
              <a:off x="3534741" y="0"/>
              <a:ext cx="5191459" cy="3966034"/>
            </a:xfrm>
            <a:custGeom>
              <a:avLst/>
              <a:gdLst>
                <a:gd name="connsiteX0" fmla="*/ 4937677 w 5191459"/>
                <a:gd name="connsiteY0" fmla="*/ 3712252 h 3966034"/>
                <a:gd name="connsiteX1" fmla="*/ 3712252 w 5191459"/>
                <a:gd name="connsiteY1" fmla="*/ 3712252 h 3966034"/>
                <a:gd name="connsiteX2" fmla="*/ 0 w 5191459"/>
                <a:gd name="connsiteY2" fmla="*/ 0 h 3966034"/>
                <a:gd name="connsiteX3" fmla="*/ 2450849 w 5191459"/>
                <a:gd name="connsiteY3" fmla="*/ 0 h 3966034"/>
                <a:gd name="connsiteX4" fmla="*/ 4937677 w 5191459"/>
                <a:gd name="connsiteY4" fmla="*/ 2486828 h 3966034"/>
                <a:gd name="connsiteX5" fmla="*/ 4937677 w 5191459"/>
                <a:gd name="connsiteY5" fmla="*/ 3712252 h 3966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91459" h="3966034">
                  <a:moveTo>
                    <a:pt x="4937677" y="3712252"/>
                  </a:moveTo>
                  <a:cubicBezTo>
                    <a:pt x="4599300" y="4050629"/>
                    <a:pt x="4050629" y="4050629"/>
                    <a:pt x="3712252" y="3712252"/>
                  </a:cubicBezTo>
                  <a:lnTo>
                    <a:pt x="0" y="0"/>
                  </a:lnTo>
                  <a:lnTo>
                    <a:pt x="2450849" y="0"/>
                  </a:lnTo>
                  <a:lnTo>
                    <a:pt x="4937677" y="2486828"/>
                  </a:lnTo>
                  <a:cubicBezTo>
                    <a:pt x="5276054" y="2825205"/>
                    <a:pt x="5276054" y="3373875"/>
                    <a:pt x="4937677" y="3712252"/>
                  </a:cubicBezTo>
                  <a:close/>
                </a:path>
              </a:pathLst>
            </a:custGeom>
            <a:gradFill>
              <a:gsLst>
                <a:gs pos="0">
                  <a:srgbClr val="FFFFFF">
                    <a:alpha val="8000"/>
                  </a:srgbClr>
                </a:gs>
                <a:gs pos="99000">
                  <a:srgbClr val="FFFFFF">
                    <a:alpha val="0"/>
                  </a:srgbClr>
                </a:gs>
              </a:gsLst>
              <a:lin ang="13500000" scaled="1"/>
            </a:gradFill>
            <a:ln w="179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2A446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" name="Freeform: Shape 20">
              <a:extLst>
                <a:ext uri="{FF2B5EF4-FFF2-40B4-BE49-F238E27FC236}">
                  <a16:creationId xmlns:a16="http://schemas.microsoft.com/office/drawing/2014/main" id="{A1B34098-F15D-2371-8FE1-317D8E18CBF9}"/>
                </a:ext>
              </a:extLst>
            </p:cNvPr>
            <p:cNvSpPr/>
            <p:nvPr/>
          </p:nvSpPr>
          <p:spPr>
            <a:xfrm flipH="1">
              <a:off x="5473618" y="0"/>
              <a:ext cx="2650664" cy="2027158"/>
            </a:xfrm>
            <a:custGeom>
              <a:avLst/>
              <a:gdLst>
                <a:gd name="connsiteX0" fmla="*/ 2521547 w 2650664"/>
                <a:gd name="connsiteY0" fmla="*/ 1898041 h 2027158"/>
                <a:gd name="connsiteX1" fmla="*/ 1898041 w 2650664"/>
                <a:gd name="connsiteY1" fmla="*/ 1898041 h 2027158"/>
                <a:gd name="connsiteX2" fmla="*/ 0 w 2650664"/>
                <a:gd name="connsiteY2" fmla="*/ 0 h 2027158"/>
                <a:gd name="connsiteX3" fmla="*/ 1247012 w 2650664"/>
                <a:gd name="connsiteY3" fmla="*/ 0 h 2027158"/>
                <a:gd name="connsiteX4" fmla="*/ 2521547 w 2650664"/>
                <a:gd name="connsiteY4" fmla="*/ 1274535 h 2027158"/>
                <a:gd name="connsiteX5" fmla="*/ 2521547 w 2650664"/>
                <a:gd name="connsiteY5" fmla="*/ 1898041 h 2027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50664" h="2027158">
                  <a:moveTo>
                    <a:pt x="2521547" y="1898041"/>
                  </a:moveTo>
                  <a:cubicBezTo>
                    <a:pt x="2349390" y="2070198"/>
                    <a:pt x="2070198" y="2070198"/>
                    <a:pt x="1898041" y="1898041"/>
                  </a:cubicBezTo>
                  <a:lnTo>
                    <a:pt x="0" y="0"/>
                  </a:lnTo>
                  <a:lnTo>
                    <a:pt x="1247012" y="0"/>
                  </a:lnTo>
                  <a:lnTo>
                    <a:pt x="2521547" y="1274535"/>
                  </a:lnTo>
                  <a:cubicBezTo>
                    <a:pt x="2693703" y="1446692"/>
                    <a:pt x="2693703" y="1725884"/>
                    <a:pt x="2521547" y="1898041"/>
                  </a:cubicBezTo>
                  <a:close/>
                </a:path>
              </a:pathLst>
            </a:custGeom>
            <a:gradFill>
              <a:gsLst>
                <a:gs pos="0">
                  <a:srgbClr val="FFFFFF">
                    <a:alpha val="8000"/>
                  </a:srgbClr>
                </a:gs>
                <a:gs pos="99000">
                  <a:srgbClr val="FFFFFF">
                    <a:alpha val="0"/>
                  </a:srgbClr>
                </a:gs>
              </a:gsLst>
              <a:lin ang="13500000" scaled="1"/>
            </a:gradFill>
            <a:ln w="17980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2A446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" name="Freeform: Shape 21">
              <a:extLst>
                <a:ext uri="{FF2B5EF4-FFF2-40B4-BE49-F238E27FC236}">
                  <a16:creationId xmlns:a16="http://schemas.microsoft.com/office/drawing/2014/main" id="{62A03ECD-B52A-209E-FC4D-EE886C65EA1E}"/>
                </a:ext>
              </a:extLst>
            </p:cNvPr>
            <p:cNvSpPr/>
            <p:nvPr/>
          </p:nvSpPr>
          <p:spPr>
            <a:xfrm flipH="1">
              <a:off x="4771094" y="0"/>
              <a:ext cx="7420906" cy="6903536"/>
            </a:xfrm>
            <a:custGeom>
              <a:avLst/>
              <a:gdLst>
                <a:gd name="connsiteX0" fmla="*/ 7420906 w 7420906"/>
                <a:gd name="connsiteY0" fmla="*/ 6903537 h 6903536"/>
                <a:gd name="connsiteX1" fmla="*/ 5394962 w 7420906"/>
                <a:gd name="connsiteY1" fmla="*/ 6903537 h 6903536"/>
                <a:gd name="connsiteX2" fmla="*/ 2971097 w 7420906"/>
                <a:gd name="connsiteY2" fmla="*/ 4479672 h 6903536"/>
                <a:gd name="connsiteX3" fmla="*/ 2895183 w 7420906"/>
                <a:gd name="connsiteY3" fmla="*/ 4403757 h 6903536"/>
                <a:gd name="connsiteX4" fmla="*/ 2712232 w 7420906"/>
                <a:gd name="connsiteY4" fmla="*/ 4220807 h 6903536"/>
                <a:gd name="connsiteX5" fmla="*/ 2226884 w 7420906"/>
                <a:gd name="connsiteY5" fmla="*/ 3735458 h 6903536"/>
                <a:gd name="connsiteX6" fmla="*/ 2132980 w 7420906"/>
                <a:gd name="connsiteY6" fmla="*/ 3641554 h 6903536"/>
                <a:gd name="connsiteX7" fmla="*/ 1950030 w 7420906"/>
                <a:gd name="connsiteY7" fmla="*/ 3458604 h 6903536"/>
                <a:gd name="connsiteX8" fmla="*/ 1667239 w 7420906"/>
                <a:gd name="connsiteY8" fmla="*/ 3175814 h 6903536"/>
                <a:gd name="connsiteX9" fmla="*/ 0 w 7420906"/>
                <a:gd name="connsiteY9" fmla="*/ 1508575 h 6903536"/>
                <a:gd name="connsiteX10" fmla="*/ 0 w 7420906"/>
                <a:gd name="connsiteY10" fmla="*/ 0 h 6903536"/>
                <a:gd name="connsiteX11" fmla="*/ 517370 w 7420906"/>
                <a:gd name="connsiteY11" fmla="*/ 0 h 6903536"/>
                <a:gd name="connsiteX12" fmla="*/ 2209254 w 7420906"/>
                <a:gd name="connsiteY12" fmla="*/ 1691885 h 6903536"/>
                <a:gd name="connsiteX13" fmla="*/ 2283909 w 7420906"/>
                <a:gd name="connsiteY13" fmla="*/ 1766540 h 6903536"/>
                <a:gd name="connsiteX14" fmla="*/ 4276394 w 7420906"/>
                <a:gd name="connsiteY14" fmla="*/ 3759024 h 6903536"/>
                <a:gd name="connsiteX15" fmla="*/ 5290985 w 7420906"/>
                <a:gd name="connsiteY15" fmla="*/ 4773615 h 6903536"/>
                <a:gd name="connsiteX16" fmla="*/ 7420906 w 7420906"/>
                <a:gd name="connsiteY16" fmla="*/ 6903537 h 69035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420906" h="6903536">
                  <a:moveTo>
                    <a:pt x="7420906" y="6903537"/>
                  </a:moveTo>
                  <a:lnTo>
                    <a:pt x="5394962" y="6903537"/>
                  </a:lnTo>
                  <a:lnTo>
                    <a:pt x="2971097" y="4479672"/>
                  </a:lnTo>
                  <a:lnTo>
                    <a:pt x="2895183" y="4403757"/>
                  </a:lnTo>
                  <a:lnTo>
                    <a:pt x="2712232" y="4220807"/>
                  </a:lnTo>
                  <a:lnTo>
                    <a:pt x="2226884" y="3735458"/>
                  </a:lnTo>
                  <a:lnTo>
                    <a:pt x="2132980" y="3641554"/>
                  </a:lnTo>
                  <a:lnTo>
                    <a:pt x="1950030" y="3458604"/>
                  </a:lnTo>
                  <a:lnTo>
                    <a:pt x="1667239" y="3175814"/>
                  </a:lnTo>
                  <a:lnTo>
                    <a:pt x="0" y="1508575"/>
                  </a:lnTo>
                  <a:lnTo>
                    <a:pt x="0" y="0"/>
                  </a:lnTo>
                  <a:lnTo>
                    <a:pt x="517370" y="0"/>
                  </a:lnTo>
                  <a:lnTo>
                    <a:pt x="2209254" y="1691885"/>
                  </a:lnTo>
                  <a:lnTo>
                    <a:pt x="2283909" y="1766540"/>
                  </a:lnTo>
                  <a:lnTo>
                    <a:pt x="4276394" y="3759024"/>
                  </a:lnTo>
                  <a:lnTo>
                    <a:pt x="5290985" y="4773615"/>
                  </a:lnTo>
                  <a:lnTo>
                    <a:pt x="7420906" y="6903537"/>
                  </a:lnTo>
                  <a:close/>
                </a:path>
              </a:pathLst>
            </a:custGeom>
            <a:gradFill>
              <a:gsLst>
                <a:gs pos="0">
                  <a:srgbClr val="FFFFFF">
                    <a:alpha val="8000"/>
                  </a:srgbClr>
                </a:gs>
                <a:gs pos="99000">
                  <a:srgbClr val="FFFFFF">
                    <a:alpha val="0"/>
                  </a:srgbClr>
                </a:gs>
              </a:gsLst>
              <a:lin ang="13500000" scaled="1"/>
            </a:gradFill>
            <a:ln w="17980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2A446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" name="Freeform: Shape 22">
              <a:extLst>
                <a:ext uri="{FF2B5EF4-FFF2-40B4-BE49-F238E27FC236}">
                  <a16:creationId xmlns:a16="http://schemas.microsoft.com/office/drawing/2014/main" id="{BE689352-2C21-998E-16DE-ABCD005BE350}"/>
                </a:ext>
              </a:extLst>
            </p:cNvPr>
            <p:cNvSpPr/>
            <p:nvPr/>
          </p:nvSpPr>
          <p:spPr>
            <a:xfrm flipH="1">
              <a:off x="3227441" y="0"/>
              <a:ext cx="8964559" cy="6903536"/>
            </a:xfrm>
            <a:custGeom>
              <a:avLst/>
              <a:gdLst>
                <a:gd name="connsiteX0" fmla="*/ 8964560 w 8964559"/>
                <a:gd name="connsiteY0" fmla="*/ 6903537 h 6903536"/>
                <a:gd name="connsiteX1" fmla="*/ 6668598 w 8964559"/>
                <a:gd name="connsiteY1" fmla="*/ 6903537 h 6903536"/>
                <a:gd name="connsiteX2" fmla="*/ 1573156 w 8964559"/>
                <a:gd name="connsiteY2" fmla="*/ 1808095 h 6903536"/>
                <a:gd name="connsiteX3" fmla="*/ 1056686 w 8964559"/>
                <a:gd name="connsiteY3" fmla="*/ 1291625 h 6903536"/>
                <a:gd name="connsiteX4" fmla="*/ 0 w 8964559"/>
                <a:gd name="connsiteY4" fmla="*/ 234939 h 6903536"/>
                <a:gd name="connsiteX5" fmla="*/ 0 w 8964559"/>
                <a:gd name="connsiteY5" fmla="*/ 0 h 6903536"/>
                <a:gd name="connsiteX6" fmla="*/ 2061023 w 8964559"/>
                <a:gd name="connsiteY6" fmla="*/ 0 h 6903536"/>
                <a:gd name="connsiteX7" fmla="*/ 2942134 w 8964559"/>
                <a:gd name="connsiteY7" fmla="*/ 881111 h 6903536"/>
                <a:gd name="connsiteX8" fmla="*/ 3621767 w 8964559"/>
                <a:gd name="connsiteY8" fmla="*/ 1560743 h 6903536"/>
                <a:gd name="connsiteX9" fmla="*/ 4093623 w 8964559"/>
                <a:gd name="connsiteY9" fmla="*/ 2032600 h 6903536"/>
                <a:gd name="connsiteX10" fmla="*/ 5364201 w 8964559"/>
                <a:gd name="connsiteY10" fmla="*/ 3303178 h 6903536"/>
                <a:gd name="connsiteX11" fmla="*/ 5372476 w 8964559"/>
                <a:gd name="connsiteY11" fmla="*/ 3311453 h 6903536"/>
                <a:gd name="connsiteX12" fmla="*/ 5475914 w 8964559"/>
                <a:gd name="connsiteY12" fmla="*/ 3414891 h 6903536"/>
                <a:gd name="connsiteX13" fmla="*/ 5603637 w 8964559"/>
                <a:gd name="connsiteY13" fmla="*/ 3542614 h 6903536"/>
                <a:gd name="connsiteX14" fmla="*/ 5709234 w 8964559"/>
                <a:gd name="connsiteY14" fmla="*/ 3648211 h 6903536"/>
                <a:gd name="connsiteX15" fmla="*/ 8964560 w 8964559"/>
                <a:gd name="connsiteY15" fmla="*/ 6903537 h 69035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964559" h="6903536">
                  <a:moveTo>
                    <a:pt x="8964560" y="6903537"/>
                  </a:moveTo>
                  <a:lnTo>
                    <a:pt x="6668598" y="6903537"/>
                  </a:lnTo>
                  <a:lnTo>
                    <a:pt x="1573156" y="1808095"/>
                  </a:lnTo>
                  <a:lnTo>
                    <a:pt x="1056686" y="1291625"/>
                  </a:lnTo>
                  <a:lnTo>
                    <a:pt x="0" y="234939"/>
                  </a:lnTo>
                  <a:lnTo>
                    <a:pt x="0" y="0"/>
                  </a:lnTo>
                  <a:lnTo>
                    <a:pt x="2061023" y="0"/>
                  </a:lnTo>
                  <a:lnTo>
                    <a:pt x="2942134" y="881111"/>
                  </a:lnTo>
                  <a:lnTo>
                    <a:pt x="3621767" y="1560743"/>
                  </a:lnTo>
                  <a:lnTo>
                    <a:pt x="4093623" y="2032600"/>
                  </a:lnTo>
                  <a:lnTo>
                    <a:pt x="5364201" y="3303178"/>
                  </a:lnTo>
                  <a:lnTo>
                    <a:pt x="5372476" y="3311453"/>
                  </a:lnTo>
                  <a:lnTo>
                    <a:pt x="5475914" y="3414891"/>
                  </a:lnTo>
                  <a:lnTo>
                    <a:pt x="5603637" y="3542614"/>
                  </a:lnTo>
                  <a:lnTo>
                    <a:pt x="5709234" y="3648211"/>
                  </a:lnTo>
                  <a:lnTo>
                    <a:pt x="8964560" y="6903537"/>
                  </a:lnTo>
                  <a:close/>
                </a:path>
              </a:pathLst>
            </a:custGeom>
            <a:gradFill>
              <a:gsLst>
                <a:gs pos="0">
                  <a:srgbClr val="FFFFFF">
                    <a:alpha val="8000"/>
                  </a:srgbClr>
                </a:gs>
                <a:gs pos="99000">
                  <a:srgbClr val="FFFFFF">
                    <a:alpha val="0"/>
                  </a:srgbClr>
                </a:gs>
              </a:gsLst>
              <a:lin ang="13500000" scaled="1"/>
            </a:gradFill>
            <a:ln w="17980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2A446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" name="Freeform: Shape 24">
              <a:extLst>
                <a:ext uri="{FF2B5EF4-FFF2-40B4-BE49-F238E27FC236}">
                  <a16:creationId xmlns:a16="http://schemas.microsoft.com/office/drawing/2014/main" id="{8AF9DFD9-916F-BA4C-C747-4122EED1AA72}"/>
                </a:ext>
              </a:extLst>
            </p:cNvPr>
            <p:cNvSpPr/>
            <p:nvPr/>
          </p:nvSpPr>
          <p:spPr>
            <a:xfrm flipH="1">
              <a:off x="4400697" y="2810633"/>
              <a:ext cx="4425470" cy="4104416"/>
            </a:xfrm>
            <a:custGeom>
              <a:avLst/>
              <a:gdLst>
                <a:gd name="connsiteX0" fmla="*/ 4425471 w 4425470"/>
                <a:gd name="connsiteY0" fmla="*/ 4104417 h 4104416"/>
                <a:gd name="connsiteX1" fmla="*/ 3783256 w 4425470"/>
                <a:gd name="connsiteY1" fmla="*/ 4104417 h 4104416"/>
                <a:gd name="connsiteX2" fmla="*/ 1842581 w 4425470"/>
                <a:gd name="connsiteY2" fmla="*/ 2163921 h 4104416"/>
                <a:gd name="connsiteX3" fmla="*/ 938264 w 4425470"/>
                <a:gd name="connsiteY3" fmla="*/ 1259604 h 4104416"/>
                <a:gd name="connsiteX4" fmla="*/ 300726 w 4425470"/>
                <a:gd name="connsiteY4" fmla="*/ 622067 h 4104416"/>
                <a:gd name="connsiteX5" fmla="*/ 66327 w 4425470"/>
                <a:gd name="connsiteY5" fmla="*/ 387667 h 4104416"/>
                <a:gd name="connsiteX6" fmla="*/ 15597 w 4425470"/>
                <a:gd name="connsiteY6" fmla="*/ 144093 h 4104416"/>
                <a:gd name="connsiteX7" fmla="*/ 26571 w 4425470"/>
                <a:gd name="connsiteY7" fmla="*/ 120528 h 4104416"/>
                <a:gd name="connsiteX8" fmla="*/ 48338 w 4425470"/>
                <a:gd name="connsiteY8" fmla="*/ 87247 h 4104416"/>
                <a:gd name="connsiteX9" fmla="*/ 66327 w 4425470"/>
                <a:gd name="connsiteY9" fmla="*/ 66560 h 4104416"/>
                <a:gd name="connsiteX10" fmla="*/ 226971 w 4425470"/>
                <a:gd name="connsiteY10" fmla="*/ 0 h 4104416"/>
                <a:gd name="connsiteX11" fmla="*/ 387434 w 4425470"/>
                <a:gd name="connsiteY11" fmla="*/ 66560 h 4104416"/>
                <a:gd name="connsiteX12" fmla="*/ 920994 w 4425470"/>
                <a:gd name="connsiteY12" fmla="*/ 600120 h 4104416"/>
                <a:gd name="connsiteX13" fmla="*/ 2047298 w 4425470"/>
                <a:gd name="connsiteY13" fmla="*/ 1726244 h 4104416"/>
                <a:gd name="connsiteX14" fmla="*/ 4425471 w 4425470"/>
                <a:gd name="connsiteY14" fmla="*/ 4104417 h 41044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425470" h="4104416">
                  <a:moveTo>
                    <a:pt x="4425471" y="4104417"/>
                  </a:moveTo>
                  <a:lnTo>
                    <a:pt x="3783256" y="4104417"/>
                  </a:lnTo>
                  <a:lnTo>
                    <a:pt x="1842581" y="2163921"/>
                  </a:lnTo>
                  <a:lnTo>
                    <a:pt x="938264" y="1259604"/>
                  </a:lnTo>
                  <a:lnTo>
                    <a:pt x="300726" y="622067"/>
                  </a:lnTo>
                  <a:lnTo>
                    <a:pt x="66327" y="387667"/>
                  </a:lnTo>
                  <a:cubicBezTo>
                    <a:pt x="666" y="321827"/>
                    <a:pt x="-16244" y="225584"/>
                    <a:pt x="15597" y="144093"/>
                  </a:cubicBezTo>
                  <a:cubicBezTo>
                    <a:pt x="18835" y="135998"/>
                    <a:pt x="22433" y="128083"/>
                    <a:pt x="26571" y="120528"/>
                  </a:cubicBezTo>
                  <a:cubicBezTo>
                    <a:pt x="32507" y="109015"/>
                    <a:pt x="39703" y="97861"/>
                    <a:pt x="48338" y="87247"/>
                  </a:cubicBezTo>
                  <a:cubicBezTo>
                    <a:pt x="53734" y="80052"/>
                    <a:pt x="59671" y="73216"/>
                    <a:pt x="66327" y="66560"/>
                  </a:cubicBezTo>
                  <a:cubicBezTo>
                    <a:pt x="110760" y="22127"/>
                    <a:pt x="168685" y="0"/>
                    <a:pt x="226971" y="0"/>
                  </a:cubicBezTo>
                  <a:cubicBezTo>
                    <a:pt x="285256" y="0"/>
                    <a:pt x="343181" y="22127"/>
                    <a:pt x="387434" y="66560"/>
                  </a:cubicBezTo>
                  <a:lnTo>
                    <a:pt x="920994" y="600120"/>
                  </a:lnTo>
                  <a:lnTo>
                    <a:pt x="2047298" y="1726244"/>
                  </a:lnTo>
                  <a:lnTo>
                    <a:pt x="4425471" y="4104417"/>
                  </a:lnTo>
                  <a:close/>
                </a:path>
              </a:pathLst>
            </a:custGeom>
            <a:solidFill>
              <a:srgbClr val="2A446F"/>
            </a:solidFill>
            <a:ln w="179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2A446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" name="Freeform: Shape 25">
              <a:extLst>
                <a:ext uri="{FF2B5EF4-FFF2-40B4-BE49-F238E27FC236}">
                  <a16:creationId xmlns:a16="http://schemas.microsoft.com/office/drawing/2014/main" id="{9FB74CCB-0493-360D-21F2-DBAE55C05011}"/>
                </a:ext>
              </a:extLst>
            </p:cNvPr>
            <p:cNvSpPr/>
            <p:nvPr/>
          </p:nvSpPr>
          <p:spPr>
            <a:xfrm flipH="1">
              <a:off x="6158063" y="5370316"/>
              <a:ext cx="1594877" cy="1544732"/>
            </a:xfrm>
            <a:custGeom>
              <a:avLst/>
              <a:gdLst>
                <a:gd name="connsiteX0" fmla="*/ 1594878 w 1594877"/>
                <a:gd name="connsiteY0" fmla="*/ 1544733 h 1544732"/>
                <a:gd name="connsiteX1" fmla="*/ 1494678 w 1594877"/>
                <a:gd name="connsiteY1" fmla="*/ 1544733 h 1544732"/>
                <a:gd name="connsiteX2" fmla="*/ 10389 w 1594877"/>
                <a:gd name="connsiteY2" fmla="*/ 60444 h 1544732"/>
                <a:gd name="connsiteX3" fmla="*/ 10389 w 1594877"/>
                <a:gd name="connsiteY3" fmla="*/ 10433 h 1544732"/>
                <a:gd name="connsiteX4" fmla="*/ 35394 w 1594877"/>
                <a:gd name="connsiteY4" fmla="*/ 0 h 1544732"/>
                <a:gd name="connsiteX5" fmla="*/ 60399 w 1594877"/>
                <a:gd name="connsiteY5" fmla="*/ 10433 h 1544732"/>
                <a:gd name="connsiteX6" fmla="*/ 358120 w 1594877"/>
                <a:gd name="connsiteY6" fmla="*/ 308155 h 1544732"/>
                <a:gd name="connsiteX7" fmla="*/ 1594878 w 1594877"/>
                <a:gd name="connsiteY7" fmla="*/ 1544733 h 1544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94877" h="1544732">
                  <a:moveTo>
                    <a:pt x="1594878" y="1544733"/>
                  </a:moveTo>
                  <a:lnTo>
                    <a:pt x="1494678" y="1544733"/>
                  </a:lnTo>
                  <a:lnTo>
                    <a:pt x="10389" y="60444"/>
                  </a:lnTo>
                  <a:cubicBezTo>
                    <a:pt x="-3463" y="46592"/>
                    <a:pt x="-3463" y="24286"/>
                    <a:pt x="10389" y="10433"/>
                  </a:cubicBezTo>
                  <a:cubicBezTo>
                    <a:pt x="17225" y="3598"/>
                    <a:pt x="26399" y="0"/>
                    <a:pt x="35394" y="0"/>
                  </a:cubicBezTo>
                  <a:cubicBezTo>
                    <a:pt x="44388" y="0"/>
                    <a:pt x="53563" y="3598"/>
                    <a:pt x="60399" y="10433"/>
                  </a:cubicBezTo>
                  <a:lnTo>
                    <a:pt x="358120" y="308155"/>
                  </a:lnTo>
                  <a:lnTo>
                    <a:pt x="1594878" y="1544733"/>
                  </a:lnTo>
                  <a:close/>
                </a:path>
              </a:pathLst>
            </a:custGeom>
            <a:solidFill>
              <a:srgbClr val="FFFFFF"/>
            </a:solidFill>
            <a:ln w="179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2A446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" name="Freeform: Shape 26">
              <a:extLst>
                <a:ext uri="{FF2B5EF4-FFF2-40B4-BE49-F238E27FC236}">
                  <a16:creationId xmlns:a16="http://schemas.microsoft.com/office/drawing/2014/main" id="{7C65DE81-5BDA-2EF4-2236-2DF8D40CEFC8}"/>
                </a:ext>
              </a:extLst>
            </p:cNvPr>
            <p:cNvSpPr/>
            <p:nvPr/>
          </p:nvSpPr>
          <p:spPr>
            <a:xfrm flipH="1">
              <a:off x="11221664" y="4466898"/>
              <a:ext cx="959903" cy="1033434"/>
            </a:xfrm>
            <a:custGeom>
              <a:avLst/>
              <a:gdLst>
                <a:gd name="connsiteX0" fmla="*/ 944793 w 959903"/>
                <a:gd name="connsiteY0" fmla="*/ 1018189 h 1033434"/>
                <a:gd name="connsiteX1" fmla="*/ 871397 w 959903"/>
                <a:gd name="connsiteY1" fmla="*/ 1018189 h 1033434"/>
                <a:gd name="connsiteX2" fmla="*/ 0 w 959903"/>
                <a:gd name="connsiteY2" fmla="*/ 146792 h 1033434"/>
                <a:gd name="connsiteX3" fmla="*/ 0 w 959903"/>
                <a:gd name="connsiteY3" fmla="*/ 0 h 1033434"/>
                <a:gd name="connsiteX4" fmla="*/ 944793 w 959903"/>
                <a:gd name="connsiteY4" fmla="*/ 944793 h 1033434"/>
                <a:gd name="connsiteX5" fmla="*/ 944793 w 959903"/>
                <a:gd name="connsiteY5" fmla="*/ 1018189 h 1033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59903" h="1033434">
                  <a:moveTo>
                    <a:pt x="944793" y="1018189"/>
                  </a:moveTo>
                  <a:cubicBezTo>
                    <a:pt x="924465" y="1038517"/>
                    <a:pt x="891545" y="1038517"/>
                    <a:pt x="871397" y="1018189"/>
                  </a:cubicBezTo>
                  <a:lnTo>
                    <a:pt x="0" y="146792"/>
                  </a:lnTo>
                  <a:lnTo>
                    <a:pt x="0" y="0"/>
                  </a:lnTo>
                  <a:lnTo>
                    <a:pt x="944793" y="944793"/>
                  </a:lnTo>
                  <a:cubicBezTo>
                    <a:pt x="964941" y="965121"/>
                    <a:pt x="964941" y="997861"/>
                    <a:pt x="944793" y="1018189"/>
                  </a:cubicBezTo>
                  <a:close/>
                </a:path>
              </a:pathLst>
            </a:custGeom>
            <a:solidFill>
              <a:srgbClr val="FFFFFF"/>
            </a:solidFill>
            <a:ln w="179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2A446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" name="Freeform: Shape 27">
              <a:extLst>
                <a:ext uri="{FF2B5EF4-FFF2-40B4-BE49-F238E27FC236}">
                  <a16:creationId xmlns:a16="http://schemas.microsoft.com/office/drawing/2014/main" id="{6306B905-10E3-B94C-DEF1-E3D639005AFB}"/>
                </a:ext>
              </a:extLst>
            </p:cNvPr>
            <p:cNvSpPr/>
            <p:nvPr/>
          </p:nvSpPr>
          <p:spPr>
            <a:xfrm flipH="1">
              <a:off x="6554229" y="1253172"/>
              <a:ext cx="701489" cy="701489"/>
            </a:xfrm>
            <a:custGeom>
              <a:avLst/>
              <a:gdLst>
                <a:gd name="connsiteX0" fmla="*/ 694339 w 701489"/>
                <a:gd name="connsiteY0" fmla="*/ 694338 h 701489"/>
                <a:gd name="connsiteX1" fmla="*/ 694339 w 701489"/>
                <a:gd name="connsiteY1" fmla="*/ 694338 h 701489"/>
                <a:gd name="connsiteX2" fmla="*/ 659799 w 701489"/>
                <a:gd name="connsiteY2" fmla="*/ 694338 h 701489"/>
                <a:gd name="connsiteX3" fmla="*/ 7151 w 701489"/>
                <a:gd name="connsiteY3" fmla="*/ 41690 h 701489"/>
                <a:gd name="connsiteX4" fmla="*/ 7151 w 701489"/>
                <a:gd name="connsiteY4" fmla="*/ 7151 h 701489"/>
                <a:gd name="connsiteX5" fmla="*/ 7151 w 701489"/>
                <a:gd name="connsiteY5" fmla="*/ 7151 h 701489"/>
                <a:gd name="connsiteX6" fmla="*/ 41690 w 701489"/>
                <a:gd name="connsiteY6" fmla="*/ 7151 h 701489"/>
                <a:gd name="connsiteX7" fmla="*/ 694339 w 701489"/>
                <a:gd name="connsiteY7" fmla="*/ 659799 h 701489"/>
                <a:gd name="connsiteX8" fmla="*/ 694339 w 701489"/>
                <a:gd name="connsiteY8" fmla="*/ 694338 h 7014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01489" h="701489">
                  <a:moveTo>
                    <a:pt x="694339" y="694338"/>
                  </a:moveTo>
                  <a:lnTo>
                    <a:pt x="694339" y="694338"/>
                  </a:lnTo>
                  <a:cubicBezTo>
                    <a:pt x="684804" y="703873"/>
                    <a:pt x="669333" y="703873"/>
                    <a:pt x="659799" y="694338"/>
                  </a:cubicBezTo>
                  <a:lnTo>
                    <a:pt x="7151" y="41690"/>
                  </a:lnTo>
                  <a:cubicBezTo>
                    <a:pt x="-2384" y="32156"/>
                    <a:pt x="-2384" y="16685"/>
                    <a:pt x="7151" y="7151"/>
                  </a:cubicBezTo>
                  <a:lnTo>
                    <a:pt x="7151" y="7151"/>
                  </a:lnTo>
                  <a:cubicBezTo>
                    <a:pt x="16685" y="-2384"/>
                    <a:pt x="32156" y="-2384"/>
                    <a:pt x="41690" y="7151"/>
                  </a:cubicBezTo>
                  <a:lnTo>
                    <a:pt x="694339" y="659799"/>
                  </a:lnTo>
                  <a:cubicBezTo>
                    <a:pt x="703873" y="669333"/>
                    <a:pt x="703873" y="684804"/>
                    <a:pt x="694339" y="694338"/>
                  </a:cubicBezTo>
                  <a:close/>
                </a:path>
              </a:pathLst>
            </a:custGeom>
            <a:solidFill>
              <a:srgbClr val="2A446F"/>
            </a:solidFill>
            <a:ln w="179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2A446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" name="Freeform: Shape 28">
              <a:extLst>
                <a:ext uri="{FF2B5EF4-FFF2-40B4-BE49-F238E27FC236}">
                  <a16:creationId xmlns:a16="http://schemas.microsoft.com/office/drawing/2014/main" id="{449B93B0-089A-8978-DB97-F515E683C646}"/>
                </a:ext>
              </a:extLst>
            </p:cNvPr>
            <p:cNvSpPr/>
            <p:nvPr/>
          </p:nvSpPr>
          <p:spPr>
            <a:xfrm flipH="1">
              <a:off x="9338059" y="5464445"/>
              <a:ext cx="249779" cy="249779"/>
            </a:xfrm>
            <a:custGeom>
              <a:avLst/>
              <a:gdLst>
                <a:gd name="connsiteX0" fmla="*/ 242629 w 249779"/>
                <a:gd name="connsiteY0" fmla="*/ 242629 h 249779"/>
                <a:gd name="connsiteX1" fmla="*/ 242629 w 249779"/>
                <a:gd name="connsiteY1" fmla="*/ 242629 h 249779"/>
                <a:gd name="connsiteX2" fmla="*/ 208090 w 249779"/>
                <a:gd name="connsiteY2" fmla="*/ 242629 h 249779"/>
                <a:gd name="connsiteX3" fmla="*/ 7151 w 249779"/>
                <a:gd name="connsiteY3" fmla="*/ 41690 h 249779"/>
                <a:gd name="connsiteX4" fmla="*/ 7151 w 249779"/>
                <a:gd name="connsiteY4" fmla="*/ 7151 h 249779"/>
                <a:gd name="connsiteX5" fmla="*/ 7151 w 249779"/>
                <a:gd name="connsiteY5" fmla="*/ 7151 h 249779"/>
                <a:gd name="connsiteX6" fmla="*/ 41690 w 249779"/>
                <a:gd name="connsiteY6" fmla="*/ 7151 h 249779"/>
                <a:gd name="connsiteX7" fmla="*/ 242629 w 249779"/>
                <a:gd name="connsiteY7" fmla="*/ 208090 h 249779"/>
                <a:gd name="connsiteX8" fmla="*/ 242629 w 249779"/>
                <a:gd name="connsiteY8" fmla="*/ 242629 h 249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9779" h="249779">
                  <a:moveTo>
                    <a:pt x="242629" y="242629"/>
                  </a:moveTo>
                  <a:lnTo>
                    <a:pt x="242629" y="242629"/>
                  </a:lnTo>
                  <a:cubicBezTo>
                    <a:pt x="233095" y="252164"/>
                    <a:pt x="217624" y="252164"/>
                    <a:pt x="208090" y="242629"/>
                  </a:cubicBezTo>
                  <a:lnTo>
                    <a:pt x="7151" y="41690"/>
                  </a:lnTo>
                  <a:cubicBezTo>
                    <a:pt x="-2384" y="32155"/>
                    <a:pt x="-2384" y="16685"/>
                    <a:pt x="7151" y="7151"/>
                  </a:cubicBezTo>
                  <a:lnTo>
                    <a:pt x="7151" y="7151"/>
                  </a:lnTo>
                  <a:cubicBezTo>
                    <a:pt x="16685" y="-2384"/>
                    <a:pt x="32156" y="-2384"/>
                    <a:pt x="41690" y="7151"/>
                  </a:cubicBezTo>
                  <a:lnTo>
                    <a:pt x="242629" y="208090"/>
                  </a:lnTo>
                  <a:cubicBezTo>
                    <a:pt x="252164" y="217624"/>
                    <a:pt x="252164" y="233095"/>
                    <a:pt x="242629" y="242629"/>
                  </a:cubicBezTo>
                  <a:close/>
                </a:path>
              </a:pathLst>
            </a:custGeom>
            <a:solidFill>
              <a:srgbClr val="FFFFFF"/>
            </a:solidFill>
            <a:ln w="179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2A446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" name="Freeform: Shape 29">
              <a:extLst>
                <a:ext uri="{FF2B5EF4-FFF2-40B4-BE49-F238E27FC236}">
                  <a16:creationId xmlns:a16="http://schemas.microsoft.com/office/drawing/2014/main" id="{87CD9414-5142-13EF-E3CD-4645DAD3816E}"/>
                </a:ext>
              </a:extLst>
            </p:cNvPr>
            <p:cNvSpPr/>
            <p:nvPr/>
          </p:nvSpPr>
          <p:spPr>
            <a:xfrm flipH="1">
              <a:off x="4852676" y="4977522"/>
              <a:ext cx="867978" cy="867979"/>
            </a:xfrm>
            <a:custGeom>
              <a:avLst/>
              <a:gdLst>
                <a:gd name="connsiteX0" fmla="*/ 855836 w 867978"/>
                <a:gd name="connsiteY0" fmla="*/ 855836 h 867979"/>
                <a:gd name="connsiteX1" fmla="*/ 855836 w 867978"/>
                <a:gd name="connsiteY1" fmla="*/ 855836 h 867979"/>
                <a:gd name="connsiteX2" fmla="*/ 797551 w 867978"/>
                <a:gd name="connsiteY2" fmla="*/ 855836 h 867979"/>
                <a:gd name="connsiteX3" fmla="*/ 12143 w 867978"/>
                <a:gd name="connsiteY3" fmla="*/ 70427 h 867979"/>
                <a:gd name="connsiteX4" fmla="*/ 12143 w 867978"/>
                <a:gd name="connsiteY4" fmla="*/ 12143 h 867979"/>
                <a:gd name="connsiteX5" fmla="*/ 12143 w 867978"/>
                <a:gd name="connsiteY5" fmla="*/ 12143 h 867979"/>
                <a:gd name="connsiteX6" fmla="*/ 70427 w 867978"/>
                <a:gd name="connsiteY6" fmla="*/ 12143 h 867979"/>
                <a:gd name="connsiteX7" fmla="*/ 855836 w 867978"/>
                <a:gd name="connsiteY7" fmla="*/ 797551 h 867979"/>
                <a:gd name="connsiteX8" fmla="*/ 855836 w 867978"/>
                <a:gd name="connsiteY8" fmla="*/ 855836 h 8679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67978" h="867979">
                  <a:moveTo>
                    <a:pt x="855836" y="855836"/>
                  </a:moveTo>
                  <a:lnTo>
                    <a:pt x="855836" y="855836"/>
                  </a:lnTo>
                  <a:cubicBezTo>
                    <a:pt x="839646" y="872027"/>
                    <a:pt x="813561" y="872027"/>
                    <a:pt x="797551" y="855836"/>
                  </a:cubicBezTo>
                  <a:lnTo>
                    <a:pt x="12143" y="70427"/>
                  </a:lnTo>
                  <a:cubicBezTo>
                    <a:pt x="-4048" y="54237"/>
                    <a:pt x="-4048" y="28153"/>
                    <a:pt x="12143" y="12143"/>
                  </a:cubicBezTo>
                  <a:lnTo>
                    <a:pt x="12143" y="12143"/>
                  </a:lnTo>
                  <a:cubicBezTo>
                    <a:pt x="28333" y="-4048"/>
                    <a:pt x="54417" y="-4048"/>
                    <a:pt x="70427" y="12143"/>
                  </a:cubicBezTo>
                  <a:lnTo>
                    <a:pt x="855836" y="797551"/>
                  </a:lnTo>
                  <a:cubicBezTo>
                    <a:pt x="872026" y="813742"/>
                    <a:pt x="872026" y="839826"/>
                    <a:pt x="855836" y="855836"/>
                  </a:cubicBezTo>
                  <a:close/>
                </a:path>
              </a:pathLst>
            </a:custGeom>
            <a:gradFill>
              <a:gsLst>
                <a:gs pos="0">
                  <a:schemeClr val="bg2">
                    <a:alpha val="69000"/>
                  </a:schemeClr>
                </a:gs>
                <a:gs pos="100000">
                  <a:schemeClr val="bg2">
                    <a:lumMod val="60000"/>
                    <a:lumOff val="40000"/>
                    <a:alpha val="45000"/>
                  </a:schemeClr>
                </a:gs>
              </a:gsLst>
              <a:lin ang="13500000" scaled="1"/>
            </a:gradFill>
            <a:ln w="17980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2A446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" name="Freeform: Shape 30">
              <a:extLst>
                <a:ext uri="{FF2B5EF4-FFF2-40B4-BE49-F238E27FC236}">
                  <a16:creationId xmlns:a16="http://schemas.microsoft.com/office/drawing/2014/main" id="{FE0CDECF-8DDB-B236-F2E9-42EC0D031DFC}"/>
                </a:ext>
              </a:extLst>
            </p:cNvPr>
            <p:cNvSpPr/>
            <p:nvPr/>
          </p:nvSpPr>
          <p:spPr>
            <a:xfrm flipH="1">
              <a:off x="8981872" y="456610"/>
              <a:ext cx="249780" cy="249780"/>
            </a:xfrm>
            <a:custGeom>
              <a:avLst/>
              <a:gdLst>
                <a:gd name="connsiteX0" fmla="*/ 242630 w 249780"/>
                <a:gd name="connsiteY0" fmla="*/ 242629 h 249780"/>
                <a:gd name="connsiteX1" fmla="*/ 242630 w 249780"/>
                <a:gd name="connsiteY1" fmla="*/ 242629 h 249780"/>
                <a:gd name="connsiteX2" fmla="*/ 208090 w 249780"/>
                <a:gd name="connsiteY2" fmla="*/ 242629 h 249780"/>
                <a:gd name="connsiteX3" fmla="*/ 7151 w 249780"/>
                <a:gd name="connsiteY3" fmla="*/ 41690 h 249780"/>
                <a:gd name="connsiteX4" fmla="*/ 7151 w 249780"/>
                <a:gd name="connsiteY4" fmla="*/ 7151 h 249780"/>
                <a:gd name="connsiteX5" fmla="*/ 7151 w 249780"/>
                <a:gd name="connsiteY5" fmla="*/ 7151 h 249780"/>
                <a:gd name="connsiteX6" fmla="*/ 41690 w 249780"/>
                <a:gd name="connsiteY6" fmla="*/ 7151 h 249780"/>
                <a:gd name="connsiteX7" fmla="*/ 242630 w 249780"/>
                <a:gd name="connsiteY7" fmla="*/ 208090 h 249780"/>
                <a:gd name="connsiteX8" fmla="*/ 242630 w 249780"/>
                <a:gd name="connsiteY8" fmla="*/ 242629 h 249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9780" h="249780">
                  <a:moveTo>
                    <a:pt x="242630" y="242629"/>
                  </a:moveTo>
                  <a:lnTo>
                    <a:pt x="242630" y="242629"/>
                  </a:lnTo>
                  <a:cubicBezTo>
                    <a:pt x="233095" y="252164"/>
                    <a:pt x="217625" y="252164"/>
                    <a:pt x="208090" y="242629"/>
                  </a:cubicBezTo>
                  <a:lnTo>
                    <a:pt x="7151" y="41690"/>
                  </a:lnTo>
                  <a:cubicBezTo>
                    <a:pt x="-2384" y="32156"/>
                    <a:pt x="-2384" y="16685"/>
                    <a:pt x="7151" y="7151"/>
                  </a:cubicBezTo>
                  <a:lnTo>
                    <a:pt x="7151" y="7151"/>
                  </a:lnTo>
                  <a:cubicBezTo>
                    <a:pt x="16685" y="-2384"/>
                    <a:pt x="32156" y="-2384"/>
                    <a:pt x="41690" y="7151"/>
                  </a:cubicBezTo>
                  <a:lnTo>
                    <a:pt x="242630" y="208090"/>
                  </a:lnTo>
                  <a:cubicBezTo>
                    <a:pt x="252164" y="217624"/>
                    <a:pt x="252164" y="233095"/>
                    <a:pt x="242630" y="242629"/>
                  </a:cubicBezTo>
                  <a:close/>
                </a:path>
              </a:pathLst>
            </a:custGeom>
            <a:solidFill>
              <a:srgbClr val="2A446F"/>
            </a:solidFill>
            <a:ln w="179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2A446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" name="Freeform: Shape 31">
              <a:extLst>
                <a:ext uri="{FF2B5EF4-FFF2-40B4-BE49-F238E27FC236}">
                  <a16:creationId xmlns:a16="http://schemas.microsoft.com/office/drawing/2014/main" id="{E6642546-E8B5-E01E-8102-4B8BBF87CF43}"/>
                </a:ext>
              </a:extLst>
            </p:cNvPr>
            <p:cNvSpPr/>
            <p:nvPr/>
          </p:nvSpPr>
          <p:spPr>
            <a:xfrm flipH="1">
              <a:off x="11561345" y="648510"/>
              <a:ext cx="620222" cy="662182"/>
            </a:xfrm>
            <a:custGeom>
              <a:avLst/>
              <a:gdLst>
                <a:gd name="connsiteX0" fmla="*/ 611453 w 620222"/>
                <a:gd name="connsiteY0" fmla="*/ 653548 h 662182"/>
                <a:gd name="connsiteX1" fmla="*/ 569538 w 620222"/>
                <a:gd name="connsiteY1" fmla="*/ 653548 h 662182"/>
                <a:gd name="connsiteX2" fmla="*/ 0 w 620222"/>
                <a:gd name="connsiteY2" fmla="*/ 83830 h 662182"/>
                <a:gd name="connsiteX3" fmla="*/ 0 w 620222"/>
                <a:gd name="connsiteY3" fmla="*/ 0 h 662182"/>
                <a:gd name="connsiteX4" fmla="*/ 611453 w 620222"/>
                <a:gd name="connsiteY4" fmla="*/ 611453 h 662182"/>
                <a:gd name="connsiteX5" fmla="*/ 611453 w 620222"/>
                <a:gd name="connsiteY5" fmla="*/ 653548 h 662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20222" h="662182">
                  <a:moveTo>
                    <a:pt x="611453" y="653548"/>
                  </a:moveTo>
                  <a:cubicBezTo>
                    <a:pt x="599940" y="665061"/>
                    <a:pt x="581051" y="665061"/>
                    <a:pt x="569538" y="653548"/>
                  </a:cubicBezTo>
                  <a:lnTo>
                    <a:pt x="0" y="83830"/>
                  </a:lnTo>
                  <a:lnTo>
                    <a:pt x="0" y="0"/>
                  </a:lnTo>
                  <a:lnTo>
                    <a:pt x="611453" y="611453"/>
                  </a:lnTo>
                  <a:cubicBezTo>
                    <a:pt x="623146" y="623146"/>
                    <a:pt x="623146" y="641855"/>
                    <a:pt x="611453" y="653548"/>
                  </a:cubicBezTo>
                  <a:close/>
                </a:path>
              </a:pathLst>
            </a:custGeom>
            <a:solidFill>
              <a:srgbClr val="2A446F"/>
            </a:solidFill>
            <a:ln w="179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2A446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" name="Freeform: Shape 32">
              <a:extLst>
                <a:ext uri="{FF2B5EF4-FFF2-40B4-BE49-F238E27FC236}">
                  <a16:creationId xmlns:a16="http://schemas.microsoft.com/office/drawing/2014/main" id="{7F0A24E1-B2CF-AA3D-450F-7AA0BD3F0CF9}"/>
                </a:ext>
              </a:extLst>
            </p:cNvPr>
            <p:cNvSpPr/>
            <p:nvPr/>
          </p:nvSpPr>
          <p:spPr>
            <a:xfrm flipH="1">
              <a:off x="7172474" y="5268138"/>
              <a:ext cx="1863290" cy="1646911"/>
            </a:xfrm>
            <a:custGeom>
              <a:avLst/>
              <a:gdLst>
                <a:gd name="connsiteX0" fmla="*/ 1863291 w 1863290"/>
                <a:gd name="connsiteY0" fmla="*/ 1646911 h 1646911"/>
                <a:gd name="connsiteX1" fmla="*/ 1430291 w 1863290"/>
                <a:gd name="connsiteY1" fmla="*/ 1646911 h 1646911"/>
                <a:gd name="connsiteX2" fmla="*/ 44942 w 1863290"/>
                <a:gd name="connsiteY2" fmla="*/ 261563 h 1646911"/>
                <a:gd name="connsiteX3" fmla="*/ 28932 w 1863290"/>
                <a:gd name="connsiteY3" fmla="*/ 63861 h 1646911"/>
                <a:gd name="connsiteX4" fmla="*/ 44942 w 1863290"/>
                <a:gd name="connsiteY4" fmla="*/ 44973 h 1646911"/>
                <a:gd name="connsiteX5" fmla="*/ 153058 w 1863290"/>
                <a:gd name="connsiteY5" fmla="*/ 0 h 1646911"/>
                <a:gd name="connsiteX6" fmla="*/ 261352 w 1863290"/>
                <a:gd name="connsiteY6" fmla="*/ 44973 h 1646911"/>
                <a:gd name="connsiteX7" fmla="*/ 1209563 w 1863290"/>
                <a:gd name="connsiteY7" fmla="*/ 993184 h 1646911"/>
                <a:gd name="connsiteX8" fmla="*/ 1863291 w 1863290"/>
                <a:gd name="connsiteY8" fmla="*/ 1646911 h 1646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63290" h="1646911">
                  <a:moveTo>
                    <a:pt x="1863291" y="1646911"/>
                  </a:moveTo>
                  <a:lnTo>
                    <a:pt x="1430291" y="1646911"/>
                  </a:lnTo>
                  <a:lnTo>
                    <a:pt x="44942" y="261563"/>
                  </a:lnTo>
                  <a:cubicBezTo>
                    <a:pt x="-9025" y="207596"/>
                    <a:pt x="-14422" y="123586"/>
                    <a:pt x="28932" y="63861"/>
                  </a:cubicBezTo>
                  <a:cubicBezTo>
                    <a:pt x="33609" y="57206"/>
                    <a:pt x="39006" y="50909"/>
                    <a:pt x="44942" y="44973"/>
                  </a:cubicBezTo>
                  <a:cubicBezTo>
                    <a:pt x="74804" y="15111"/>
                    <a:pt x="114021" y="0"/>
                    <a:pt x="153058" y="0"/>
                  </a:cubicBezTo>
                  <a:cubicBezTo>
                    <a:pt x="192094" y="0"/>
                    <a:pt x="231490" y="15111"/>
                    <a:pt x="261352" y="44973"/>
                  </a:cubicBezTo>
                  <a:lnTo>
                    <a:pt x="1209563" y="993184"/>
                  </a:lnTo>
                  <a:lnTo>
                    <a:pt x="1863291" y="1646911"/>
                  </a:lnTo>
                  <a:close/>
                </a:path>
              </a:pathLst>
            </a:custGeom>
            <a:gradFill>
              <a:gsLst>
                <a:gs pos="0">
                  <a:schemeClr val="bg2">
                    <a:lumMod val="75000"/>
                  </a:schemeClr>
                </a:gs>
                <a:gs pos="50000">
                  <a:schemeClr val="bg2"/>
                </a:gs>
                <a:gs pos="100000">
                  <a:schemeClr val="bg2">
                    <a:lumMod val="60000"/>
                    <a:lumOff val="40000"/>
                  </a:schemeClr>
                </a:gs>
              </a:gsLst>
              <a:lin ang="13500053" scaled="1"/>
            </a:gradFill>
            <a:ln w="179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IN" b="0" i="0" u="none" strike="noStrike" cap="none" spc="0" normalizeH="0" baseline="0" noProof="0">
                <a:ln>
                  <a:noFill/>
                </a:ln>
                <a:solidFill>
                  <a:srgbClr val="2A446F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3" name="Freeform: Shape 33">
              <a:extLst>
                <a:ext uri="{FF2B5EF4-FFF2-40B4-BE49-F238E27FC236}">
                  <a16:creationId xmlns:a16="http://schemas.microsoft.com/office/drawing/2014/main" id="{70E75DE8-AEF2-633C-2CBC-DFF8F0F7FE58}"/>
                </a:ext>
              </a:extLst>
            </p:cNvPr>
            <p:cNvSpPr/>
            <p:nvPr/>
          </p:nvSpPr>
          <p:spPr>
            <a:xfrm rot="802202" flipH="1">
              <a:off x="7592049" y="1923832"/>
              <a:ext cx="541475" cy="541475"/>
            </a:xfrm>
            <a:custGeom>
              <a:avLst/>
              <a:gdLst>
                <a:gd name="connsiteX0" fmla="*/ 541475 w 541475"/>
                <a:gd name="connsiteY0" fmla="*/ 270737 h 541475"/>
                <a:gd name="connsiteX1" fmla="*/ 270738 w 541475"/>
                <a:gd name="connsiteY1" fmla="*/ 541475 h 541475"/>
                <a:gd name="connsiteX2" fmla="*/ 0 w 541475"/>
                <a:gd name="connsiteY2" fmla="*/ 270737 h 541475"/>
                <a:gd name="connsiteX3" fmla="*/ 270738 w 541475"/>
                <a:gd name="connsiteY3" fmla="*/ 0 h 541475"/>
                <a:gd name="connsiteX4" fmla="*/ 541475 w 541475"/>
                <a:gd name="connsiteY4" fmla="*/ 270737 h 54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1475" h="541475">
                  <a:moveTo>
                    <a:pt x="541475" y="270737"/>
                  </a:moveTo>
                  <a:cubicBezTo>
                    <a:pt x="541475" y="420262"/>
                    <a:pt x="420262" y="541475"/>
                    <a:pt x="270738" y="541475"/>
                  </a:cubicBezTo>
                  <a:cubicBezTo>
                    <a:pt x="121213" y="541475"/>
                    <a:pt x="0" y="420262"/>
                    <a:pt x="0" y="270737"/>
                  </a:cubicBezTo>
                  <a:cubicBezTo>
                    <a:pt x="0" y="121213"/>
                    <a:pt x="121213" y="0"/>
                    <a:pt x="270738" y="0"/>
                  </a:cubicBezTo>
                  <a:cubicBezTo>
                    <a:pt x="420262" y="0"/>
                    <a:pt x="541475" y="121213"/>
                    <a:pt x="541475" y="270737"/>
                  </a:cubicBezTo>
                  <a:close/>
                </a:path>
              </a:pathLst>
            </a:custGeom>
            <a:gradFill>
              <a:gsLst>
                <a:gs pos="0">
                  <a:schemeClr val="bg2">
                    <a:alpha val="69000"/>
                  </a:schemeClr>
                </a:gs>
                <a:gs pos="100000">
                  <a:schemeClr val="bg2">
                    <a:lumMod val="60000"/>
                    <a:lumOff val="40000"/>
                    <a:alpha val="45000"/>
                  </a:schemeClr>
                </a:gs>
              </a:gsLst>
              <a:lin ang="13500000" scaled="1"/>
            </a:gradFill>
            <a:ln w="17980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2A446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" name="Freeform: Shape 34">
              <a:extLst>
                <a:ext uri="{FF2B5EF4-FFF2-40B4-BE49-F238E27FC236}">
                  <a16:creationId xmlns:a16="http://schemas.microsoft.com/office/drawing/2014/main" id="{2249F4FC-6490-CB8A-C13A-3F06DBD10C2C}"/>
                </a:ext>
              </a:extLst>
            </p:cNvPr>
            <p:cNvSpPr/>
            <p:nvPr/>
          </p:nvSpPr>
          <p:spPr>
            <a:xfrm flipH="1">
              <a:off x="10427440" y="1122166"/>
              <a:ext cx="751948" cy="751948"/>
            </a:xfrm>
            <a:custGeom>
              <a:avLst/>
              <a:gdLst>
                <a:gd name="connsiteX0" fmla="*/ 751949 w 751948"/>
                <a:gd name="connsiteY0" fmla="*/ 375974 h 751948"/>
                <a:gd name="connsiteX1" fmla="*/ 375974 w 751948"/>
                <a:gd name="connsiteY1" fmla="*/ 751949 h 751948"/>
                <a:gd name="connsiteX2" fmla="*/ 0 w 751948"/>
                <a:gd name="connsiteY2" fmla="*/ 375974 h 751948"/>
                <a:gd name="connsiteX3" fmla="*/ 375974 w 751948"/>
                <a:gd name="connsiteY3" fmla="*/ 0 h 751948"/>
                <a:gd name="connsiteX4" fmla="*/ 751949 w 751948"/>
                <a:gd name="connsiteY4" fmla="*/ 375974 h 751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1948" h="751948">
                  <a:moveTo>
                    <a:pt x="751949" y="375974"/>
                  </a:moveTo>
                  <a:cubicBezTo>
                    <a:pt x="751949" y="583619"/>
                    <a:pt x="583619" y="751949"/>
                    <a:pt x="375974" y="751949"/>
                  </a:cubicBezTo>
                  <a:cubicBezTo>
                    <a:pt x="168329" y="751949"/>
                    <a:pt x="0" y="583619"/>
                    <a:pt x="0" y="375974"/>
                  </a:cubicBezTo>
                  <a:cubicBezTo>
                    <a:pt x="0" y="168330"/>
                    <a:pt x="168329" y="0"/>
                    <a:pt x="375974" y="0"/>
                  </a:cubicBezTo>
                  <a:cubicBezTo>
                    <a:pt x="583619" y="0"/>
                    <a:pt x="751949" y="168329"/>
                    <a:pt x="751949" y="375974"/>
                  </a:cubicBezTo>
                  <a:close/>
                </a:path>
              </a:pathLst>
            </a:custGeom>
            <a:gradFill>
              <a:gsLst>
                <a:gs pos="0">
                  <a:schemeClr val="bg2">
                    <a:alpha val="69000"/>
                  </a:schemeClr>
                </a:gs>
                <a:gs pos="100000">
                  <a:schemeClr val="bg2">
                    <a:lumMod val="60000"/>
                    <a:lumOff val="40000"/>
                    <a:alpha val="45000"/>
                  </a:schemeClr>
                </a:gs>
              </a:gsLst>
              <a:lin ang="13500000" scaled="1"/>
            </a:gradFill>
            <a:ln w="17980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2A446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" name="Freeform: Shape 35">
              <a:extLst>
                <a:ext uri="{FF2B5EF4-FFF2-40B4-BE49-F238E27FC236}">
                  <a16:creationId xmlns:a16="http://schemas.microsoft.com/office/drawing/2014/main" id="{129FE6D9-BFCD-64DE-89BE-C73A1B5B2C8C}"/>
                </a:ext>
              </a:extLst>
            </p:cNvPr>
            <p:cNvSpPr/>
            <p:nvPr/>
          </p:nvSpPr>
          <p:spPr>
            <a:xfrm flipH="1">
              <a:off x="8880548" y="3064460"/>
              <a:ext cx="2244333" cy="2244332"/>
            </a:xfrm>
            <a:custGeom>
              <a:avLst/>
              <a:gdLst>
                <a:gd name="connsiteX0" fmla="*/ 1121987 w 2244333"/>
                <a:gd name="connsiteY0" fmla="*/ 0 h 2244332"/>
                <a:gd name="connsiteX1" fmla="*/ 1076474 w 2244333"/>
                <a:gd name="connsiteY1" fmla="*/ 899 h 2244332"/>
                <a:gd name="connsiteX2" fmla="*/ 1076474 w 2244333"/>
                <a:gd name="connsiteY2" fmla="*/ 899 h 2244332"/>
                <a:gd name="connsiteX3" fmla="*/ 610733 w 2244333"/>
                <a:gd name="connsiteY3" fmla="*/ 122866 h 2244332"/>
                <a:gd name="connsiteX4" fmla="*/ 325605 w 2244333"/>
                <a:gd name="connsiteY4" fmla="*/ 331721 h 2244332"/>
                <a:gd name="connsiteX5" fmla="*/ 257425 w 2244333"/>
                <a:gd name="connsiteY5" fmla="*/ 406916 h 2244332"/>
                <a:gd name="connsiteX6" fmla="*/ 148231 w 2244333"/>
                <a:gd name="connsiteY6" fmla="*/ 564321 h 2244332"/>
                <a:gd name="connsiteX7" fmla="*/ 0 w 2244333"/>
                <a:gd name="connsiteY7" fmla="*/ 1122166 h 2244332"/>
                <a:gd name="connsiteX8" fmla="*/ 1122167 w 2244333"/>
                <a:gd name="connsiteY8" fmla="*/ 2244333 h 2244332"/>
                <a:gd name="connsiteX9" fmla="*/ 1621547 w 2244333"/>
                <a:gd name="connsiteY9" fmla="*/ 2127223 h 2244332"/>
                <a:gd name="connsiteX10" fmla="*/ 1621727 w 2244333"/>
                <a:gd name="connsiteY10" fmla="*/ 2127223 h 2244332"/>
                <a:gd name="connsiteX11" fmla="*/ 1837417 w 2244333"/>
                <a:gd name="connsiteY11" fmla="*/ 1986907 h 2244332"/>
                <a:gd name="connsiteX12" fmla="*/ 1931141 w 2244333"/>
                <a:gd name="connsiteY12" fmla="*/ 1900020 h 2244332"/>
                <a:gd name="connsiteX13" fmla="*/ 2121467 w 2244333"/>
                <a:gd name="connsiteY13" fmla="*/ 1633600 h 2244332"/>
                <a:gd name="connsiteX14" fmla="*/ 2243434 w 2244333"/>
                <a:gd name="connsiteY14" fmla="*/ 1167679 h 2244332"/>
                <a:gd name="connsiteX15" fmla="*/ 2244333 w 2244333"/>
                <a:gd name="connsiteY15" fmla="*/ 1122166 h 2244332"/>
                <a:gd name="connsiteX16" fmla="*/ 1122167 w 2244333"/>
                <a:gd name="connsiteY16" fmla="*/ 0 h 2244332"/>
                <a:gd name="connsiteX17" fmla="*/ 2152768 w 2244333"/>
                <a:gd name="connsiteY17" fmla="*/ 1122166 h 2244332"/>
                <a:gd name="connsiteX18" fmla="*/ 2052928 w 2244333"/>
                <a:gd name="connsiteY18" fmla="*/ 1565240 h 2244332"/>
                <a:gd name="connsiteX19" fmla="*/ 1853787 w 2244333"/>
                <a:gd name="connsiteY19" fmla="*/ 1848031 h 2244332"/>
                <a:gd name="connsiteX20" fmla="*/ 1772296 w 2244333"/>
                <a:gd name="connsiteY20" fmla="*/ 1921966 h 2244332"/>
                <a:gd name="connsiteX21" fmla="*/ 1561823 w 2244333"/>
                <a:gd name="connsiteY21" fmla="*/ 2054727 h 2244332"/>
                <a:gd name="connsiteX22" fmla="*/ 1121987 w 2244333"/>
                <a:gd name="connsiteY22" fmla="*/ 2152948 h 2244332"/>
                <a:gd name="connsiteX23" fmla="*/ 91205 w 2244333"/>
                <a:gd name="connsiteY23" fmla="*/ 1122166 h 2244332"/>
                <a:gd name="connsiteX24" fmla="*/ 216950 w 2244333"/>
                <a:gd name="connsiteY24" fmla="*/ 628723 h 2244332"/>
                <a:gd name="connsiteX25" fmla="*/ 322187 w 2244333"/>
                <a:gd name="connsiteY25" fmla="*/ 471857 h 2244332"/>
                <a:gd name="connsiteX26" fmla="*/ 390186 w 2244333"/>
                <a:gd name="connsiteY26" fmla="*/ 396482 h 2244332"/>
                <a:gd name="connsiteX27" fmla="*/ 678913 w 2244333"/>
                <a:gd name="connsiteY27" fmla="*/ 191225 h 2244332"/>
                <a:gd name="connsiteX28" fmla="*/ 1121987 w 2244333"/>
                <a:gd name="connsiteY28" fmla="*/ 91385 h 2244332"/>
                <a:gd name="connsiteX29" fmla="*/ 1167859 w 2244333"/>
                <a:gd name="connsiteY29" fmla="*/ 92464 h 2244332"/>
                <a:gd name="connsiteX30" fmla="*/ 2151689 w 2244333"/>
                <a:gd name="connsiteY30" fmla="*/ 1076114 h 2244332"/>
                <a:gd name="connsiteX31" fmla="*/ 2151689 w 2244333"/>
                <a:gd name="connsiteY31" fmla="*/ 1076114 h 2244332"/>
                <a:gd name="connsiteX32" fmla="*/ 2152768 w 2244333"/>
                <a:gd name="connsiteY32" fmla="*/ 1122166 h 22443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244333" h="2244332">
                  <a:moveTo>
                    <a:pt x="1121987" y="0"/>
                  </a:moveTo>
                  <a:cubicBezTo>
                    <a:pt x="1106696" y="0"/>
                    <a:pt x="1091585" y="360"/>
                    <a:pt x="1076474" y="899"/>
                  </a:cubicBezTo>
                  <a:lnTo>
                    <a:pt x="1076474" y="899"/>
                  </a:lnTo>
                  <a:cubicBezTo>
                    <a:pt x="909174" y="7555"/>
                    <a:pt x="751409" y="50909"/>
                    <a:pt x="610733" y="122866"/>
                  </a:cubicBezTo>
                  <a:cubicBezTo>
                    <a:pt x="504777" y="177374"/>
                    <a:pt x="408715" y="248071"/>
                    <a:pt x="325605" y="331721"/>
                  </a:cubicBezTo>
                  <a:cubicBezTo>
                    <a:pt x="301859" y="355646"/>
                    <a:pt x="279013" y="380831"/>
                    <a:pt x="257425" y="406916"/>
                  </a:cubicBezTo>
                  <a:cubicBezTo>
                    <a:pt x="216770" y="456026"/>
                    <a:pt x="180252" y="508735"/>
                    <a:pt x="148231" y="564321"/>
                  </a:cubicBezTo>
                  <a:cubicBezTo>
                    <a:pt x="53968" y="728743"/>
                    <a:pt x="0" y="919248"/>
                    <a:pt x="0" y="1122166"/>
                  </a:cubicBezTo>
                  <a:cubicBezTo>
                    <a:pt x="0" y="1741894"/>
                    <a:pt x="502438" y="2244333"/>
                    <a:pt x="1122167" y="2244333"/>
                  </a:cubicBezTo>
                  <a:cubicBezTo>
                    <a:pt x="1301699" y="2244333"/>
                    <a:pt x="1471157" y="2202238"/>
                    <a:pt x="1621547" y="2127223"/>
                  </a:cubicBezTo>
                  <a:lnTo>
                    <a:pt x="1621727" y="2127223"/>
                  </a:lnTo>
                  <a:cubicBezTo>
                    <a:pt x="1699080" y="2088726"/>
                    <a:pt x="1771397" y="2041595"/>
                    <a:pt x="1837417" y="1986907"/>
                  </a:cubicBezTo>
                  <a:cubicBezTo>
                    <a:pt x="1870158" y="1959744"/>
                    <a:pt x="1901459" y="1930781"/>
                    <a:pt x="1931141" y="1900020"/>
                  </a:cubicBezTo>
                  <a:cubicBezTo>
                    <a:pt x="2006696" y="1821407"/>
                    <a:pt x="2071097" y="1731640"/>
                    <a:pt x="2121467" y="1633600"/>
                  </a:cubicBezTo>
                  <a:cubicBezTo>
                    <a:pt x="2193424" y="1492924"/>
                    <a:pt x="2236778" y="1334979"/>
                    <a:pt x="2243434" y="1167679"/>
                  </a:cubicBezTo>
                  <a:cubicBezTo>
                    <a:pt x="2243973" y="1152568"/>
                    <a:pt x="2244333" y="1137457"/>
                    <a:pt x="2244333" y="1122166"/>
                  </a:cubicBezTo>
                  <a:cubicBezTo>
                    <a:pt x="2244333" y="502438"/>
                    <a:pt x="1741895" y="0"/>
                    <a:pt x="1122167" y="0"/>
                  </a:cubicBezTo>
                  <a:close/>
                  <a:moveTo>
                    <a:pt x="2152768" y="1122166"/>
                  </a:moveTo>
                  <a:cubicBezTo>
                    <a:pt x="2152768" y="1280831"/>
                    <a:pt x="2116970" y="1431041"/>
                    <a:pt x="2052928" y="1565240"/>
                  </a:cubicBezTo>
                  <a:cubicBezTo>
                    <a:pt x="2002738" y="1670477"/>
                    <a:pt x="1935099" y="1766000"/>
                    <a:pt x="1853787" y="1848031"/>
                  </a:cubicBezTo>
                  <a:cubicBezTo>
                    <a:pt x="1828063" y="1874115"/>
                    <a:pt x="1800899" y="1898760"/>
                    <a:pt x="1772296" y="1921966"/>
                  </a:cubicBezTo>
                  <a:cubicBezTo>
                    <a:pt x="1708075" y="1974135"/>
                    <a:pt x="1637557" y="2018928"/>
                    <a:pt x="1561823" y="2054727"/>
                  </a:cubicBezTo>
                  <a:cubicBezTo>
                    <a:pt x="1428523" y="2117689"/>
                    <a:pt x="1279392" y="2152948"/>
                    <a:pt x="1121987" y="2152948"/>
                  </a:cubicBezTo>
                  <a:cubicBezTo>
                    <a:pt x="552808" y="2152948"/>
                    <a:pt x="91205" y="1691345"/>
                    <a:pt x="91205" y="1122166"/>
                  </a:cubicBezTo>
                  <a:cubicBezTo>
                    <a:pt x="91205" y="943354"/>
                    <a:pt x="136718" y="775155"/>
                    <a:pt x="216950" y="628723"/>
                  </a:cubicBezTo>
                  <a:cubicBezTo>
                    <a:pt x="247172" y="573136"/>
                    <a:pt x="282610" y="520607"/>
                    <a:pt x="322187" y="471857"/>
                  </a:cubicBezTo>
                  <a:cubicBezTo>
                    <a:pt x="343594" y="445592"/>
                    <a:pt x="366260" y="420408"/>
                    <a:pt x="390186" y="396482"/>
                  </a:cubicBezTo>
                  <a:cubicBezTo>
                    <a:pt x="473296" y="312472"/>
                    <a:pt x="570977" y="242674"/>
                    <a:pt x="678913" y="191225"/>
                  </a:cubicBezTo>
                  <a:cubicBezTo>
                    <a:pt x="813112" y="127184"/>
                    <a:pt x="963322" y="91385"/>
                    <a:pt x="1121987" y="91385"/>
                  </a:cubicBezTo>
                  <a:cubicBezTo>
                    <a:pt x="1137278" y="91385"/>
                    <a:pt x="1152748" y="91745"/>
                    <a:pt x="1167859" y="92464"/>
                  </a:cubicBezTo>
                  <a:cubicBezTo>
                    <a:pt x="1700699" y="115670"/>
                    <a:pt x="2128303" y="543274"/>
                    <a:pt x="2151689" y="1076114"/>
                  </a:cubicBezTo>
                  <a:lnTo>
                    <a:pt x="2151689" y="1076114"/>
                  </a:lnTo>
                  <a:cubicBezTo>
                    <a:pt x="2152408" y="1091585"/>
                    <a:pt x="2152768" y="1106876"/>
                    <a:pt x="2152768" y="1122166"/>
                  </a:cubicBezTo>
                  <a:close/>
                </a:path>
              </a:pathLst>
            </a:custGeom>
            <a:gradFill>
              <a:gsLst>
                <a:gs pos="0">
                  <a:schemeClr val="bg2">
                    <a:alpha val="69000"/>
                  </a:schemeClr>
                </a:gs>
                <a:gs pos="100000">
                  <a:schemeClr val="bg2">
                    <a:lumMod val="60000"/>
                    <a:lumOff val="40000"/>
                    <a:alpha val="45000"/>
                  </a:schemeClr>
                </a:gs>
              </a:gsLst>
              <a:lin ang="13500000" scaled="1"/>
            </a:gradFill>
            <a:ln w="17980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2A446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" name="Freeform: Shape 36">
              <a:extLst>
                <a:ext uri="{FF2B5EF4-FFF2-40B4-BE49-F238E27FC236}">
                  <a16:creationId xmlns:a16="http://schemas.microsoft.com/office/drawing/2014/main" id="{C2DB5FEE-FF58-036D-7E4E-1E6261434FB6}"/>
                </a:ext>
              </a:extLst>
            </p:cNvPr>
            <p:cNvSpPr/>
            <p:nvPr/>
          </p:nvSpPr>
          <p:spPr>
            <a:xfrm flipH="1">
              <a:off x="9154164" y="3337896"/>
              <a:ext cx="1697461" cy="1697461"/>
            </a:xfrm>
            <a:custGeom>
              <a:avLst/>
              <a:gdLst>
                <a:gd name="connsiteX0" fmla="*/ 1653208 w 1697461"/>
                <a:gd name="connsiteY0" fmla="*/ 577633 h 1697461"/>
                <a:gd name="connsiteX1" fmla="*/ 1653208 w 1697461"/>
                <a:gd name="connsiteY1" fmla="*/ 577633 h 1697461"/>
                <a:gd name="connsiteX2" fmla="*/ 1119828 w 1697461"/>
                <a:gd name="connsiteY2" fmla="*/ 44253 h 1697461"/>
                <a:gd name="connsiteX3" fmla="*/ 848731 w 1697461"/>
                <a:gd name="connsiteY3" fmla="*/ 0 h 1697461"/>
                <a:gd name="connsiteX4" fmla="*/ 544173 w 1697461"/>
                <a:gd name="connsiteY4" fmla="*/ 56306 h 1697461"/>
                <a:gd name="connsiteX5" fmla="*/ 245553 w 1697461"/>
                <a:gd name="connsiteY5" fmla="*/ 251669 h 1697461"/>
                <a:gd name="connsiteX6" fmla="*/ 178453 w 1697461"/>
                <a:gd name="connsiteY6" fmla="*/ 327943 h 1697461"/>
                <a:gd name="connsiteX7" fmla="*/ 81311 w 1697461"/>
                <a:gd name="connsiteY7" fmla="*/ 485709 h 1697461"/>
                <a:gd name="connsiteX8" fmla="*/ 0 w 1697461"/>
                <a:gd name="connsiteY8" fmla="*/ 848731 h 1697461"/>
                <a:gd name="connsiteX9" fmla="*/ 848731 w 1697461"/>
                <a:gd name="connsiteY9" fmla="*/ 1697461 h 1697461"/>
                <a:gd name="connsiteX10" fmla="*/ 1166600 w 1697461"/>
                <a:gd name="connsiteY10" fmla="*/ 1635938 h 1697461"/>
                <a:gd name="connsiteX11" fmla="*/ 1369518 w 1697461"/>
                <a:gd name="connsiteY11" fmla="*/ 1519008 h 1697461"/>
                <a:gd name="connsiteX12" fmla="*/ 1445792 w 1697461"/>
                <a:gd name="connsiteY12" fmla="*/ 1451909 h 1697461"/>
                <a:gd name="connsiteX13" fmla="*/ 1641155 w 1697461"/>
                <a:gd name="connsiteY13" fmla="*/ 1153288 h 1697461"/>
                <a:gd name="connsiteX14" fmla="*/ 1697461 w 1697461"/>
                <a:gd name="connsiteY14" fmla="*/ 848731 h 1697461"/>
                <a:gd name="connsiteX15" fmla="*/ 1653208 w 1697461"/>
                <a:gd name="connsiteY15" fmla="*/ 577633 h 1697461"/>
                <a:gd name="connsiteX16" fmla="*/ 1377254 w 1697461"/>
                <a:gd name="connsiteY16" fmla="*/ 1383370 h 1697461"/>
                <a:gd name="connsiteX17" fmla="*/ 1300440 w 1697461"/>
                <a:gd name="connsiteY17" fmla="*/ 1449750 h 1697461"/>
                <a:gd name="connsiteX18" fmla="*/ 1099500 w 1697461"/>
                <a:gd name="connsiteY18" fmla="*/ 1557505 h 1697461"/>
                <a:gd name="connsiteX19" fmla="*/ 848731 w 1697461"/>
                <a:gd name="connsiteY19" fmla="*/ 1600499 h 1697461"/>
                <a:gd name="connsiteX20" fmla="*/ 96962 w 1697461"/>
                <a:gd name="connsiteY20" fmla="*/ 848731 h 1697461"/>
                <a:gd name="connsiteX21" fmla="*/ 155427 w 1697461"/>
                <a:gd name="connsiteY21" fmla="*/ 557485 h 1697461"/>
                <a:gd name="connsiteX22" fmla="*/ 247531 w 1697461"/>
                <a:gd name="connsiteY22" fmla="*/ 397022 h 1697461"/>
                <a:gd name="connsiteX23" fmla="*/ 314091 w 1697461"/>
                <a:gd name="connsiteY23" fmla="*/ 320208 h 1697461"/>
                <a:gd name="connsiteX24" fmla="*/ 620088 w 1697461"/>
                <a:gd name="connsiteY24" fmla="*/ 132220 h 1697461"/>
                <a:gd name="connsiteX25" fmla="*/ 848731 w 1697461"/>
                <a:gd name="connsiteY25" fmla="*/ 96782 h 1697461"/>
                <a:gd name="connsiteX26" fmla="*/ 1600679 w 1697461"/>
                <a:gd name="connsiteY26" fmla="*/ 848731 h 1697461"/>
                <a:gd name="connsiteX27" fmla="*/ 1565241 w 1697461"/>
                <a:gd name="connsiteY27" fmla="*/ 1077373 h 1697461"/>
                <a:gd name="connsiteX28" fmla="*/ 1377254 w 1697461"/>
                <a:gd name="connsiteY28" fmla="*/ 1383370 h 1697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697461" h="1697461">
                  <a:moveTo>
                    <a:pt x="1653208" y="577633"/>
                  </a:moveTo>
                  <a:lnTo>
                    <a:pt x="1653208" y="577633"/>
                  </a:lnTo>
                  <a:cubicBezTo>
                    <a:pt x="1568659" y="326864"/>
                    <a:pt x="1370418" y="128623"/>
                    <a:pt x="1119828" y="44253"/>
                  </a:cubicBezTo>
                  <a:cubicBezTo>
                    <a:pt x="1034739" y="15471"/>
                    <a:pt x="943534" y="0"/>
                    <a:pt x="848731" y="0"/>
                  </a:cubicBezTo>
                  <a:cubicBezTo>
                    <a:pt x="741335" y="0"/>
                    <a:pt x="638617" y="19968"/>
                    <a:pt x="544173" y="56306"/>
                  </a:cubicBezTo>
                  <a:cubicBezTo>
                    <a:pt x="431021" y="99840"/>
                    <a:pt x="329382" y="166940"/>
                    <a:pt x="245553" y="251669"/>
                  </a:cubicBezTo>
                  <a:cubicBezTo>
                    <a:pt x="221807" y="275775"/>
                    <a:pt x="199320" y="301139"/>
                    <a:pt x="178453" y="327943"/>
                  </a:cubicBezTo>
                  <a:cubicBezTo>
                    <a:pt x="140676" y="376514"/>
                    <a:pt x="107935" y="429402"/>
                    <a:pt x="81311" y="485709"/>
                  </a:cubicBezTo>
                  <a:cubicBezTo>
                    <a:pt x="29142" y="595802"/>
                    <a:pt x="0" y="718848"/>
                    <a:pt x="0" y="848731"/>
                  </a:cubicBezTo>
                  <a:cubicBezTo>
                    <a:pt x="0" y="1317349"/>
                    <a:pt x="380112" y="1697461"/>
                    <a:pt x="848731" y="1697461"/>
                  </a:cubicBezTo>
                  <a:cubicBezTo>
                    <a:pt x="961163" y="1697461"/>
                    <a:pt x="1068379" y="1675694"/>
                    <a:pt x="1166600" y="1635938"/>
                  </a:cubicBezTo>
                  <a:cubicBezTo>
                    <a:pt x="1239996" y="1606256"/>
                    <a:pt x="1308175" y="1566680"/>
                    <a:pt x="1369518" y="1519008"/>
                  </a:cubicBezTo>
                  <a:cubicBezTo>
                    <a:pt x="1396322" y="1498141"/>
                    <a:pt x="1421687" y="1475654"/>
                    <a:pt x="1445792" y="1451909"/>
                  </a:cubicBezTo>
                  <a:cubicBezTo>
                    <a:pt x="1530521" y="1368079"/>
                    <a:pt x="1597621" y="1266440"/>
                    <a:pt x="1641155" y="1153288"/>
                  </a:cubicBezTo>
                  <a:cubicBezTo>
                    <a:pt x="1677493" y="1058665"/>
                    <a:pt x="1697461" y="955946"/>
                    <a:pt x="1697461" y="848731"/>
                  </a:cubicBezTo>
                  <a:cubicBezTo>
                    <a:pt x="1697461" y="753928"/>
                    <a:pt x="1681811" y="662722"/>
                    <a:pt x="1653208" y="577633"/>
                  </a:cubicBezTo>
                  <a:close/>
                  <a:moveTo>
                    <a:pt x="1377254" y="1383370"/>
                  </a:moveTo>
                  <a:cubicBezTo>
                    <a:pt x="1353148" y="1407115"/>
                    <a:pt x="1327603" y="1429242"/>
                    <a:pt x="1300440" y="1449750"/>
                  </a:cubicBezTo>
                  <a:cubicBezTo>
                    <a:pt x="1239996" y="1495263"/>
                    <a:pt x="1172356" y="1531960"/>
                    <a:pt x="1099500" y="1557505"/>
                  </a:cubicBezTo>
                  <a:cubicBezTo>
                    <a:pt x="1021067" y="1585388"/>
                    <a:pt x="936698" y="1600499"/>
                    <a:pt x="848731" y="1600499"/>
                  </a:cubicBezTo>
                  <a:cubicBezTo>
                    <a:pt x="433540" y="1600499"/>
                    <a:pt x="96962" y="1263921"/>
                    <a:pt x="96962" y="848731"/>
                  </a:cubicBezTo>
                  <a:cubicBezTo>
                    <a:pt x="96962" y="745473"/>
                    <a:pt x="117829" y="647072"/>
                    <a:pt x="155427" y="557485"/>
                  </a:cubicBezTo>
                  <a:cubicBezTo>
                    <a:pt x="179532" y="499920"/>
                    <a:pt x="210654" y="446132"/>
                    <a:pt x="247531" y="397022"/>
                  </a:cubicBezTo>
                  <a:cubicBezTo>
                    <a:pt x="268039" y="369858"/>
                    <a:pt x="290166" y="344133"/>
                    <a:pt x="314091" y="320208"/>
                  </a:cubicBezTo>
                  <a:cubicBezTo>
                    <a:pt x="398281" y="234759"/>
                    <a:pt x="502978" y="169458"/>
                    <a:pt x="620088" y="132220"/>
                  </a:cubicBezTo>
                  <a:cubicBezTo>
                    <a:pt x="692225" y="109194"/>
                    <a:pt x="769038" y="96782"/>
                    <a:pt x="848731" y="96782"/>
                  </a:cubicBezTo>
                  <a:cubicBezTo>
                    <a:pt x="1263922" y="96782"/>
                    <a:pt x="1600679" y="433360"/>
                    <a:pt x="1600679" y="848731"/>
                  </a:cubicBezTo>
                  <a:cubicBezTo>
                    <a:pt x="1600679" y="928423"/>
                    <a:pt x="1588267" y="1005237"/>
                    <a:pt x="1565241" y="1077373"/>
                  </a:cubicBezTo>
                  <a:cubicBezTo>
                    <a:pt x="1528003" y="1194483"/>
                    <a:pt x="1462702" y="1299001"/>
                    <a:pt x="1377254" y="1383370"/>
                  </a:cubicBezTo>
                  <a:close/>
                </a:path>
              </a:pathLst>
            </a:custGeom>
            <a:gradFill>
              <a:gsLst>
                <a:gs pos="0">
                  <a:schemeClr val="bg2">
                    <a:alpha val="69000"/>
                  </a:schemeClr>
                </a:gs>
                <a:gs pos="100000">
                  <a:schemeClr val="bg2">
                    <a:lumMod val="60000"/>
                    <a:lumOff val="40000"/>
                    <a:alpha val="45000"/>
                  </a:schemeClr>
                </a:gs>
              </a:gsLst>
              <a:lin ang="13500000" scaled="1"/>
            </a:gradFill>
            <a:ln w="17980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2A446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" name="Freeform: Shape 37">
              <a:extLst>
                <a:ext uri="{FF2B5EF4-FFF2-40B4-BE49-F238E27FC236}">
                  <a16:creationId xmlns:a16="http://schemas.microsoft.com/office/drawing/2014/main" id="{BD33ABEC-59E7-FEE6-9BCA-68A835613E65}"/>
                </a:ext>
              </a:extLst>
            </p:cNvPr>
            <p:cNvSpPr/>
            <p:nvPr/>
          </p:nvSpPr>
          <p:spPr>
            <a:xfrm flipH="1">
              <a:off x="9467356" y="3651088"/>
              <a:ext cx="1070897" cy="1070896"/>
            </a:xfrm>
            <a:custGeom>
              <a:avLst/>
              <a:gdLst>
                <a:gd name="connsiteX0" fmla="*/ 535359 w 1070897"/>
                <a:gd name="connsiteY0" fmla="*/ 0 h 1070896"/>
                <a:gd name="connsiteX1" fmla="*/ 489666 w 1070897"/>
                <a:gd name="connsiteY1" fmla="*/ 1979 h 1070896"/>
                <a:gd name="connsiteX2" fmla="*/ 153628 w 1070897"/>
                <a:gd name="connsiteY2" fmla="*/ 159924 h 1070896"/>
                <a:gd name="connsiteX3" fmla="*/ 89586 w 1070897"/>
                <a:gd name="connsiteY3" fmla="*/ 239076 h 1070896"/>
                <a:gd name="connsiteX4" fmla="*/ 14032 w 1070897"/>
                <a:gd name="connsiteY4" fmla="*/ 413931 h 1070896"/>
                <a:gd name="connsiteX5" fmla="*/ 0 w 1070897"/>
                <a:gd name="connsiteY5" fmla="*/ 535538 h 1070896"/>
                <a:gd name="connsiteX6" fmla="*/ 535359 w 1070897"/>
                <a:gd name="connsiteY6" fmla="*/ 1070897 h 1070896"/>
                <a:gd name="connsiteX7" fmla="*/ 627104 w 1070897"/>
                <a:gd name="connsiteY7" fmla="*/ 1062982 h 1070896"/>
                <a:gd name="connsiteX8" fmla="*/ 831821 w 1070897"/>
                <a:gd name="connsiteY8" fmla="*/ 981311 h 1070896"/>
                <a:gd name="connsiteX9" fmla="*/ 910793 w 1070897"/>
                <a:gd name="connsiteY9" fmla="*/ 917090 h 1070896"/>
                <a:gd name="connsiteX10" fmla="*/ 1068919 w 1070897"/>
                <a:gd name="connsiteY10" fmla="*/ 581231 h 1070896"/>
                <a:gd name="connsiteX11" fmla="*/ 1070897 w 1070897"/>
                <a:gd name="connsiteY11" fmla="*/ 535538 h 1070896"/>
                <a:gd name="connsiteX12" fmla="*/ 535359 w 1070897"/>
                <a:gd name="connsiteY12" fmla="*/ 0 h 1070896"/>
                <a:gd name="connsiteX13" fmla="*/ 977713 w 1070897"/>
                <a:gd name="connsiteY13" fmla="*/ 535538 h 1070896"/>
                <a:gd name="connsiteX14" fmla="*/ 845133 w 1070897"/>
                <a:gd name="connsiteY14" fmla="*/ 851429 h 1070896"/>
                <a:gd name="connsiteX15" fmla="*/ 764361 w 1070897"/>
                <a:gd name="connsiteY15" fmla="*/ 914031 h 1070896"/>
                <a:gd name="connsiteX16" fmla="*/ 550110 w 1070897"/>
                <a:gd name="connsiteY16" fmla="*/ 977533 h 1070896"/>
                <a:gd name="connsiteX17" fmla="*/ 535359 w 1070897"/>
                <a:gd name="connsiteY17" fmla="*/ 977893 h 1070896"/>
                <a:gd name="connsiteX18" fmla="*/ 93004 w 1070897"/>
                <a:gd name="connsiteY18" fmla="*/ 535538 h 1070896"/>
                <a:gd name="connsiteX19" fmla="*/ 94983 w 1070897"/>
                <a:gd name="connsiteY19" fmla="*/ 495782 h 1070896"/>
                <a:gd name="connsiteX20" fmla="*/ 94983 w 1070897"/>
                <a:gd name="connsiteY20" fmla="*/ 495782 h 1070896"/>
                <a:gd name="connsiteX21" fmla="*/ 156866 w 1070897"/>
                <a:gd name="connsiteY21" fmla="*/ 306536 h 1070896"/>
                <a:gd name="connsiteX22" fmla="*/ 219468 w 1070897"/>
                <a:gd name="connsiteY22" fmla="*/ 225764 h 1070896"/>
                <a:gd name="connsiteX23" fmla="*/ 535359 w 1070897"/>
                <a:gd name="connsiteY23" fmla="*/ 93184 h 1070896"/>
                <a:gd name="connsiteX24" fmla="*/ 583570 w 1070897"/>
                <a:gd name="connsiteY24" fmla="*/ 95882 h 1070896"/>
                <a:gd name="connsiteX25" fmla="*/ 975015 w 1070897"/>
                <a:gd name="connsiteY25" fmla="*/ 487327 h 1070896"/>
                <a:gd name="connsiteX26" fmla="*/ 977713 w 1070897"/>
                <a:gd name="connsiteY26" fmla="*/ 535538 h 10708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070897" h="1070896">
                  <a:moveTo>
                    <a:pt x="535359" y="0"/>
                  </a:moveTo>
                  <a:cubicBezTo>
                    <a:pt x="519888" y="0"/>
                    <a:pt x="504777" y="719"/>
                    <a:pt x="489666" y="1979"/>
                  </a:cubicBezTo>
                  <a:cubicBezTo>
                    <a:pt x="358525" y="12952"/>
                    <a:pt x="240875" y="71417"/>
                    <a:pt x="153628" y="159924"/>
                  </a:cubicBezTo>
                  <a:cubicBezTo>
                    <a:pt x="129882" y="184029"/>
                    <a:pt x="108295" y="210653"/>
                    <a:pt x="89586" y="239076"/>
                  </a:cubicBezTo>
                  <a:cubicBezTo>
                    <a:pt x="54507" y="291605"/>
                    <a:pt x="28603" y="350609"/>
                    <a:pt x="14032" y="413931"/>
                  </a:cubicBezTo>
                  <a:cubicBezTo>
                    <a:pt x="4857" y="452968"/>
                    <a:pt x="0" y="493624"/>
                    <a:pt x="0" y="535538"/>
                  </a:cubicBezTo>
                  <a:cubicBezTo>
                    <a:pt x="0" y="831281"/>
                    <a:pt x="239616" y="1070897"/>
                    <a:pt x="535359" y="1070897"/>
                  </a:cubicBezTo>
                  <a:cubicBezTo>
                    <a:pt x="566660" y="1070897"/>
                    <a:pt x="597421" y="1068199"/>
                    <a:pt x="627104" y="1062982"/>
                  </a:cubicBezTo>
                  <a:cubicBezTo>
                    <a:pt x="701939" y="1050210"/>
                    <a:pt x="771197" y="1021787"/>
                    <a:pt x="831821" y="981311"/>
                  </a:cubicBezTo>
                  <a:cubicBezTo>
                    <a:pt x="860244" y="962422"/>
                    <a:pt x="886688" y="941015"/>
                    <a:pt x="910793" y="917090"/>
                  </a:cubicBezTo>
                  <a:cubicBezTo>
                    <a:pt x="999480" y="830202"/>
                    <a:pt x="1057945" y="712372"/>
                    <a:pt x="1068919" y="581231"/>
                  </a:cubicBezTo>
                  <a:cubicBezTo>
                    <a:pt x="1070178" y="566120"/>
                    <a:pt x="1070897" y="551009"/>
                    <a:pt x="1070897" y="535538"/>
                  </a:cubicBezTo>
                  <a:cubicBezTo>
                    <a:pt x="1070897" y="239796"/>
                    <a:pt x="831101" y="0"/>
                    <a:pt x="535359" y="0"/>
                  </a:cubicBezTo>
                  <a:close/>
                  <a:moveTo>
                    <a:pt x="977713" y="535538"/>
                  </a:moveTo>
                  <a:cubicBezTo>
                    <a:pt x="977713" y="659124"/>
                    <a:pt x="926984" y="771017"/>
                    <a:pt x="845133" y="851429"/>
                  </a:cubicBezTo>
                  <a:cubicBezTo>
                    <a:pt x="820847" y="875175"/>
                    <a:pt x="793684" y="896402"/>
                    <a:pt x="764361" y="914031"/>
                  </a:cubicBezTo>
                  <a:cubicBezTo>
                    <a:pt x="701579" y="952168"/>
                    <a:pt x="628363" y="975015"/>
                    <a:pt x="550110" y="977533"/>
                  </a:cubicBezTo>
                  <a:cubicBezTo>
                    <a:pt x="545253" y="977893"/>
                    <a:pt x="540216" y="977893"/>
                    <a:pt x="535359" y="977893"/>
                  </a:cubicBezTo>
                  <a:cubicBezTo>
                    <a:pt x="291065" y="977893"/>
                    <a:pt x="93004" y="779832"/>
                    <a:pt x="93004" y="535538"/>
                  </a:cubicBezTo>
                  <a:cubicBezTo>
                    <a:pt x="93004" y="522046"/>
                    <a:pt x="93544" y="508914"/>
                    <a:pt x="94983" y="495782"/>
                  </a:cubicBezTo>
                  <a:lnTo>
                    <a:pt x="94983" y="495782"/>
                  </a:lnTo>
                  <a:cubicBezTo>
                    <a:pt x="100919" y="426704"/>
                    <a:pt x="122866" y="362482"/>
                    <a:pt x="156866" y="306536"/>
                  </a:cubicBezTo>
                  <a:cubicBezTo>
                    <a:pt x="174495" y="277213"/>
                    <a:pt x="195722" y="250050"/>
                    <a:pt x="219468" y="225764"/>
                  </a:cubicBezTo>
                  <a:cubicBezTo>
                    <a:pt x="299880" y="143914"/>
                    <a:pt x="411773" y="93184"/>
                    <a:pt x="535359" y="93184"/>
                  </a:cubicBezTo>
                  <a:cubicBezTo>
                    <a:pt x="551729" y="93184"/>
                    <a:pt x="567739" y="94083"/>
                    <a:pt x="583570" y="95882"/>
                  </a:cubicBezTo>
                  <a:cubicBezTo>
                    <a:pt x="789366" y="118009"/>
                    <a:pt x="952888" y="281531"/>
                    <a:pt x="975015" y="487327"/>
                  </a:cubicBezTo>
                  <a:cubicBezTo>
                    <a:pt x="976814" y="503158"/>
                    <a:pt x="977713" y="519168"/>
                    <a:pt x="977713" y="535538"/>
                  </a:cubicBezTo>
                  <a:close/>
                </a:path>
              </a:pathLst>
            </a:custGeom>
            <a:gradFill>
              <a:gsLst>
                <a:gs pos="0">
                  <a:schemeClr val="bg2">
                    <a:alpha val="69000"/>
                  </a:schemeClr>
                </a:gs>
                <a:gs pos="100000">
                  <a:schemeClr val="bg2">
                    <a:lumMod val="60000"/>
                    <a:lumOff val="40000"/>
                    <a:alpha val="45000"/>
                  </a:schemeClr>
                </a:gs>
              </a:gsLst>
              <a:lin ang="13500000" scaled="1"/>
            </a:gradFill>
            <a:ln w="17980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2A446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" name="Freeform: Shape 38">
              <a:extLst>
                <a:ext uri="{FF2B5EF4-FFF2-40B4-BE49-F238E27FC236}">
                  <a16:creationId xmlns:a16="http://schemas.microsoft.com/office/drawing/2014/main" id="{7DBE5BA5-503F-6B2C-9FAE-00B5C434F645}"/>
                </a:ext>
              </a:extLst>
            </p:cNvPr>
            <p:cNvSpPr/>
            <p:nvPr/>
          </p:nvSpPr>
          <p:spPr>
            <a:xfrm flipH="1">
              <a:off x="9738993" y="3922725"/>
              <a:ext cx="527803" cy="527803"/>
            </a:xfrm>
            <a:custGeom>
              <a:avLst/>
              <a:gdLst>
                <a:gd name="connsiteX0" fmla="*/ 263902 w 527803"/>
                <a:gd name="connsiteY0" fmla="*/ 0 h 527803"/>
                <a:gd name="connsiteX1" fmla="*/ 74296 w 527803"/>
                <a:gd name="connsiteY1" fmla="*/ 80412 h 527803"/>
                <a:gd name="connsiteX2" fmla="*/ 18169 w 527803"/>
                <a:gd name="connsiteY2" fmla="*/ 167660 h 527803"/>
                <a:gd name="connsiteX3" fmla="*/ 0 w 527803"/>
                <a:gd name="connsiteY3" fmla="*/ 263902 h 527803"/>
                <a:gd name="connsiteX4" fmla="*/ 263902 w 527803"/>
                <a:gd name="connsiteY4" fmla="*/ 527803 h 527803"/>
                <a:gd name="connsiteX5" fmla="*/ 360144 w 527803"/>
                <a:gd name="connsiteY5" fmla="*/ 509634 h 527803"/>
                <a:gd name="connsiteX6" fmla="*/ 447392 w 527803"/>
                <a:gd name="connsiteY6" fmla="*/ 453508 h 527803"/>
                <a:gd name="connsiteX7" fmla="*/ 527803 w 527803"/>
                <a:gd name="connsiteY7" fmla="*/ 263902 h 527803"/>
                <a:gd name="connsiteX8" fmla="*/ 263902 w 527803"/>
                <a:gd name="connsiteY8" fmla="*/ 0 h 527803"/>
                <a:gd name="connsiteX9" fmla="*/ 292505 w 527803"/>
                <a:gd name="connsiteY9" fmla="*/ 441995 h 527803"/>
                <a:gd name="connsiteX10" fmla="*/ 263902 w 527803"/>
                <a:gd name="connsiteY10" fmla="*/ 444333 h 527803"/>
                <a:gd name="connsiteX11" fmla="*/ 83470 w 527803"/>
                <a:gd name="connsiteY11" fmla="*/ 263902 h 527803"/>
                <a:gd name="connsiteX12" fmla="*/ 85809 w 527803"/>
                <a:gd name="connsiteY12" fmla="*/ 235299 h 527803"/>
                <a:gd name="connsiteX13" fmla="*/ 133480 w 527803"/>
                <a:gd name="connsiteY13" fmla="*/ 139596 h 527803"/>
                <a:gd name="connsiteX14" fmla="*/ 263902 w 527803"/>
                <a:gd name="connsiteY14" fmla="*/ 83470 h 527803"/>
                <a:gd name="connsiteX15" fmla="*/ 444333 w 527803"/>
                <a:gd name="connsiteY15" fmla="*/ 263902 h 527803"/>
                <a:gd name="connsiteX16" fmla="*/ 388387 w 527803"/>
                <a:gd name="connsiteY16" fmla="*/ 394503 h 527803"/>
                <a:gd name="connsiteX17" fmla="*/ 292505 w 527803"/>
                <a:gd name="connsiteY17" fmla="*/ 441995 h 527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27803" h="527803">
                  <a:moveTo>
                    <a:pt x="263902" y="0"/>
                  </a:moveTo>
                  <a:cubicBezTo>
                    <a:pt x="189606" y="0"/>
                    <a:pt x="122327" y="30762"/>
                    <a:pt x="74296" y="80412"/>
                  </a:cubicBezTo>
                  <a:cubicBezTo>
                    <a:pt x="50190" y="105237"/>
                    <a:pt x="30941" y="134739"/>
                    <a:pt x="18169" y="167660"/>
                  </a:cubicBezTo>
                  <a:cubicBezTo>
                    <a:pt x="6476" y="197342"/>
                    <a:pt x="0" y="229902"/>
                    <a:pt x="0" y="263902"/>
                  </a:cubicBezTo>
                  <a:cubicBezTo>
                    <a:pt x="0" y="409614"/>
                    <a:pt x="118189" y="527803"/>
                    <a:pt x="263902" y="527803"/>
                  </a:cubicBezTo>
                  <a:cubicBezTo>
                    <a:pt x="297901" y="527803"/>
                    <a:pt x="330462" y="521327"/>
                    <a:pt x="360144" y="509634"/>
                  </a:cubicBezTo>
                  <a:cubicBezTo>
                    <a:pt x="393064" y="496862"/>
                    <a:pt x="422566" y="477613"/>
                    <a:pt x="447392" y="453508"/>
                  </a:cubicBezTo>
                  <a:cubicBezTo>
                    <a:pt x="497042" y="405477"/>
                    <a:pt x="527803" y="338197"/>
                    <a:pt x="527803" y="263902"/>
                  </a:cubicBezTo>
                  <a:cubicBezTo>
                    <a:pt x="527803" y="118189"/>
                    <a:pt x="409614" y="0"/>
                    <a:pt x="263902" y="0"/>
                  </a:cubicBezTo>
                  <a:close/>
                  <a:moveTo>
                    <a:pt x="292505" y="441995"/>
                  </a:moveTo>
                  <a:cubicBezTo>
                    <a:pt x="283150" y="443614"/>
                    <a:pt x="273616" y="444333"/>
                    <a:pt x="263902" y="444333"/>
                  </a:cubicBezTo>
                  <a:cubicBezTo>
                    <a:pt x="164242" y="444333"/>
                    <a:pt x="83470" y="363562"/>
                    <a:pt x="83470" y="263902"/>
                  </a:cubicBezTo>
                  <a:cubicBezTo>
                    <a:pt x="83470" y="254188"/>
                    <a:pt x="84189" y="244653"/>
                    <a:pt x="85809" y="235299"/>
                  </a:cubicBezTo>
                  <a:cubicBezTo>
                    <a:pt x="91565" y="198421"/>
                    <a:pt x="108655" y="165321"/>
                    <a:pt x="133480" y="139596"/>
                  </a:cubicBezTo>
                  <a:cubicBezTo>
                    <a:pt x="166040" y="105057"/>
                    <a:pt x="212453" y="83470"/>
                    <a:pt x="263902" y="83470"/>
                  </a:cubicBezTo>
                  <a:cubicBezTo>
                    <a:pt x="363562" y="83470"/>
                    <a:pt x="444333" y="164242"/>
                    <a:pt x="444333" y="263902"/>
                  </a:cubicBezTo>
                  <a:cubicBezTo>
                    <a:pt x="444333" y="315171"/>
                    <a:pt x="422926" y="361583"/>
                    <a:pt x="388387" y="394503"/>
                  </a:cubicBezTo>
                  <a:cubicBezTo>
                    <a:pt x="362662" y="419149"/>
                    <a:pt x="329382" y="436238"/>
                    <a:pt x="292505" y="441995"/>
                  </a:cubicBezTo>
                  <a:close/>
                </a:path>
              </a:pathLst>
            </a:custGeom>
            <a:gradFill>
              <a:gsLst>
                <a:gs pos="0">
                  <a:schemeClr val="bg2">
                    <a:alpha val="69000"/>
                  </a:schemeClr>
                </a:gs>
                <a:gs pos="100000">
                  <a:schemeClr val="bg2">
                    <a:lumMod val="60000"/>
                    <a:lumOff val="40000"/>
                    <a:alpha val="45000"/>
                  </a:schemeClr>
                </a:gs>
              </a:gsLst>
              <a:lin ang="13500000" scaled="1"/>
            </a:gradFill>
            <a:ln w="17980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2A446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" name="Freeform: Shape 39">
              <a:extLst>
                <a:ext uri="{FF2B5EF4-FFF2-40B4-BE49-F238E27FC236}">
                  <a16:creationId xmlns:a16="http://schemas.microsoft.com/office/drawing/2014/main" id="{81FCAFD5-70B1-CFC7-B6AE-345B2805E364}"/>
                </a:ext>
              </a:extLst>
            </p:cNvPr>
            <p:cNvSpPr/>
            <p:nvPr/>
          </p:nvSpPr>
          <p:spPr>
            <a:xfrm flipH="1">
              <a:off x="8559081" y="891904"/>
              <a:ext cx="1420427" cy="1420427"/>
            </a:xfrm>
            <a:custGeom>
              <a:avLst/>
              <a:gdLst>
                <a:gd name="connsiteX0" fmla="*/ 1419708 w 1420427"/>
                <a:gd name="connsiteY0" fmla="*/ 680352 h 1420427"/>
                <a:gd name="connsiteX1" fmla="*/ 740076 w 1420427"/>
                <a:gd name="connsiteY1" fmla="*/ 720 h 1420427"/>
                <a:gd name="connsiteX2" fmla="*/ 710214 w 1420427"/>
                <a:gd name="connsiteY2" fmla="*/ 0 h 1420427"/>
                <a:gd name="connsiteX3" fmla="*/ 13672 w 1420427"/>
                <a:gd name="connsiteY3" fmla="*/ 570438 h 1420427"/>
                <a:gd name="connsiteX4" fmla="*/ 0 w 1420427"/>
                <a:gd name="connsiteY4" fmla="*/ 710214 h 1420427"/>
                <a:gd name="connsiteX5" fmla="*/ 7196 w 1420427"/>
                <a:gd name="connsiteY5" fmla="*/ 811493 h 1420427"/>
                <a:gd name="connsiteX6" fmla="*/ 20328 w 1420427"/>
                <a:gd name="connsiteY6" fmla="*/ 879672 h 1420427"/>
                <a:gd name="connsiteX7" fmla="*/ 540756 w 1420427"/>
                <a:gd name="connsiteY7" fmla="*/ 1400100 h 1420427"/>
                <a:gd name="connsiteX8" fmla="*/ 608935 w 1420427"/>
                <a:gd name="connsiteY8" fmla="*/ 1413232 h 1420427"/>
                <a:gd name="connsiteX9" fmla="*/ 710214 w 1420427"/>
                <a:gd name="connsiteY9" fmla="*/ 1420427 h 1420427"/>
                <a:gd name="connsiteX10" fmla="*/ 716510 w 1420427"/>
                <a:gd name="connsiteY10" fmla="*/ 1420427 h 1420427"/>
                <a:gd name="connsiteX11" fmla="*/ 1420428 w 1420427"/>
                <a:gd name="connsiteY11" fmla="*/ 710214 h 1420427"/>
                <a:gd name="connsiteX12" fmla="*/ 1419708 w 1420427"/>
                <a:gd name="connsiteY12" fmla="*/ 680352 h 1420427"/>
                <a:gd name="connsiteX13" fmla="*/ 710214 w 1420427"/>
                <a:gd name="connsiteY13" fmla="*/ 1362682 h 1420427"/>
                <a:gd name="connsiteX14" fmla="*/ 671357 w 1420427"/>
                <a:gd name="connsiteY14" fmla="*/ 1361423 h 1420427"/>
                <a:gd name="connsiteX15" fmla="*/ 534279 w 1420427"/>
                <a:gd name="connsiteY15" fmla="*/ 1338577 h 1420427"/>
                <a:gd name="connsiteX16" fmla="*/ 448831 w 1420427"/>
                <a:gd name="connsiteY16" fmla="*/ 1308175 h 1420427"/>
                <a:gd name="connsiteX17" fmla="*/ 112253 w 1420427"/>
                <a:gd name="connsiteY17" fmla="*/ 971597 h 1420427"/>
                <a:gd name="connsiteX18" fmla="*/ 81851 w 1420427"/>
                <a:gd name="connsiteY18" fmla="*/ 886148 h 1420427"/>
                <a:gd name="connsiteX19" fmla="*/ 57745 w 1420427"/>
                <a:gd name="connsiteY19" fmla="*/ 710214 h 1420427"/>
                <a:gd name="connsiteX20" fmla="*/ 63142 w 1420427"/>
                <a:gd name="connsiteY20" fmla="*/ 626024 h 1420427"/>
                <a:gd name="connsiteX21" fmla="*/ 710214 w 1420427"/>
                <a:gd name="connsiteY21" fmla="*/ 57745 h 1420427"/>
                <a:gd name="connsiteX22" fmla="*/ 803758 w 1420427"/>
                <a:gd name="connsiteY22" fmla="*/ 64401 h 1420427"/>
                <a:gd name="connsiteX23" fmla="*/ 1356026 w 1420427"/>
                <a:gd name="connsiteY23" fmla="*/ 616670 h 1420427"/>
                <a:gd name="connsiteX24" fmla="*/ 1362682 w 1420427"/>
                <a:gd name="connsiteY24" fmla="*/ 710214 h 1420427"/>
                <a:gd name="connsiteX25" fmla="*/ 710214 w 1420427"/>
                <a:gd name="connsiteY25" fmla="*/ 1362682 h 1420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420427" h="1420427">
                  <a:moveTo>
                    <a:pt x="1419708" y="680352"/>
                  </a:moveTo>
                  <a:cubicBezTo>
                    <a:pt x="1404597" y="311753"/>
                    <a:pt x="1108675" y="15830"/>
                    <a:pt x="740076" y="720"/>
                  </a:cubicBezTo>
                  <a:cubicBezTo>
                    <a:pt x="730182" y="180"/>
                    <a:pt x="720288" y="0"/>
                    <a:pt x="710214" y="0"/>
                  </a:cubicBezTo>
                  <a:cubicBezTo>
                    <a:pt x="365721" y="0"/>
                    <a:pt x="78613" y="245013"/>
                    <a:pt x="13672" y="570438"/>
                  </a:cubicBezTo>
                  <a:cubicBezTo>
                    <a:pt x="4677" y="615591"/>
                    <a:pt x="0" y="662362"/>
                    <a:pt x="0" y="710214"/>
                  </a:cubicBezTo>
                  <a:cubicBezTo>
                    <a:pt x="0" y="744573"/>
                    <a:pt x="2518" y="778393"/>
                    <a:pt x="7196" y="811493"/>
                  </a:cubicBezTo>
                  <a:cubicBezTo>
                    <a:pt x="10434" y="834519"/>
                    <a:pt x="14931" y="857365"/>
                    <a:pt x="20328" y="879672"/>
                  </a:cubicBezTo>
                  <a:cubicBezTo>
                    <a:pt x="82930" y="1135838"/>
                    <a:pt x="284589" y="1337497"/>
                    <a:pt x="540756" y="1400100"/>
                  </a:cubicBezTo>
                  <a:cubicBezTo>
                    <a:pt x="563062" y="1405496"/>
                    <a:pt x="585908" y="1409994"/>
                    <a:pt x="608935" y="1413232"/>
                  </a:cubicBezTo>
                  <a:cubicBezTo>
                    <a:pt x="642035" y="1417909"/>
                    <a:pt x="675854" y="1420427"/>
                    <a:pt x="710214" y="1420427"/>
                  </a:cubicBezTo>
                  <a:lnTo>
                    <a:pt x="716510" y="1420427"/>
                  </a:lnTo>
                  <a:cubicBezTo>
                    <a:pt x="1105976" y="1417010"/>
                    <a:pt x="1420428" y="1100580"/>
                    <a:pt x="1420428" y="710214"/>
                  </a:cubicBezTo>
                  <a:cubicBezTo>
                    <a:pt x="1420428" y="700140"/>
                    <a:pt x="1420248" y="690246"/>
                    <a:pt x="1419708" y="680352"/>
                  </a:cubicBezTo>
                  <a:close/>
                  <a:moveTo>
                    <a:pt x="710214" y="1362682"/>
                  </a:moveTo>
                  <a:cubicBezTo>
                    <a:pt x="697262" y="1362682"/>
                    <a:pt x="684309" y="1362322"/>
                    <a:pt x="671357" y="1361423"/>
                  </a:cubicBezTo>
                  <a:cubicBezTo>
                    <a:pt x="624225" y="1358725"/>
                    <a:pt x="578353" y="1350989"/>
                    <a:pt x="534279" y="1338577"/>
                  </a:cubicBezTo>
                  <a:cubicBezTo>
                    <a:pt x="504957" y="1330482"/>
                    <a:pt x="476354" y="1320228"/>
                    <a:pt x="448831" y="1308175"/>
                  </a:cubicBezTo>
                  <a:cubicBezTo>
                    <a:pt x="298621" y="1242514"/>
                    <a:pt x="177913" y="1121807"/>
                    <a:pt x="112253" y="971597"/>
                  </a:cubicBezTo>
                  <a:cubicBezTo>
                    <a:pt x="100200" y="944073"/>
                    <a:pt x="89946" y="915471"/>
                    <a:pt x="81851" y="886148"/>
                  </a:cubicBezTo>
                  <a:cubicBezTo>
                    <a:pt x="66020" y="830202"/>
                    <a:pt x="57745" y="771197"/>
                    <a:pt x="57745" y="710214"/>
                  </a:cubicBezTo>
                  <a:cubicBezTo>
                    <a:pt x="57745" y="681791"/>
                    <a:pt x="59544" y="653548"/>
                    <a:pt x="63142" y="626024"/>
                  </a:cubicBezTo>
                  <a:cubicBezTo>
                    <a:pt x="104517" y="305457"/>
                    <a:pt x="378493" y="57745"/>
                    <a:pt x="710214" y="57745"/>
                  </a:cubicBezTo>
                  <a:cubicBezTo>
                    <a:pt x="742055" y="57745"/>
                    <a:pt x="773176" y="60084"/>
                    <a:pt x="803758" y="64401"/>
                  </a:cubicBezTo>
                  <a:cubicBezTo>
                    <a:pt x="1089246" y="105417"/>
                    <a:pt x="1315011" y="331181"/>
                    <a:pt x="1356026" y="616670"/>
                  </a:cubicBezTo>
                  <a:cubicBezTo>
                    <a:pt x="1360344" y="647251"/>
                    <a:pt x="1362682" y="678373"/>
                    <a:pt x="1362682" y="710214"/>
                  </a:cubicBezTo>
                  <a:cubicBezTo>
                    <a:pt x="1362682" y="1070537"/>
                    <a:pt x="1070538" y="1362682"/>
                    <a:pt x="710214" y="1362682"/>
                  </a:cubicBezTo>
                  <a:close/>
                </a:path>
              </a:pathLst>
            </a:custGeom>
            <a:gradFill>
              <a:gsLst>
                <a:gs pos="0">
                  <a:schemeClr val="bg2">
                    <a:lumMod val="75000"/>
                  </a:schemeClr>
                </a:gs>
                <a:gs pos="50000">
                  <a:schemeClr val="bg2"/>
                </a:gs>
                <a:gs pos="100000">
                  <a:schemeClr val="bg2">
                    <a:lumMod val="60000"/>
                    <a:lumOff val="40000"/>
                  </a:schemeClr>
                </a:gs>
              </a:gsLst>
              <a:lin ang="13500053" scaled="1"/>
            </a:gradFill>
            <a:ln w="179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IN" b="0" i="0" u="none" strike="noStrike" cap="none" spc="0" normalizeH="0" baseline="0" noProof="0">
                <a:ln>
                  <a:noFill/>
                </a:ln>
                <a:solidFill>
                  <a:srgbClr val="2A446F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30" name="Freeform: Shape 40">
              <a:extLst>
                <a:ext uri="{FF2B5EF4-FFF2-40B4-BE49-F238E27FC236}">
                  <a16:creationId xmlns:a16="http://schemas.microsoft.com/office/drawing/2014/main" id="{F1113073-8A53-5648-8D29-688BF62C3037}"/>
                </a:ext>
              </a:extLst>
            </p:cNvPr>
            <p:cNvSpPr/>
            <p:nvPr/>
          </p:nvSpPr>
          <p:spPr>
            <a:xfrm flipH="1">
              <a:off x="8732317" y="1064960"/>
              <a:ext cx="1074135" cy="1074315"/>
            </a:xfrm>
            <a:custGeom>
              <a:avLst/>
              <a:gdLst>
                <a:gd name="connsiteX0" fmla="*/ 993904 w 1074135"/>
                <a:gd name="connsiteY0" fmla="*/ 254547 h 1074315"/>
                <a:gd name="connsiteX1" fmla="*/ 819768 w 1074135"/>
                <a:gd name="connsiteY1" fmla="*/ 80412 h 1074315"/>
                <a:gd name="connsiteX2" fmla="*/ 537158 w 1074135"/>
                <a:gd name="connsiteY2" fmla="*/ 0 h 1074315"/>
                <a:gd name="connsiteX3" fmla="*/ 0 w 1074135"/>
                <a:gd name="connsiteY3" fmla="*/ 537158 h 1074315"/>
                <a:gd name="connsiteX4" fmla="*/ 1799 w 1074135"/>
                <a:gd name="connsiteY4" fmla="*/ 580871 h 1074315"/>
                <a:gd name="connsiteX5" fmla="*/ 394144 w 1074135"/>
                <a:gd name="connsiteY5" fmla="*/ 1054887 h 1074315"/>
                <a:gd name="connsiteX6" fmla="*/ 394144 w 1074135"/>
                <a:gd name="connsiteY6" fmla="*/ 1054887 h 1074315"/>
                <a:gd name="connsiteX7" fmla="*/ 536978 w 1074135"/>
                <a:gd name="connsiteY7" fmla="*/ 1074315 h 1074315"/>
                <a:gd name="connsiteX8" fmla="*/ 1074136 w 1074135"/>
                <a:gd name="connsiteY8" fmla="*/ 537158 h 1074315"/>
                <a:gd name="connsiteX9" fmla="*/ 993724 w 1074135"/>
                <a:gd name="connsiteY9" fmla="*/ 254547 h 1074315"/>
                <a:gd name="connsiteX10" fmla="*/ 537158 w 1074135"/>
                <a:gd name="connsiteY10" fmla="*/ 1013152 h 1074315"/>
                <a:gd name="connsiteX11" fmla="*/ 318589 w 1074135"/>
                <a:gd name="connsiteY11" fmla="*/ 960084 h 1074315"/>
                <a:gd name="connsiteX12" fmla="*/ 318409 w 1074135"/>
                <a:gd name="connsiteY12" fmla="*/ 960084 h 1074315"/>
                <a:gd name="connsiteX13" fmla="*/ 318229 w 1074135"/>
                <a:gd name="connsiteY13" fmla="*/ 959904 h 1074315"/>
                <a:gd name="connsiteX14" fmla="*/ 80951 w 1074135"/>
                <a:gd name="connsiteY14" fmla="*/ 673156 h 1074315"/>
                <a:gd name="connsiteX15" fmla="*/ 80951 w 1074135"/>
                <a:gd name="connsiteY15" fmla="*/ 673156 h 1074315"/>
                <a:gd name="connsiteX16" fmla="*/ 61163 w 1074135"/>
                <a:gd name="connsiteY16" fmla="*/ 537158 h 1074315"/>
                <a:gd name="connsiteX17" fmla="*/ 537158 w 1074135"/>
                <a:gd name="connsiteY17" fmla="*/ 61163 h 1074315"/>
                <a:gd name="connsiteX18" fmla="*/ 1013152 w 1074135"/>
                <a:gd name="connsiteY18" fmla="*/ 537158 h 1074315"/>
                <a:gd name="connsiteX19" fmla="*/ 537158 w 1074135"/>
                <a:gd name="connsiteY19" fmla="*/ 1013152 h 1074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074135" h="1074315">
                  <a:moveTo>
                    <a:pt x="993904" y="254547"/>
                  </a:moveTo>
                  <a:cubicBezTo>
                    <a:pt x="950190" y="183850"/>
                    <a:pt x="890466" y="124125"/>
                    <a:pt x="819768" y="80412"/>
                  </a:cubicBezTo>
                  <a:cubicBezTo>
                    <a:pt x="737737" y="29322"/>
                    <a:pt x="640955" y="0"/>
                    <a:pt x="537158" y="0"/>
                  </a:cubicBezTo>
                  <a:cubicBezTo>
                    <a:pt x="240516" y="0"/>
                    <a:pt x="0" y="240516"/>
                    <a:pt x="0" y="537158"/>
                  </a:cubicBezTo>
                  <a:cubicBezTo>
                    <a:pt x="0" y="551909"/>
                    <a:pt x="540" y="566480"/>
                    <a:pt x="1799" y="580871"/>
                  </a:cubicBezTo>
                  <a:cubicBezTo>
                    <a:pt x="20148" y="808615"/>
                    <a:pt x="180432" y="996062"/>
                    <a:pt x="394144" y="1054887"/>
                  </a:cubicBezTo>
                  <a:lnTo>
                    <a:pt x="394144" y="1054887"/>
                  </a:lnTo>
                  <a:cubicBezTo>
                    <a:pt x="439656" y="1067659"/>
                    <a:pt x="487508" y="1074315"/>
                    <a:pt x="536978" y="1074315"/>
                  </a:cubicBezTo>
                  <a:cubicBezTo>
                    <a:pt x="833620" y="1074315"/>
                    <a:pt x="1074136" y="833800"/>
                    <a:pt x="1074136" y="537158"/>
                  </a:cubicBezTo>
                  <a:cubicBezTo>
                    <a:pt x="1074136" y="433360"/>
                    <a:pt x="1044813" y="336578"/>
                    <a:pt x="993724" y="254547"/>
                  </a:cubicBezTo>
                  <a:close/>
                  <a:moveTo>
                    <a:pt x="537158" y="1013152"/>
                  </a:moveTo>
                  <a:cubicBezTo>
                    <a:pt x="458185" y="1013152"/>
                    <a:pt x="384070" y="993903"/>
                    <a:pt x="318589" y="960084"/>
                  </a:cubicBezTo>
                  <a:lnTo>
                    <a:pt x="318409" y="960084"/>
                  </a:lnTo>
                  <a:cubicBezTo>
                    <a:pt x="318409" y="960084"/>
                    <a:pt x="318229" y="959904"/>
                    <a:pt x="318229" y="959904"/>
                  </a:cubicBezTo>
                  <a:cubicBezTo>
                    <a:pt x="204717" y="901079"/>
                    <a:pt x="117829" y="797821"/>
                    <a:pt x="80951" y="673156"/>
                  </a:cubicBezTo>
                  <a:lnTo>
                    <a:pt x="80951" y="673156"/>
                  </a:lnTo>
                  <a:cubicBezTo>
                    <a:pt x="67999" y="629982"/>
                    <a:pt x="61163" y="584469"/>
                    <a:pt x="61163" y="537158"/>
                  </a:cubicBezTo>
                  <a:cubicBezTo>
                    <a:pt x="61163" y="274335"/>
                    <a:pt x="274335" y="61163"/>
                    <a:pt x="537158" y="61163"/>
                  </a:cubicBezTo>
                  <a:cubicBezTo>
                    <a:pt x="799980" y="61163"/>
                    <a:pt x="1013152" y="274335"/>
                    <a:pt x="1013152" y="537158"/>
                  </a:cubicBezTo>
                  <a:cubicBezTo>
                    <a:pt x="1013152" y="799980"/>
                    <a:pt x="799980" y="1013152"/>
                    <a:pt x="537158" y="1013152"/>
                  </a:cubicBezTo>
                  <a:close/>
                </a:path>
              </a:pathLst>
            </a:custGeom>
            <a:gradFill>
              <a:gsLst>
                <a:gs pos="0">
                  <a:schemeClr val="bg2">
                    <a:lumMod val="75000"/>
                  </a:schemeClr>
                </a:gs>
                <a:gs pos="50000">
                  <a:schemeClr val="bg2"/>
                </a:gs>
                <a:gs pos="100000">
                  <a:schemeClr val="bg2">
                    <a:lumMod val="60000"/>
                    <a:lumOff val="40000"/>
                  </a:schemeClr>
                </a:gs>
              </a:gsLst>
              <a:lin ang="13500053" scaled="1"/>
            </a:gradFill>
            <a:ln w="179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IN" b="0" i="0" u="none" strike="noStrike" cap="none" spc="0" normalizeH="0" baseline="0" noProof="0">
                <a:ln>
                  <a:noFill/>
                </a:ln>
                <a:solidFill>
                  <a:srgbClr val="2A446F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36" name="Freeform: Shape 41">
              <a:extLst>
                <a:ext uri="{FF2B5EF4-FFF2-40B4-BE49-F238E27FC236}">
                  <a16:creationId xmlns:a16="http://schemas.microsoft.com/office/drawing/2014/main" id="{28636BDB-56DF-0791-3116-756A8C1D94DE}"/>
                </a:ext>
              </a:extLst>
            </p:cNvPr>
            <p:cNvSpPr/>
            <p:nvPr/>
          </p:nvSpPr>
          <p:spPr>
            <a:xfrm flipH="1">
              <a:off x="8930378" y="1263201"/>
              <a:ext cx="677833" cy="677833"/>
            </a:xfrm>
            <a:custGeom>
              <a:avLst/>
              <a:gdLst>
                <a:gd name="connsiteX0" fmla="*/ 338917 w 677833"/>
                <a:gd name="connsiteY0" fmla="*/ 0 h 677833"/>
                <a:gd name="connsiteX1" fmla="*/ 0 w 677833"/>
                <a:gd name="connsiteY1" fmla="*/ 338917 h 677833"/>
                <a:gd name="connsiteX2" fmla="*/ 338917 w 677833"/>
                <a:gd name="connsiteY2" fmla="*/ 677833 h 677833"/>
                <a:gd name="connsiteX3" fmla="*/ 677833 w 677833"/>
                <a:gd name="connsiteY3" fmla="*/ 338917 h 677833"/>
                <a:gd name="connsiteX4" fmla="*/ 338917 w 677833"/>
                <a:gd name="connsiteY4" fmla="*/ 0 h 677833"/>
                <a:gd name="connsiteX5" fmla="*/ 338917 w 677833"/>
                <a:gd name="connsiteY5" fmla="*/ 619008 h 677833"/>
                <a:gd name="connsiteX6" fmla="*/ 58825 w 677833"/>
                <a:gd name="connsiteY6" fmla="*/ 338917 h 677833"/>
                <a:gd name="connsiteX7" fmla="*/ 338917 w 677833"/>
                <a:gd name="connsiteY7" fmla="*/ 58825 h 677833"/>
                <a:gd name="connsiteX8" fmla="*/ 619008 w 677833"/>
                <a:gd name="connsiteY8" fmla="*/ 338917 h 677833"/>
                <a:gd name="connsiteX9" fmla="*/ 338917 w 677833"/>
                <a:gd name="connsiteY9" fmla="*/ 619008 h 677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77833" h="677833">
                  <a:moveTo>
                    <a:pt x="338917" y="0"/>
                  </a:moveTo>
                  <a:cubicBezTo>
                    <a:pt x="151829" y="0"/>
                    <a:pt x="0" y="151829"/>
                    <a:pt x="0" y="338917"/>
                  </a:cubicBezTo>
                  <a:cubicBezTo>
                    <a:pt x="0" y="526004"/>
                    <a:pt x="151829" y="677833"/>
                    <a:pt x="338917" y="677833"/>
                  </a:cubicBezTo>
                  <a:cubicBezTo>
                    <a:pt x="526004" y="677833"/>
                    <a:pt x="677833" y="526184"/>
                    <a:pt x="677833" y="338917"/>
                  </a:cubicBezTo>
                  <a:cubicBezTo>
                    <a:pt x="677833" y="151649"/>
                    <a:pt x="526184" y="0"/>
                    <a:pt x="338917" y="0"/>
                  </a:cubicBezTo>
                  <a:close/>
                  <a:moveTo>
                    <a:pt x="338917" y="619008"/>
                  </a:moveTo>
                  <a:cubicBezTo>
                    <a:pt x="184209" y="619008"/>
                    <a:pt x="58825" y="493624"/>
                    <a:pt x="58825" y="338917"/>
                  </a:cubicBezTo>
                  <a:cubicBezTo>
                    <a:pt x="58825" y="184209"/>
                    <a:pt x="184209" y="58825"/>
                    <a:pt x="338917" y="58825"/>
                  </a:cubicBezTo>
                  <a:cubicBezTo>
                    <a:pt x="493624" y="58825"/>
                    <a:pt x="619008" y="184209"/>
                    <a:pt x="619008" y="338917"/>
                  </a:cubicBezTo>
                  <a:cubicBezTo>
                    <a:pt x="619008" y="493624"/>
                    <a:pt x="493624" y="619008"/>
                    <a:pt x="338917" y="619008"/>
                  </a:cubicBezTo>
                  <a:close/>
                </a:path>
              </a:pathLst>
            </a:custGeom>
            <a:gradFill>
              <a:gsLst>
                <a:gs pos="0">
                  <a:schemeClr val="bg2">
                    <a:lumMod val="75000"/>
                  </a:schemeClr>
                </a:gs>
                <a:gs pos="50000">
                  <a:schemeClr val="bg2"/>
                </a:gs>
                <a:gs pos="100000">
                  <a:schemeClr val="bg2">
                    <a:lumMod val="60000"/>
                    <a:lumOff val="40000"/>
                  </a:schemeClr>
                </a:gs>
              </a:gsLst>
              <a:lin ang="13500053" scaled="1"/>
            </a:gradFill>
            <a:ln w="179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IN" b="0" i="0" u="none" strike="noStrike" cap="none" spc="0" normalizeH="0" baseline="0" noProof="0">
                <a:ln>
                  <a:noFill/>
                </a:ln>
                <a:solidFill>
                  <a:srgbClr val="2A446F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37" name="Freeform: Shape 42">
              <a:extLst>
                <a:ext uri="{FF2B5EF4-FFF2-40B4-BE49-F238E27FC236}">
                  <a16:creationId xmlns:a16="http://schemas.microsoft.com/office/drawing/2014/main" id="{FBDECF47-CED5-1263-9954-DBF9AB295A63}"/>
                </a:ext>
              </a:extLst>
            </p:cNvPr>
            <p:cNvSpPr/>
            <p:nvPr/>
          </p:nvSpPr>
          <p:spPr>
            <a:xfrm flipH="1">
              <a:off x="9102175" y="1434998"/>
              <a:ext cx="334239" cy="334239"/>
            </a:xfrm>
            <a:custGeom>
              <a:avLst/>
              <a:gdLst>
                <a:gd name="connsiteX0" fmla="*/ 167120 w 334239"/>
                <a:gd name="connsiteY0" fmla="*/ 0 h 334239"/>
                <a:gd name="connsiteX1" fmla="*/ 0 w 334239"/>
                <a:gd name="connsiteY1" fmla="*/ 167120 h 334239"/>
                <a:gd name="connsiteX2" fmla="*/ 167120 w 334239"/>
                <a:gd name="connsiteY2" fmla="*/ 334239 h 334239"/>
                <a:gd name="connsiteX3" fmla="*/ 334239 w 334239"/>
                <a:gd name="connsiteY3" fmla="*/ 167120 h 334239"/>
                <a:gd name="connsiteX4" fmla="*/ 167120 w 334239"/>
                <a:gd name="connsiteY4" fmla="*/ 0 h 334239"/>
                <a:gd name="connsiteX5" fmla="*/ 167120 w 334239"/>
                <a:gd name="connsiteY5" fmla="*/ 281351 h 334239"/>
                <a:gd name="connsiteX6" fmla="*/ 52888 w 334239"/>
                <a:gd name="connsiteY6" fmla="*/ 167120 h 334239"/>
                <a:gd name="connsiteX7" fmla="*/ 167120 w 334239"/>
                <a:gd name="connsiteY7" fmla="*/ 52888 h 334239"/>
                <a:gd name="connsiteX8" fmla="*/ 281351 w 334239"/>
                <a:gd name="connsiteY8" fmla="*/ 167120 h 334239"/>
                <a:gd name="connsiteX9" fmla="*/ 167120 w 334239"/>
                <a:gd name="connsiteY9" fmla="*/ 281351 h 334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34239" h="334239">
                  <a:moveTo>
                    <a:pt x="167120" y="0"/>
                  </a:moveTo>
                  <a:cubicBezTo>
                    <a:pt x="74835" y="0"/>
                    <a:pt x="0" y="74835"/>
                    <a:pt x="0" y="167120"/>
                  </a:cubicBezTo>
                  <a:cubicBezTo>
                    <a:pt x="0" y="259404"/>
                    <a:pt x="74835" y="334239"/>
                    <a:pt x="167120" y="334239"/>
                  </a:cubicBezTo>
                  <a:cubicBezTo>
                    <a:pt x="259405" y="334239"/>
                    <a:pt x="334239" y="259404"/>
                    <a:pt x="334239" y="167120"/>
                  </a:cubicBezTo>
                  <a:cubicBezTo>
                    <a:pt x="334239" y="74835"/>
                    <a:pt x="259405" y="0"/>
                    <a:pt x="167120" y="0"/>
                  </a:cubicBezTo>
                  <a:close/>
                  <a:moveTo>
                    <a:pt x="167120" y="281351"/>
                  </a:moveTo>
                  <a:cubicBezTo>
                    <a:pt x="104158" y="281351"/>
                    <a:pt x="52888" y="230262"/>
                    <a:pt x="52888" y="167120"/>
                  </a:cubicBezTo>
                  <a:cubicBezTo>
                    <a:pt x="52888" y="103978"/>
                    <a:pt x="104158" y="52888"/>
                    <a:pt x="167120" y="52888"/>
                  </a:cubicBezTo>
                  <a:cubicBezTo>
                    <a:pt x="230082" y="52888"/>
                    <a:pt x="281351" y="104158"/>
                    <a:pt x="281351" y="167120"/>
                  </a:cubicBezTo>
                  <a:cubicBezTo>
                    <a:pt x="281351" y="230082"/>
                    <a:pt x="230262" y="281351"/>
                    <a:pt x="167120" y="281351"/>
                  </a:cubicBezTo>
                  <a:close/>
                </a:path>
              </a:pathLst>
            </a:custGeom>
            <a:gradFill>
              <a:gsLst>
                <a:gs pos="0">
                  <a:schemeClr val="bg2">
                    <a:lumMod val="75000"/>
                  </a:schemeClr>
                </a:gs>
                <a:gs pos="50000">
                  <a:schemeClr val="bg2"/>
                </a:gs>
                <a:gs pos="100000">
                  <a:schemeClr val="bg2">
                    <a:lumMod val="60000"/>
                    <a:lumOff val="40000"/>
                  </a:schemeClr>
                </a:gs>
              </a:gsLst>
              <a:lin ang="13500053" scaled="1"/>
            </a:gradFill>
            <a:ln w="179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IN" b="0" i="0" u="none" strike="noStrike" cap="none" spc="0" normalizeH="0" baseline="0" noProof="0">
                <a:ln>
                  <a:noFill/>
                </a:ln>
                <a:solidFill>
                  <a:srgbClr val="2A446F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38" name="Freeform: Shape 43">
              <a:extLst>
                <a:ext uri="{FF2B5EF4-FFF2-40B4-BE49-F238E27FC236}">
                  <a16:creationId xmlns:a16="http://schemas.microsoft.com/office/drawing/2014/main" id="{A7D683D5-27F9-55A9-1CDB-7B486D835525}"/>
                </a:ext>
              </a:extLst>
            </p:cNvPr>
            <p:cNvSpPr/>
            <p:nvPr/>
          </p:nvSpPr>
          <p:spPr>
            <a:xfrm flipH="1">
              <a:off x="11134328" y="2879711"/>
              <a:ext cx="347099" cy="363232"/>
            </a:xfrm>
            <a:custGeom>
              <a:avLst/>
              <a:gdLst>
                <a:gd name="connsiteX0" fmla="*/ 323086 w 347099"/>
                <a:gd name="connsiteY0" fmla="*/ 16010 h 363232"/>
                <a:gd name="connsiteX1" fmla="*/ 0 w 347099"/>
                <a:gd name="connsiteY1" fmla="*/ 339096 h 363232"/>
                <a:gd name="connsiteX2" fmla="*/ 276674 w 347099"/>
                <a:gd name="connsiteY2" fmla="*/ 292684 h 363232"/>
                <a:gd name="connsiteX3" fmla="*/ 314631 w 347099"/>
                <a:gd name="connsiteY3" fmla="*/ 0 h 363232"/>
                <a:gd name="connsiteX4" fmla="*/ 323086 w 347099"/>
                <a:gd name="connsiteY4" fmla="*/ 15831 h 3632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7099" h="363232">
                  <a:moveTo>
                    <a:pt x="323086" y="16010"/>
                  </a:moveTo>
                  <a:lnTo>
                    <a:pt x="0" y="339096"/>
                  </a:lnTo>
                  <a:cubicBezTo>
                    <a:pt x="90126" y="382630"/>
                    <a:pt x="202199" y="367340"/>
                    <a:pt x="276674" y="292684"/>
                  </a:cubicBezTo>
                  <a:cubicBezTo>
                    <a:pt x="355647" y="213712"/>
                    <a:pt x="368059" y="92644"/>
                    <a:pt x="314631" y="0"/>
                  </a:cubicBezTo>
                  <a:cubicBezTo>
                    <a:pt x="317689" y="5217"/>
                    <a:pt x="320388" y="10434"/>
                    <a:pt x="323086" y="15831"/>
                  </a:cubicBezTo>
                  <a:close/>
                </a:path>
              </a:pathLst>
            </a:custGeom>
            <a:gradFill>
              <a:gsLst>
                <a:gs pos="0">
                  <a:schemeClr val="bg2">
                    <a:lumMod val="75000"/>
                  </a:schemeClr>
                </a:gs>
                <a:gs pos="50000">
                  <a:schemeClr val="bg2"/>
                </a:gs>
                <a:gs pos="100000">
                  <a:schemeClr val="bg2">
                    <a:lumMod val="60000"/>
                    <a:lumOff val="40000"/>
                  </a:schemeClr>
                </a:gs>
              </a:gsLst>
              <a:lin ang="13500053" scaled="1"/>
            </a:gradFill>
            <a:ln w="179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IN" b="0" i="0" u="none" strike="noStrike" cap="none" spc="0" normalizeH="0" baseline="0" noProof="0">
                <a:ln>
                  <a:noFill/>
                </a:ln>
                <a:solidFill>
                  <a:srgbClr val="2A446F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39" name="Freeform: Shape 44">
              <a:extLst>
                <a:ext uri="{FF2B5EF4-FFF2-40B4-BE49-F238E27FC236}">
                  <a16:creationId xmlns:a16="http://schemas.microsoft.com/office/drawing/2014/main" id="{57363D35-7871-51F3-4438-4E24FBF9D3F8}"/>
                </a:ext>
              </a:extLst>
            </p:cNvPr>
            <p:cNvSpPr/>
            <p:nvPr/>
          </p:nvSpPr>
          <p:spPr>
            <a:xfrm flipH="1">
              <a:off x="11168776" y="2863161"/>
              <a:ext cx="8454" cy="13132"/>
            </a:xfrm>
            <a:custGeom>
              <a:avLst/>
              <a:gdLst>
                <a:gd name="connsiteX0" fmla="*/ 0 w 8454"/>
                <a:gd name="connsiteY0" fmla="*/ 0 h 13132"/>
                <a:gd name="connsiteX1" fmla="*/ 8455 w 8454"/>
                <a:gd name="connsiteY1" fmla="*/ 13132 h 13132"/>
                <a:gd name="connsiteX2" fmla="*/ 0 w 8454"/>
                <a:gd name="connsiteY2" fmla="*/ 0 h 13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454" h="13132">
                  <a:moveTo>
                    <a:pt x="0" y="0"/>
                  </a:moveTo>
                  <a:cubicBezTo>
                    <a:pt x="2878" y="4317"/>
                    <a:pt x="5757" y="8635"/>
                    <a:pt x="8455" y="13132"/>
                  </a:cubicBezTo>
                  <a:cubicBezTo>
                    <a:pt x="5757" y="8635"/>
                    <a:pt x="3058" y="4317"/>
                    <a:pt x="0" y="0"/>
                  </a:cubicBezTo>
                  <a:close/>
                </a:path>
              </a:pathLst>
            </a:custGeom>
            <a:gradFill>
              <a:gsLst>
                <a:gs pos="0">
                  <a:srgbClr val="0098FF"/>
                </a:gs>
                <a:gs pos="50000">
                  <a:srgbClr val="00BCFF"/>
                </a:gs>
                <a:gs pos="100000">
                  <a:srgbClr val="00E1FF"/>
                </a:gs>
              </a:gsLst>
              <a:lin ang="13500165" scaled="1"/>
            </a:gradFill>
            <a:ln w="179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2A446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" name="Freeform: Shape 45">
              <a:extLst>
                <a:ext uri="{FF2B5EF4-FFF2-40B4-BE49-F238E27FC236}">
                  <a16:creationId xmlns:a16="http://schemas.microsoft.com/office/drawing/2014/main" id="{E4F9F611-49FD-78DF-D45A-E3E1300B08A5}"/>
                </a:ext>
              </a:extLst>
            </p:cNvPr>
            <p:cNvSpPr/>
            <p:nvPr/>
          </p:nvSpPr>
          <p:spPr>
            <a:xfrm flipH="1">
              <a:off x="11182807" y="2846611"/>
              <a:ext cx="7015" cy="9354"/>
            </a:xfrm>
            <a:custGeom>
              <a:avLst/>
              <a:gdLst>
                <a:gd name="connsiteX0" fmla="*/ 0 w 7015"/>
                <a:gd name="connsiteY0" fmla="*/ 0 h 9354"/>
                <a:gd name="connsiteX1" fmla="*/ 7016 w 7015"/>
                <a:gd name="connsiteY1" fmla="*/ 9354 h 9354"/>
                <a:gd name="connsiteX2" fmla="*/ 0 w 7015"/>
                <a:gd name="connsiteY2" fmla="*/ 0 h 9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015" h="9354">
                  <a:moveTo>
                    <a:pt x="0" y="0"/>
                  </a:moveTo>
                  <a:cubicBezTo>
                    <a:pt x="2518" y="3058"/>
                    <a:pt x="4857" y="6116"/>
                    <a:pt x="7016" y="9354"/>
                  </a:cubicBezTo>
                  <a:cubicBezTo>
                    <a:pt x="4677" y="6296"/>
                    <a:pt x="2339" y="3058"/>
                    <a:pt x="0" y="0"/>
                  </a:cubicBezTo>
                  <a:close/>
                </a:path>
              </a:pathLst>
            </a:custGeom>
            <a:gradFill>
              <a:gsLst>
                <a:gs pos="0">
                  <a:srgbClr val="0098FF"/>
                </a:gs>
                <a:gs pos="50000">
                  <a:srgbClr val="00BCFF"/>
                </a:gs>
                <a:gs pos="100000">
                  <a:srgbClr val="00E1FF"/>
                </a:gs>
              </a:gsLst>
              <a:lin ang="13500165" scaled="1"/>
            </a:gradFill>
            <a:ln w="179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2A446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" name="Freeform: Shape 46">
              <a:extLst>
                <a:ext uri="{FF2B5EF4-FFF2-40B4-BE49-F238E27FC236}">
                  <a16:creationId xmlns:a16="http://schemas.microsoft.com/office/drawing/2014/main" id="{1AEC9D1A-6AAE-042F-1ADB-BE8D4544D14C}"/>
                </a:ext>
              </a:extLst>
            </p:cNvPr>
            <p:cNvSpPr/>
            <p:nvPr/>
          </p:nvSpPr>
          <p:spPr>
            <a:xfrm rot="2700000" flipH="1">
              <a:off x="11200464" y="2851149"/>
              <a:ext cx="484269" cy="166939"/>
            </a:xfrm>
            <a:custGeom>
              <a:avLst/>
              <a:gdLst>
                <a:gd name="connsiteX0" fmla="*/ 0 w 484269"/>
                <a:gd name="connsiteY0" fmla="*/ 0 h 166939"/>
                <a:gd name="connsiteX1" fmla="*/ 484270 w 484269"/>
                <a:gd name="connsiteY1" fmla="*/ 0 h 166939"/>
                <a:gd name="connsiteX2" fmla="*/ 484270 w 484269"/>
                <a:gd name="connsiteY2" fmla="*/ 166940 h 166939"/>
                <a:gd name="connsiteX3" fmla="*/ 0 w 484269"/>
                <a:gd name="connsiteY3" fmla="*/ 166940 h 166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84269" h="166939">
                  <a:moveTo>
                    <a:pt x="0" y="0"/>
                  </a:moveTo>
                  <a:lnTo>
                    <a:pt x="484270" y="0"/>
                  </a:lnTo>
                  <a:lnTo>
                    <a:pt x="484270" y="166940"/>
                  </a:lnTo>
                  <a:lnTo>
                    <a:pt x="0" y="166940"/>
                  </a:lnTo>
                  <a:close/>
                </a:path>
              </a:pathLst>
            </a:custGeom>
            <a:gradFill>
              <a:gsLst>
                <a:gs pos="0">
                  <a:schemeClr val="bg2">
                    <a:lumMod val="75000"/>
                  </a:schemeClr>
                </a:gs>
                <a:gs pos="50000">
                  <a:schemeClr val="bg2"/>
                </a:gs>
                <a:gs pos="100000">
                  <a:schemeClr val="bg2">
                    <a:lumMod val="60000"/>
                    <a:lumOff val="40000"/>
                  </a:schemeClr>
                </a:gs>
              </a:gsLst>
              <a:lin ang="13500053" scaled="1"/>
            </a:gradFill>
            <a:ln w="179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IN" b="0" i="0" u="none" strike="noStrike" cap="none" spc="0" normalizeH="0" baseline="0" noProof="0">
                <a:ln>
                  <a:noFill/>
                </a:ln>
                <a:solidFill>
                  <a:srgbClr val="2A446F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42" name="Freeform: Shape 47">
              <a:extLst>
                <a:ext uri="{FF2B5EF4-FFF2-40B4-BE49-F238E27FC236}">
                  <a16:creationId xmlns:a16="http://schemas.microsoft.com/office/drawing/2014/main" id="{42FAB161-C6E7-0096-181A-BE981DA57E46}"/>
                </a:ext>
              </a:extLst>
            </p:cNvPr>
            <p:cNvSpPr/>
            <p:nvPr/>
          </p:nvSpPr>
          <p:spPr>
            <a:xfrm flipH="1">
              <a:off x="11521363" y="3187326"/>
              <a:ext cx="9174" cy="7016"/>
            </a:xfrm>
            <a:custGeom>
              <a:avLst/>
              <a:gdLst>
                <a:gd name="connsiteX0" fmla="*/ 9174 w 9174"/>
                <a:gd name="connsiteY0" fmla="*/ 7016 h 7016"/>
                <a:gd name="connsiteX1" fmla="*/ 0 w 9174"/>
                <a:gd name="connsiteY1" fmla="*/ 0 h 7016"/>
                <a:gd name="connsiteX2" fmla="*/ 9174 w 9174"/>
                <a:gd name="connsiteY2" fmla="*/ 7016 h 7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174" h="7016">
                  <a:moveTo>
                    <a:pt x="9174" y="7016"/>
                  </a:moveTo>
                  <a:cubicBezTo>
                    <a:pt x="6116" y="4677"/>
                    <a:pt x="3058" y="2519"/>
                    <a:pt x="0" y="0"/>
                  </a:cubicBezTo>
                  <a:cubicBezTo>
                    <a:pt x="3058" y="2519"/>
                    <a:pt x="6116" y="4677"/>
                    <a:pt x="9174" y="7016"/>
                  </a:cubicBezTo>
                  <a:close/>
                </a:path>
              </a:pathLst>
            </a:custGeom>
            <a:gradFill>
              <a:gsLst>
                <a:gs pos="0">
                  <a:srgbClr val="0098FF"/>
                </a:gs>
                <a:gs pos="50000">
                  <a:srgbClr val="00BCFF"/>
                </a:gs>
                <a:gs pos="100000">
                  <a:srgbClr val="00E1FF"/>
                </a:gs>
              </a:gsLst>
              <a:lin ang="13500000" scaled="1"/>
            </a:gradFill>
            <a:ln w="179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2A446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" name="Freeform: Shape 48">
              <a:extLst>
                <a:ext uri="{FF2B5EF4-FFF2-40B4-BE49-F238E27FC236}">
                  <a16:creationId xmlns:a16="http://schemas.microsoft.com/office/drawing/2014/main" id="{02793FBA-EBE7-8D0B-0250-0B69EE6D1906}"/>
                </a:ext>
              </a:extLst>
            </p:cNvPr>
            <p:cNvSpPr/>
            <p:nvPr/>
          </p:nvSpPr>
          <p:spPr>
            <a:xfrm flipH="1">
              <a:off x="11500856" y="3199919"/>
              <a:ext cx="12952" cy="8274"/>
            </a:xfrm>
            <a:custGeom>
              <a:avLst/>
              <a:gdLst>
                <a:gd name="connsiteX0" fmla="*/ 12952 w 12952"/>
                <a:gd name="connsiteY0" fmla="*/ 8275 h 8274"/>
                <a:gd name="connsiteX1" fmla="*/ 0 w 12952"/>
                <a:gd name="connsiteY1" fmla="*/ 0 h 8274"/>
                <a:gd name="connsiteX2" fmla="*/ 12952 w 12952"/>
                <a:gd name="connsiteY2" fmla="*/ 8275 h 8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952" h="8274">
                  <a:moveTo>
                    <a:pt x="12952" y="8275"/>
                  </a:moveTo>
                  <a:cubicBezTo>
                    <a:pt x="8635" y="5577"/>
                    <a:pt x="4138" y="2878"/>
                    <a:pt x="0" y="0"/>
                  </a:cubicBezTo>
                  <a:cubicBezTo>
                    <a:pt x="4317" y="2878"/>
                    <a:pt x="8635" y="5756"/>
                    <a:pt x="12952" y="8275"/>
                  </a:cubicBezTo>
                  <a:close/>
                </a:path>
              </a:pathLst>
            </a:custGeom>
            <a:gradFill>
              <a:gsLst>
                <a:gs pos="0">
                  <a:srgbClr val="0098FF"/>
                </a:gs>
                <a:gs pos="50000">
                  <a:srgbClr val="00BCFF"/>
                </a:gs>
                <a:gs pos="100000">
                  <a:srgbClr val="00E1FF"/>
                </a:gs>
              </a:gsLst>
              <a:lin ang="13500000" scaled="1"/>
            </a:gradFill>
            <a:ln w="179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2A446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" name="Freeform: Shape 49">
              <a:extLst>
                <a:ext uri="{FF2B5EF4-FFF2-40B4-BE49-F238E27FC236}">
                  <a16:creationId xmlns:a16="http://schemas.microsoft.com/office/drawing/2014/main" id="{97E67AA4-DFBA-8FDD-2324-B5E0395EDD76}"/>
                </a:ext>
              </a:extLst>
            </p:cNvPr>
            <p:cNvSpPr/>
            <p:nvPr/>
          </p:nvSpPr>
          <p:spPr>
            <a:xfrm flipH="1">
              <a:off x="11481427" y="3210353"/>
              <a:ext cx="15830" cy="8454"/>
            </a:xfrm>
            <a:custGeom>
              <a:avLst/>
              <a:gdLst>
                <a:gd name="connsiteX0" fmla="*/ 15831 w 15830"/>
                <a:gd name="connsiteY0" fmla="*/ 8455 h 8454"/>
                <a:gd name="connsiteX1" fmla="*/ 0 w 15830"/>
                <a:gd name="connsiteY1" fmla="*/ 0 h 8454"/>
                <a:gd name="connsiteX2" fmla="*/ 15831 w 15830"/>
                <a:gd name="connsiteY2" fmla="*/ 8455 h 8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830" h="8454">
                  <a:moveTo>
                    <a:pt x="15831" y="8455"/>
                  </a:moveTo>
                  <a:cubicBezTo>
                    <a:pt x="10434" y="5936"/>
                    <a:pt x="5217" y="3058"/>
                    <a:pt x="0" y="0"/>
                  </a:cubicBezTo>
                  <a:cubicBezTo>
                    <a:pt x="5217" y="3058"/>
                    <a:pt x="10434" y="5756"/>
                    <a:pt x="15831" y="8455"/>
                  </a:cubicBezTo>
                  <a:close/>
                </a:path>
              </a:pathLst>
            </a:custGeom>
            <a:gradFill>
              <a:gsLst>
                <a:gs pos="0">
                  <a:srgbClr val="0098FF"/>
                </a:gs>
                <a:gs pos="50000">
                  <a:srgbClr val="00BCFF"/>
                </a:gs>
                <a:gs pos="100000">
                  <a:srgbClr val="00E1FF"/>
                </a:gs>
              </a:gsLst>
              <a:lin ang="13499835" scaled="1"/>
            </a:gradFill>
            <a:ln w="179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2A446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" name="Freeform: Shape 50">
              <a:extLst>
                <a:ext uri="{FF2B5EF4-FFF2-40B4-BE49-F238E27FC236}">
                  <a16:creationId xmlns:a16="http://schemas.microsoft.com/office/drawing/2014/main" id="{0BAE3C18-70B9-E263-BDB5-8672B7B911CE}"/>
                </a:ext>
              </a:extLst>
            </p:cNvPr>
            <p:cNvSpPr/>
            <p:nvPr/>
          </p:nvSpPr>
          <p:spPr>
            <a:xfrm flipH="1">
              <a:off x="11394000" y="2459124"/>
              <a:ext cx="460343" cy="524025"/>
            </a:xfrm>
            <a:custGeom>
              <a:avLst/>
              <a:gdLst>
                <a:gd name="connsiteX0" fmla="*/ 0 w 460343"/>
                <a:gd name="connsiteY0" fmla="*/ 406016 h 524025"/>
                <a:gd name="connsiteX1" fmla="*/ 118009 w 460343"/>
                <a:gd name="connsiteY1" fmla="*/ 524026 h 524025"/>
                <a:gd name="connsiteX2" fmla="*/ 460344 w 460343"/>
                <a:gd name="connsiteY2" fmla="*/ 181691 h 524025"/>
                <a:gd name="connsiteX3" fmla="*/ 278833 w 460343"/>
                <a:gd name="connsiteY3" fmla="*/ 0 h 524025"/>
                <a:gd name="connsiteX4" fmla="*/ 342335 w 460343"/>
                <a:gd name="connsiteY4" fmla="*/ 63682 h 524025"/>
                <a:gd name="connsiteX5" fmla="*/ 0 w 460343"/>
                <a:gd name="connsiteY5" fmla="*/ 406016 h 524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60343" h="524025">
                  <a:moveTo>
                    <a:pt x="0" y="406016"/>
                  </a:moveTo>
                  <a:lnTo>
                    <a:pt x="118009" y="524026"/>
                  </a:lnTo>
                  <a:lnTo>
                    <a:pt x="460344" y="181691"/>
                  </a:lnTo>
                  <a:lnTo>
                    <a:pt x="278833" y="0"/>
                  </a:lnTo>
                  <a:lnTo>
                    <a:pt x="342335" y="63682"/>
                  </a:lnTo>
                  <a:lnTo>
                    <a:pt x="0" y="406016"/>
                  </a:lnTo>
                  <a:close/>
                </a:path>
              </a:pathLst>
            </a:custGeom>
            <a:gradFill>
              <a:gsLst>
                <a:gs pos="0">
                  <a:schemeClr val="bg2">
                    <a:lumMod val="75000"/>
                  </a:schemeClr>
                </a:gs>
                <a:gs pos="50000">
                  <a:schemeClr val="bg2"/>
                </a:gs>
                <a:gs pos="100000">
                  <a:schemeClr val="bg2">
                    <a:lumMod val="60000"/>
                    <a:lumOff val="40000"/>
                  </a:schemeClr>
                </a:gs>
              </a:gsLst>
              <a:lin ang="13500053" scaled="1"/>
            </a:gradFill>
            <a:ln w="179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IN" b="0" i="0" u="none" strike="noStrike" cap="none" spc="0" normalizeH="0" baseline="0" noProof="0">
                <a:ln>
                  <a:noFill/>
                </a:ln>
                <a:solidFill>
                  <a:srgbClr val="2A446F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46" name="Freeform: Shape 51">
              <a:extLst>
                <a:ext uri="{FF2B5EF4-FFF2-40B4-BE49-F238E27FC236}">
                  <a16:creationId xmlns:a16="http://schemas.microsoft.com/office/drawing/2014/main" id="{A8DB4DAB-E567-81E3-0478-FF4297E5D92B}"/>
                </a:ext>
              </a:extLst>
            </p:cNvPr>
            <p:cNvSpPr/>
            <p:nvPr/>
          </p:nvSpPr>
          <p:spPr>
            <a:xfrm flipH="1">
              <a:off x="11575511" y="2277433"/>
              <a:ext cx="460523" cy="524025"/>
            </a:xfrm>
            <a:custGeom>
              <a:avLst/>
              <a:gdLst>
                <a:gd name="connsiteX0" fmla="*/ 0 w 460523"/>
                <a:gd name="connsiteY0" fmla="*/ 406016 h 524025"/>
                <a:gd name="connsiteX1" fmla="*/ 118009 w 460523"/>
                <a:gd name="connsiteY1" fmla="*/ 524025 h 524025"/>
                <a:gd name="connsiteX2" fmla="*/ 460524 w 460523"/>
                <a:gd name="connsiteY2" fmla="*/ 181691 h 524025"/>
                <a:gd name="connsiteX3" fmla="*/ 278833 w 460523"/>
                <a:gd name="connsiteY3" fmla="*/ 0 h 524025"/>
                <a:gd name="connsiteX4" fmla="*/ 342514 w 460523"/>
                <a:gd name="connsiteY4" fmla="*/ 63682 h 524025"/>
                <a:gd name="connsiteX5" fmla="*/ 0 w 460523"/>
                <a:gd name="connsiteY5" fmla="*/ 406016 h 524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60523" h="524025">
                  <a:moveTo>
                    <a:pt x="0" y="406016"/>
                  </a:moveTo>
                  <a:lnTo>
                    <a:pt x="118009" y="524025"/>
                  </a:lnTo>
                  <a:lnTo>
                    <a:pt x="460524" y="181691"/>
                  </a:lnTo>
                  <a:lnTo>
                    <a:pt x="278833" y="0"/>
                  </a:lnTo>
                  <a:lnTo>
                    <a:pt x="342514" y="63682"/>
                  </a:lnTo>
                  <a:lnTo>
                    <a:pt x="0" y="406016"/>
                  </a:lnTo>
                  <a:close/>
                </a:path>
              </a:pathLst>
            </a:custGeom>
            <a:gradFill>
              <a:gsLst>
                <a:gs pos="0">
                  <a:schemeClr val="bg2">
                    <a:lumMod val="75000"/>
                  </a:schemeClr>
                </a:gs>
                <a:gs pos="50000">
                  <a:schemeClr val="bg2"/>
                </a:gs>
                <a:gs pos="100000">
                  <a:schemeClr val="bg2">
                    <a:lumMod val="60000"/>
                    <a:lumOff val="40000"/>
                  </a:schemeClr>
                </a:gs>
              </a:gsLst>
              <a:lin ang="13500053" scaled="1"/>
            </a:gradFill>
            <a:ln w="179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IN" b="0" i="0" u="none" strike="noStrike" cap="none" spc="0" normalizeH="0" baseline="0" noProof="0">
                <a:ln>
                  <a:noFill/>
                </a:ln>
                <a:solidFill>
                  <a:srgbClr val="2A446F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47" name="Freeform: Shape 52">
              <a:extLst>
                <a:ext uri="{FF2B5EF4-FFF2-40B4-BE49-F238E27FC236}">
                  <a16:creationId xmlns:a16="http://schemas.microsoft.com/office/drawing/2014/main" id="{E669FF5B-FD42-D3E5-08B5-8EF27889B7FA}"/>
                </a:ext>
              </a:extLst>
            </p:cNvPr>
            <p:cNvSpPr/>
            <p:nvPr/>
          </p:nvSpPr>
          <p:spPr>
            <a:xfrm flipH="1">
              <a:off x="12120404" y="1853067"/>
              <a:ext cx="61163" cy="122326"/>
            </a:xfrm>
            <a:custGeom>
              <a:avLst/>
              <a:gdLst>
                <a:gd name="connsiteX0" fmla="*/ 61163 w 61163"/>
                <a:gd name="connsiteY0" fmla="*/ 61163 h 122326"/>
                <a:gd name="connsiteX1" fmla="*/ 0 w 61163"/>
                <a:gd name="connsiteY1" fmla="*/ 122327 h 122326"/>
                <a:gd name="connsiteX2" fmla="*/ 0 w 61163"/>
                <a:gd name="connsiteY2" fmla="*/ 0 h 122326"/>
                <a:gd name="connsiteX3" fmla="*/ 61163 w 61163"/>
                <a:gd name="connsiteY3" fmla="*/ 61163 h 122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163" h="122326">
                  <a:moveTo>
                    <a:pt x="61163" y="61163"/>
                  </a:moveTo>
                  <a:lnTo>
                    <a:pt x="0" y="122327"/>
                  </a:lnTo>
                  <a:lnTo>
                    <a:pt x="0" y="0"/>
                  </a:lnTo>
                  <a:lnTo>
                    <a:pt x="61163" y="61163"/>
                  </a:lnTo>
                  <a:close/>
                </a:path>
              </a:pathLst>
            </a:custGeom>
            <a:gradFill>
              <a:gsLst>
                <a:gs pos="0">
                  <a:schemeClr val="bg2">
                    <a:lumMod val="75000"/>
                  </a:schemeClr>
                </a:gs>
                <a:gs pos="50000">
                  <a:schemeClr val="bg2"/>
                </a:gs>
                <a:gs pos="100000">
                  <a:schemeClr val="bg2">
                    <a:lumMod val="60000"/>
                    <a:lumOff val="40000"/>
                  </a:schemeClr>
                </a:gs>
              </a:gsLst>
              <a:lin ang="13500053" scaled="1"/>
            </a:gradFill>
            <a:ln w="179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IN" b="0" i="0" u="none" strike="noStrike" cap="none" spc="0" normalizeH="0" baseline="0" noProof="0">
                <a:ln>
                  <a:noFill/>
                </a:ln>
                <a:solidFill>
                  <a:srgbClr val="2A446F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48" name="Freeform: Shape 53">
              <a:extLst>
                <a:ext uri="{FF2B5EF4-FFF2-40B4-BE49-F238E27FC236}">
                  <a16:creationId xmlns:a16="http://schemas.microsoft.com/office/drawing/2014/main" id="{42BDB9DF-6FE4-3FE5-7ECD-58AD508D384C}"/>
                </a:ext>
              </a:extLst>
            </p:cNvPr>
            <p:cNvSpPr/>
            <p:nvPr/>
          </p:nvSpPr>
          <p:spPr>
            <a:xfrm flipH="1">
              <a:off x="11938893" y="1977912"/>
              <a:ext cx="242674" cy="360683"/>
            </a:xfrm>
            <a:custGeom>
              <a:avLst/>
              <a:gdLst>
                <a:gd name="connsiteX0" fmla="*/ 0 w 242674"/>
                <a:gd name="connsiteY0" fmla="*/ 360684 h 360683"/>
                <a:gd name="connsiteX1" fmla="*/ 0 w 242674"/>
                <a:gd name="connsiteY1" fmla="*/ 124665 h 360683"/>
                <a:gd name="connsiteX2" fmla="*/ 124665 w 242674"/>
                <a:gd name="connsiteY2" fmla="*/ 0 h 360683"/>
                <a:gd name="connsiteX3" fmla="*/ 242674 w 242674"/>
                <a:gd name="connsiteY3" fmla="*/ 118009 h 360683"/>
                <a:gd name="connsiteX4" fmla="*/ 0 w 242674"/>
                <a:gd name="connsiteY4" fmla="*/ 360684 h 360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2674" h="360683">
                  <a:moveTo>
                    <a:pt x="0" y="360684"/>
                  </a:moveTo>
                  <a:lnTo>
                    <a:pt x="0" y="124665"/>
                  </a:lnTo>
                  <a:lnTo>
                    <a:pt x="124665" y="0"/>
                  </a:lnTo>
                  <a:lnTo>
                    <a:pt x="242674" y="118009"/>
                  </a:lnTo>
                  <a:lnTo>
                    <a:pt x="0" y="360684"/>
                  </a:lnTo>
                  <a:close/>
                </a:path>
              </a:pathLst>
            </a:custGeom>
            <a:gradFill>
              <a:gsLst>
                <a:gs pos="0">
                  <a:schemeClr val="bg2">
                    <a:lumMod val="75000"/>
                  </a:schemeClr>
                </a:gs>
                <a:gs pos="50000">
                  <a:schemeClr val="bg2"/>
                </a:gs>
                <a:gs pos="100000">
                  <a:schemeClr val="bg2">
                    <a:lumMod val="60000"/>
                    <a:lumOff val="40000"/>
                  </a:schemeClr>
                </a:gs>
              </a:gsLst>
              <a:lin ang="13500053" scaled="1"/>
            </a:gradFill>
            <a:ln w="179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IN" b="0" i="0" u="none" strike="noStrike" cap="none" spc="0" normalizeH="0" baseline="0" noProof="0">
                <a:ln>
                  <a:noFill/>
                </a:ln>
                <a:solidFill>
                  <a:srgbClr val="2A446F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49" name="Freeform: Shape 54">
              <a:extLst>
                <a:ext uri="{FF2B5EF4-FFF2-40B4-BE49-F238E27FC236}">
                  <a16:creationId xmlns:a16="http://schemas.microsoft.com/office/drawing/2014/main" id="{EB5A16A6-1D30-EF35-8F3B-1B6C932C7D00}"/>
                </a:ext>
              </a:extLst>
            </p:cNvPr>
            <p:cNvSpPr/>
            <p:nvPr/>
          </p:nvSpPr>
          <p:spPr>
            <a:xfrm flipH="1">
              <a:off x="11757201" y="2159423"/>
              <a:ext cx="434799" cy="460523"/>
            </a:xfrm>
            <a:custGeom>
              <a:avLst/>
              <a:gdLst>
                <a:gd name="connsiteX0" fmla="*/ 434799 w 434799"/>
                <a:gd name="connsiteY0" fmla="*/ 118009 h 460523"/>
                <a:gd name="connsiteX1" fmla="*/ 354387 w 434799"/>
                <a:gd name="connsiteY1" fmla="*/ 198601 h 460523"/>
                <a:gd name="connsiteX2" fmla="*/ 283150 w 434799"/>
                <a:gd name="connsiteY2" fmla="*/ 269658 h 460523"/>
                <a:gd name="connsiteX3" fmla="*/ 282610 w 434799"/>
                <a:gd name="connsiteY3" fmla="*/ 270198 h 460523"/>
                <a:gd name="connsiteX4" fmla="*/ 92465 w 434799"/>
                <a:gd name="connsiteY4" fmla="*/ 460524 h 460523"/>
                <a:gd name="connsiteX5" fmla="*/ 0 w 434799"/>
                <a:gd name="connsiteY5" fmla="*/ 368059 h 460523"/>
                <a:gd name="connsiteX6" fmla="*/ 0 w 434799"/>
                <a:gd name="connsiteY6" fmla="*/ 316970 h 460523"/>
                <a:gd name="connsiteX7" fmla="*/ 10434 w 434799"/>
                <a:gd name="connsiteY7" fmla="*/ 306536 h 460523"/>
                <a:gd name="connsiteX8" fmla="*/ 164601 w 434799"/>
                <a:gd name="connsiteY8" fmla="*/ 152189 h 460523"/>
                <a:gd name="connsiteX9" fmla="*/ 165141 w 434799"/>
                <a:gd name="connsiteY9" fmla="*/ 151649 h 460523"/>
                <a:gd name="connsiteX10" fmla="*/ 236378 w 434799"/>
                <a:gd name="connsiteY10" fmla="*/ 80592 h 460523"/>
                <a:gd name="connsiteX11" fmla="*/ 316790 w 434799"/>
                <a:gd name="connsiteY11" fmla="*/ 0 h 460523"/>
                <a:gd name="connsiteX12" fmla="*/ 434799 w 434799"/>
                <a:gd name="connsiteY12" fmla="*/ 118009 h 460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34799" h="460523">
                  <a:moveTo>
                    <a:pt x="434799" y="118009"/>
                  </a:moveTo>
                  <a:lnTo>
                    <a:pt x="354387" y="198601"/>
                  </a:lnTo>
                  <a:lnTo>
                    <a:pt x="283150" y="269658"/>
                  </a:lnTo>
                  <a:lnTo>
                    <a:pt x="282610" y="270198"/>
                  </a:lnTo>
                  <a:lnTo>
                    <a:pt x="92465" y="460524"/>
                  </a:lnTo>
                  <a:lnTo>
                    <a:pt x="0" y="368059"/>
                  </a:lnTo>
                  <a:lnTo>
                    <a:pt x="0" y="316970"/>
                  </a:lnTo>
                  <a:lnTo>
                    <a:pt x="10434" y="306536"/>
                  </a:lnTo>
                  <a:lnTo>
                    <a:pt x="164601" y="152189"/>
                  </a:lnTo>
                  <a:lnTo>
                    <a:pt x="165141" y="151649"/>
                  </a:lnTo>
                  <a:lnTo>
                    <a:pt x="236378" y="80592"/>
                  </a:lnTo>
                  <a:lnTo>
                    <a:pt x="316790" y="0"/>
                  </a:lnTo>
                  <a:lnTo>
                    <a:pt x="434799" y="118009"/>
                  </a:lnTo>
                  <a:close/>
                </a:path>
              </a:pathLst>
            </a:custGeom>
            <a:gradFill>
              <a:gsLst>
                <a:gs pos="0">
                  <a:schemeClr val="bg2">
                    <a:lumMod val="75000"/>
                  </a:schemeClr>
                </a:gs>
                <a:gs pos="50000">
                  <a:schemeClr val="bg2"/>
                </a:gs>
                <a:gs pos="100000">
                  <a:schemeClr val="bg2">
                    <a:lumMod val="60000"/>
                    <a:lumOff val="40000"/>
                  </a:schemeClr>
                </a:gs>
              </a:gsLst>
              <a:lin ang="13500053" scaled="1"/>
            </a:gradFill>
            <a:ln w="179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IN" b="0" i="0" u="none" strike="noStrike" cap="none" spc="0" normalizeH="0" baseline="0" noProof="0">
                <a:ln>
                  <a:noFill/>
                </a:ln>
                <a:solidFill>
                  <a:srgbClr val="2A446F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50" name="Freeform: Shape 55">
              <a:extLst>
                <a:ext uri="{FF2B5EF4-FFF2-40B4-BE49-F238E27FC236}">
                  <a16:creationId xmlns:a16="http://schemas.microsoft.com/office/drawing/2014/main" id="{2365DB64-5EF8-F092-36F1-32CE093CEDA7}"/>
                </a:ext>
              </a:extLst>
            </p:cNvPr>
            <p:cNvSpPr/>
            <p:nvPr/>
          </p:nvSpPr>
          <p:spPr>
            <a:xfrm flipH="1">
              <a:off x="7806503" y="354837"/>
              <a:ext cx="707695" cy="707695"/>
            </a:xfrm>
            <a:custGeom>
              <a:avLst/>
              <a:gdLst>
                <a:gd name="connsiteX0" fmla="*/ 41285 w 707695"/>
                <a:gd name="connsiteY0" fmla="*/ 41285 h 707695"/>
                <a:gd name="connsiteX1" fmla="*/ 41285 w 707695"/>
                <a:gd name="connsiteY1" fmla="*/ 41285 h 707695"/>
                <a:gd name="connsiteX2" fmla="*/ 240426 w 707695"/>
                <a:gd name="connsiteY2" fmla="*/ 41285 h 707695"/>
                <a:gd name="connsiteX3" fmla="*/ 666410 w 707695"/>
                <a:gd name="connsiteY3" fmla="*/ 467270 h 707695"/>
                <a:gd name="connsiteX4" fmla="*/ 666410 w 707695"/>
                <a:gd name="connsiteY4" fmla="*/ 666410 h 707695"/>
                <a:gd name="connsiteX5" fmla="*/ 666410 w 707695"/>
                <a:gd name="connsiteY5" fmla="*/ 666410 h 707695"/>
                <a:gd name="connsiteX6" fmla="*/ 467270 w 707695"/>
                <a:gd name="connsiteY6" fmla="*/ 666410 h 707695"/>
                <a:gd name="connsiteX7" fmla="*/ 41285 w 707695"/>
                <a:gd name="connsiteY7" fmla="*/ 240426 h 707695"/>
                <a:gd name="connsiteX8" fmla="*/ 41285 w 707695"/>
                <a:gd name="connsiteY8" fmla="*/ 41285 h 707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07695" h="707695">
                  <a:moveTo>
                    <a:pt x="41285" y="41285"/>
                  </a:moveTo>
                  <a:lnTo>
                    <a:pt x="41285" y="41285"/>
                  </a:lnTo>
                  <a:cubicBezTo>
                    <a:pt x="96332" y="-13762"/>
                    <a:pt x="185559" y="-13762"/>
                    <a:pt x="240426" y="41285"/>
                  </a:cubicBezTo>
                  <a:lnTo>
                    <a:pt x="666410" y="467270"/>
                  </a:lnTo>
                  <a:cubicBezTo>
                    <a:pt x="721457" y="522317"/>
                    <a:pt x="721457" y="611543"/>
                    <a:pt x="666410" y="666410"/>
                  </a:cubicBezTo>
                  <a:lnTo>
                    <a:pt x="666410" y="666410"/>
                  </a:lnTo>
                  <a:cubicBezTo>
                    <a:pt x="611363" y="721457"/>
                    <a:pt x="522137" y="721457"/>
                    <a:pt x="467270" y="666410"/>
                  </a:cubicBezTo>
                  <a:lnTo>
                    <a:pt x="41285" y="240426"/>
                  </a:lnTo>
                  <a:cubicBezTo>
                    <a:pt x="-13762" y="185379"/>
                    <a:pt x="-13762" y="96152"/>
                    <a:pt x="41285" y="41285"/>
                  </a:cubicBezTo>
                  <a:close/>
                </a:path>
              </a:pathLst>
            </a:custGeom>
            <a:gradFill>
              <a:gsLst>
                <a:gs pos="0">
                  <a:schemeClr val="bg2">
                    <a:alpha val="69000"/>
                  </a:schemeClr>
                </a:gs>
                <a:gs pos="100000">
                  <a:schemeClr val="bg2">
                    <a:lumMod val="60000"/>
                    <a:lumOff val="40000"/>
                    <a:alpha val="45000"/>
                  </a:schemeClr>
                </a:gs>
              </a:gsLst>
              <a:lin ang="13500000" scaled="1"/>
            </a:gradFill>
            <a:ln w="179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2A446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" name="Freeform: Shape 56">
              <a:extLst>
                <a:ext uri="{FF2B5EF4-FFF2-40B4-BE49-F238E27FC236}">
                  <a16:creationId xmlns:a16="http://schemas.microsoft.com/office/drawing/2014/main" id="{30EDCCE0-0826-6A77-C28F-67B25222B174}"/>
                </a:ext>
              </a:extLst>
            </p:cNvPr>
            <p:cNvSpPr/>
            <p:nvPr/>
          </p:nvSpPr>
          <p:spPr>
            <a:xfrm flipH="1">
              <a:off x="11297757" y="5693582"/>
              <a:ext cx="554787" cy="554787"/>
            </a:xfrm>
            <a:custGeom>
              <a:avLst/>
              <a:gdLst>
                <a:gd name="connsiteX0" fmla="*/ 32381 w 554787"/>
                <a:gd name="connsiteY0" fmla="*/ 32380 h 554787"/>
                <a:gd name="connsiteX1" fmla="*/ 32381 w 554787"/>
                <a:gd name="connsiteY1" fmla="*/ 32380 h 554787"/>
                <a:gd name="connsiteX2" fmla="*/ 188527 w 554787"/>
                <a:gd name="connsiteY2" fmla="*/ 32380 h 554787"/>
                <a:gd name="connsiteX3" fmla="*/ 522406 w 554787"/>
                <a:gd name="connsiteY3" fmla="*/ 366260 h 554787"/>
                <a:gd name="connsiteX4" fmla="*/ 522406 w 554787"/>
                <a:gd name="connsiteY4" fmla="*/ 522407 h 554787"/>
                <a:gd name="connsiteX5" fmla="*/ 522406 w 554787"/>
                <a:gd name="connsiteY5" fmla="*/ 522407 h 554787"/>
                <a:gd name="connsiteX6" fmla="*/ 366260 w 554787"/>
                <a:gd name="connsiteY6" fmla="*/ 522407 h 554787"/>
                <a:gd name="connsiteX7" fmla="*/ 32381 w 554787"/>
                <a:gd name="connsiteY7" fmla="*/ 188527 h 554787"/>
                <a:gd name="connsiteX8" fmla="*/ 32381 w 554787"/>
                <a:gd name="connsiteY8" fmla="*/ 32380 h 554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54787" h="554787">
                  <a:moveTo>
                    <a:pt x="32381" y="32380"/>
                  </a:moveTo>
                  <a:lnTo>
                    <a:pt x="32381" y="32380"/>
                  </a:lnTo>
                  <a:cubicBezTo>
                    <a:pt x="75555" y="-10793"/>
                    <a:pt x="145353" y="-10793"/>
                    <a:pt x="188527" y="32380"/>
                  </a:cubicBezTo>
                  <a:lnTo>
                    <a:pt x="522406" y="366260"/>
                  </a:lnTo>
                  <a:cubicBezTo>
                    <a:pt x="565581" y="409435"/>
                    <a:pt x="565581" y="479233"/>
                    <a:pt x="522406" y="522407"/>
                  </a:cubicBezTo>
                  <a:lnTo>
                    <a:pt x="522406" y="522407"/>
                  </a:lnTo>
                  <a:cubicBezTo>
                    <a:pt x="479232" y="565581"/>
                    <a:pt x="409434" y="565581"/>
                    <a:pt x="366260" y="522407"/>
                  </a:cubicBezTo>
                  <a:lnTo>
                    <a:pt x="32381" y="188527"/>
                  </a:lnTo>
                  <a:cubicBezTo>
                    <a:pt x="-10794" y="145353"/>
                    <a:pt x="-10794" y="75555"/>
                    <a:pt x="32381" y="32380"/>
                  </a:cubicBezTo>
                  <a:close/>
                </a:path>
              </a:pathLst>
            </a:custGeom>
            <a:solidFill>
              <a:srgbClr val="2A446F"/>
            </a:solidFill>
            <a:ln w="179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IN" b="0" i="0" u="none" strike="noStrike" cap="none" spc="0" normalizeH="0" baseline="0" noProof="0">
                <a:ln>
                  <a:noFill/>
                </a:ln>
                <a:solidFill>
                  <a:srgbClr val="2A446F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52" name="Freeform: Shape 57">
              <a:extLst>
                <a:ext uri="{FF2B5EF4-FFF2-40B4-BE49-F238E27FC236}">
                  <a16:creationId xmlns:a16="http://schemas.microsoft.com/office/drawing/2014/main" id="{946FC67F-A3C9-609B-DBE6-60A87F5EF543}"/>
                </a:ext>
              </a:extLst>
            </p:cNvPr>
            <p:cNvSpPr/>
            <p:nvPr/>
          </p:nvSpPr>
          <p:spPr>
            <a:xfrm flipH="1">
              <a:off x="9049287" y="5732619"/>
              <a:ext cx="2108694" cy="1182429"/>
            </a:xfrm>
            <a:custGeom>
              <a:avLst/>
              <a:gdLst>
                <a:gd name="connsiteX0" fmla="*/ 2108695 w 2108694"/>
                <a:gd name="connsiteY0" fmla="*/ 1054347 h 1182429"/>
                <a:gd name="connsiteX1" fmla="*/ 2100959 w 2108694"/>
                <a:gd name="connsiteY1" fmla="*/ 1182430 h 1182429"/>
                <a:gd name="connsiteX2" fmla="*/ 7735 w 2108694"/>
                <a:gd name="connsiteY2" fmla="*/ 1182430 h 1182429"/>
                <a:gd name="connsiteX3" fmla="*/ 0 w 2108694"/>
                <a:gd name="connsiteY3" fmla="*/ 1054347 h 1182429"/>
                <a:gd name="connsiteX4" fmla="*/ 91565 w 2108694"/>
                <a:gd name="connsiteY4" fmla="*/ 624405 h 1182429"/>
                <a:gd name="connsiteX5" fmla="*/ 686468 w 2108694"/>
                <a:gd name="connsiteY5" fmla="*/ 66020 h 1182429"/>
                <a:gd name="connsiteX6" fmla="*/ 1054347 w 2108694"/>
                <a:gd name="connsiteY6" fmla="*/ 0 h 1182429"/>
                <a:gd name="connsiteX7" fmla="*/ 2108695 w 2108694"/>
                <a:gd name="connsiteY7" fmla="*/ 1054347 h 1182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08694" h="1182429">
                  <a:moveTo>
                    <a:pt x="2108695" y="1054347"/>
                  </a:moveTo>
                  <a:cubicBezTo>
                    <a:pt x="2108695" y="1097701"/>
                    <a:pt x="2105996" y="1140515"/>
                    <a:pt x="2100959" y="1182430"/>
                  </a:cubicBezTo>
                  <a:lnTo>
                    <a:pt x="7735" y="1182430"/>
                  </a:lnTo>
                  <a:cubicBezTo>
                    <a:pt x="2698" y="1140515"/>
                    <a:pt x="0" y="1097701"/>
                    <a:pt x="0" y="1054347"/>
                  </a:cubicBezTo>
                  <a:cubicBezTo>
                    <a:pt x="0" y="901079"/>
                    <a:pt x="32560" y="755726"/>
                    <a:pt x="91565" y="624405"/>
                  </a:cubicBezTo>
                  <a:cubicBezTo>
                    <a:pt x="206336" y="367339"/>
                    <a:pt x="421127" y="164781"/>
                    <a:pt x="686468" y="66020"/>
                  </a:cubicBezTo>
                  <a:cubicBezTo>
                    <a:pt x="801059" y="23386"/>
                    <a:pt x="925005" y="0"/>
                    <a:pt x="1054347" y="0"/>
                  </a:cubicBezTo>
                  <a:cubicBezTo>
                    <a:pt x="1636658" y="0"/>
                    <a:pt x="2108695" y="472037"/>
                    <a:pt x="2108695" y="1054347"/>
                  </a:cubicBezTo>
                  <a:close/>
                </a:path>
              </a:pathLst>
            </a:custGeom>
            <a:gradFill>
              <a:gsLst>
                <a:gs pos="0">
                  <a:schemeClr val="bg2">
                    <a:alpha val="69000"/>
                  </a:schemeClr>
                </a:gs>
                <a:gs pos="100000">
                  <a:schemeClr val="bg2">
                    <a:lumMod val="60000"/>
                    <a:lumOff val="40000"/>
                    <a:alpha val="45000"/>
                  </a:schemeClr>
                </a:gs>
              </a:gsLst>
              <a:lin ang="13500000" scaled="1"/>
            </a:gradFill>
            <a:ln w="17980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2A446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" name="Freeform: Shape 58">
              <a:extLst>
                <a:ext uri="{FF2B5EF4-FFF2-40B4-BE49-F238E27FC236}">
                  <a16:creationId xmlns:a16="http://schemas.microsoft.com/office/drawing/2014/main" id="{9207EE5A-2C0E-F9AA-ACF6-8A44FE475955}"/>
                </a:ext>
              </a:extLst>
            </p:cNvPr>
            <p:cNvSpPr/>
            <p:nvPr/>
          </p:nvSpPr>
          <p:spPr>
            <a:xfrm flipH="1">
              <a:off x="6431498" y="3279971"/>
              <a:ext cx="480851" cy="480851"/>
            </a:xfrm>
            <a:custGeom>
              <a:avLst/>
              <a:gdLst>
                <a:gd name="connsiteX0" fmla="*/ 480492 w 480851"/>
                <a:gd name="connsiteY0" fmla="*/ 228103 h 480851"/>
                <a:gd name="connsiteX1" fmla="*/ 480492 w 480851"/>
                <a:gd name="connsiteY1" fmla="*/ 228103 h 480851"/>
                <a:gd name="connsiteX2" fmla="*/ 240336 w 480851"/>
                <a:gd name="connsiteY2" fmla="*/ 0 h 480851"/>
                <a:gd name="connsiteX3" fmla="*/ 105057 w 480851"/>
                <a:gd name="connsiteY3" fmla="*/ 41735 h 480851"/>
                <a:gd name="connsiteX4" fmla="*/ 103258 w 480851"/>
                <a:gd name="connsiteY4" fmla="*/ 42994 h 480851"/>
                <a:gd name="connsiteX5" fmla="*/ 0 w 480851"/>
                <a:gd name="connsiteY5" fmla="*/ 240516 h 480851"/>
                <a:gd name="connsiteX6" fmla="*/ 240336 w 480851"/>
                <a:gd name="connsiteY6" fmla="*/ 480851 h 480851"/>
                <a:gd name="connsiteX7" fmla="*/ 437857 w 480851"/>
                <a:gd name="connsiteY7" fmla="*/ 377593 h 480851"/>
                <a:gd name="connsiteX8" fmla="*/ 442715 w 480851"/>
                <a:gd name="connsiteY8" fmla="*/ 370038 h 480851"/>
                <a:gd name="connsiteX9" fmla="*/ 471677 w 480851"/>
                <a:gd name="connsiteY9" fmla="*/ 306176 h 480851"/>
                <a:gd name="connsiteX10" fmla="*/ 480852 w 480851"/>
                <a:gd name="connsiteY10" fmla="*/ 240516 h 480851"/>
                <a:gd name="connsiteX11" fmla="*/ 480492 w 480851"/>
                <a:gd name="connsiteY11" fmla="*/ 228103 h 480851"/>
                <a:gd name="connsiteX12" fmla="*/ 240336 w 480851"/>
                <a:gd name="connsiteY12" fmla="*/ 340356 h 480851"/>
                <a:gd name="connsiteX13" fmla="*/ 140496 w 480851"/>
                <a:gd name="connsiteY13" fmla="*/ 240516 h 480851"/>
                <a:gd name="connsiteX14" fmla="*/ 206696 w 480851"/>
                <a:gd name="connsiteY14" fmla="*/ 146432 h 480851"/>
                <a:gd name="connsiteX15" fmla="*/ 240336 w 480851"/>
                <a:gd name="connsiteY15" fmla="*/ 140496 h 480851"/>
                <a:gd name="connsiteX16" fmla="*/ 246093 w 480851"/>
                <a:gd name="connsiteY16" fmla="*/ 140856 h 480851"/>
                <a:gd name="connsiteX17" fmla="*/ 333160 w 480851"/>
                <a:gd name="connsiteY17" fmla="*/ 203638 h 480851"/>
                <a:gd name="connsiteX18" fmla="*/ 333160 w 480851"/>
                <a:gd name="connsiteY18" fmla="*/ 203638 h 480851"/>
                <a:gd name="connsiteX19" fmla="*/ 340356 w 480851"/>
                <a:gd name="connsiteY19" fmla="*/ 240516 h 480851"/>
                <a:gd name="connsiteX20" fmla="*/ 334419 w 480851"/>
                <a:gd name="connsiteY20" fmla="*/ 274156 h 480851"/>
                <a:gd name="connsiteX21" fmla="*/ 240336 w 480851"/>
                <a:gd name="connsiteY21" fmla="*/ 340356 h 480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80851" h="480851">
                  <a:moveTo>
                    <a:pt x="480492" y="228103"/>
                  </a:moveTo>
                  <a:lnTo>
                    <a:pt x="480492" y="228103"/>
                  </a:lnTo>
                  <a:cubicBezTo>
                    <a:pt x="474016" y="100919"/>
                    <a:pt x="368959" y="0"/>
                    <a:pt x="240336" y="0"/>
                  </a:cubicBezTo>
                  <a:cubicBezTo>
                    <a:pt x="190146" y="0"/>
                    <a:pt x="143554" y="15471"/>
                    <a:pt x="105057" y="41735"/>
                  </a:cubicBezTo>
                  <a:cubicBezTo>
                    <a:pt x="104338" y="42095"/>
                    <a:pt x="103798" y="42455"/>
                    <a:pt x="103258" y="42994"/>
                  </a:cubicBezTo>
                  <a:cubicBezTo>
                    <a:pt x="40836" y="86348"/>
                    <a:pt x="0" y="158665"/>
                    <a:pt x="0" y="240516"/>
                  </a:cubicBezTo>
                  <a:cubicBezTo>
                    <a:pt x="0" y="373276"/>
                    <a:pt x="107576" y="480851"/>
                    <a:pt x="240336" y="480851"/>
                  </a:cubicBezTo>
                  <a:cubicBezTo>
                    <a:pt x="322187" y="480851"/>
                    <a:pt x="394504" y="440016"/>
                    <a:pt x="437857" y="377593"/>
                  </a:cubicBezTo>
                  <a:cubicBezTo>
                    <a:pt x="439656" y="375075"/>
                    <a:pt x="441275" y="372556"/>
                    <a:pt x="442715" y="370038"/>
                  </a:cubicBezTo>
                  <a:cubicBezTo>
                    <a:pt x="455487" y="350610"/>
                    <a:pt x="465201" y="329022"/>
                    <a:pt x="471677" y="306176"/>
                  </a:cubicBezTo>
                  <a:cubicBezTo>
                    <a:pt x="477614" y="285309"/>
                    <a:pt x="480852" y="263362"/>
                    <a:pt x="480852" y="240516"/>
                  </a:cubicBezTo>
                  <a:cubicBezTo>
                    <a:pt x="480852" y="236378"/>
                    <a:pt x="480852" y="232241"/>
                    <a:pt x="480492" y="228103"/>
                  </a:cubicBezTo>
                  <a:close/>
                  <a:moveTo>
                    <a:pt x="240336" y="340356"/>
                  </a:moveTo>
                  <a:cubicBezTo>
                    <a:pt x="185289" y="340356"/>
                    <a:pt x="140496" y="295562"/>
                    <a:pt x="140496" y="240516"/>
                  </a:cubicBezTo>
                  <a:cubicBezTo>
                    <a:pt x="140496" y="197162"/>
                    <a:pt x="168199" y="160104"/>
                    <a:pt x="206696" y="146432"/>
                  </a:cubicBezTo>
                  <a:cubicBezTo>
                    <a:pt x="217130" y="142474"/>
                    <a:pt x="228463" y="140496"/>
                    <a:pt x="240336" y="140496"/>
                  </a:cubicBezTo>
                  <a:cubicBezTo>
                    <a:pt x="242315" y="140496"/>
                    <a:pt x="244114" y="140496"/>
                    <a:pt x="246093" y="140856"/>
                  </a:cubicBezTo>
                  <a:cubicBezTo>
                    <a:pt x="285849" y="143014"/>
                    <a:pt x="319308" y="168379"/>
                    <a:pt x="333160" y="203638"/>
                  </a:cubicBezTo>
                  <a:lnTo>
                    <a:pt x="333160" y="203638"/>
                  </a:lnTo>
                  <a:cubicBezTo>
                    <a:pt x="337837" y="215151"/>
                    <a:pt x="340356" y="227563"/>
                    <a:pt x="340356" y="240516"/>
                  </a:cubicBezTo>
                  <a:cubicBezTo>
                    <a:pt x="340356" y="252389"/>
                    <a:pt x="338377" y="263722"/>
                    <a:pt x="334419" y="274156"/>
                  </a:cubicBezTo>
                  <a:cubicBezTo>
                    <a:pt x="320748" y="312652"/>
                    <a:pt x="283690" y="340356"/>
                    <a:pt x="240336" y="340356"/>
                  </a:cubicBezTo>
                  <a:close/>
                </a:path>
              </a:pathLst>
            </a:custGeom>
            <a:gradFill>
              <a:gsLst>
                <a:gs pos="0">
                  <a:schemeClr val="bg2">
                    <a:lumMod val="75000"/>
                  </a:schemeClr>
                </a:gs>
                <a:gs pos="50000">
                  <a:schemeClr val="bg2"/>
                </a:gs>
                <a:gs pos="100000">
                  <a:schemeClr val="bg2">
                    <a:lumMod val="60000"/>
                    <a:lumOff val="40000"/>
                  </a:schemeClr>
                </a:gs>
              </a:gsLst>
              <a:lin ang="13500053" scaled="1"/>
            </a:gradFill>
            <a:ln w="179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IN" b="0" i="0" u="none" strike="noStrike" cap="none" spc="0" normalizeH="0" baseline="0" noProof="0">
                <a:ln>
                  <a:noFill/>
                </a:ln>
                <a:solidFill>
                  <a:srgbClr val="2A446F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54" name="Freeform: Shape 59">
              <a:extLst>
                <a:ext uri="{FF2B5EF4-FFF2-40B4-BE49-F238E27FC236}">
                  <a16:creationId xmlns:a16="http://schemas.microsoft.com/office/drawing/2014/main" id="{DF8301A3-596F-0BFE-D613-A73D490C21F0}"/>
                </a:ext>
              </a:extLst>
            </p:cNvPr>
            <p:cNvSpPr/>
            <p:nvPr/>
          </p:nvSpPr>
          <p:spPr>
            <a:xfrm flipH="1">
              <a:off x="11522263" y="3691204"/>
              <a:ext cx="419867" cy="419867"/>
            </a:xfrm>
            <a:custGeom>
              <a:avLst/>
              <a:gdLst>
                <a:gd name="connsiteX0" fmla="*/ 209934 w 419867"/>
                <a:gd name="connsiteY0" fmla="*/ 0 h 419867"/>
                <a:gd name="connsiteX1" fmla="*/ 0 w 419867"/>
                <a:gd name="connsiteY1" fmla="*/ 209934 h 419867"/>
                <a:gd name="connsiteX2" fmla="*/ 209934 w 419867"/>
                <a:gd name="connsiteY2" fmla="*/ 419868 h 419867"/>
                <a:gd name="connsiteX3" fmla="*/ 419868 w 419867"/>
                <a:gd name="connsiteY3" fmla="*/ 209934 h 419867"/>
                <a:gd name="connsiteX4" fmla="*/ 209934 w 419867"/>
                <a:gd name="connsiteY4" fmla="*/ 0 h 419867"/>
                <a:gd name="connsiteX5" fmla="*/ 209934 w 419867"/>
                <a:gd name="connsiteY5" fmla="*/ 297182 h 419867"/>
                <a:gd name="connsiteX6" fmla="*/ 122686 w 419867"/>
                <a:gd name="connsiteY6" fmla="*/ 209934 h 419867"/>
                <a:gd name="connsiteX7" fmla="*/ 209934 w 419867"/>
                <a:gd name="connsiteY7" fmla="*/ 122686 h 419867"/>
                <a:gd name="connsiteX8" fmla="*/ 297182 w 419867"/>
                <a:gd name="connsiteY8" fmla="*/ 209934 h 419867"/>
                <a:gd name="connsiteX9" fmla="*/ 209934 w 419867"/>
                <a:gd name="connsiteY9" fmla="*/ 297182 h 419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19867" h="419867">
                  <a:moveTo>
                    <a:pt x="209934" y="0"/>
                  </a:moveTo>
                  <a:cubicBezTo>
                    <a:pt x="94084" y="0"/>
                    <a:pt x="0" y="93904"/>
                    <a:pt x="0" y="209934"/>
                  </a:cubicBezTo>
                  <a:cubicBezTo>
                    <a:pt x="0" y="325964"/>
                    <a:pt x="94084" y="419868"/>
                    <a:pt x="209934" y="419868"/>
                  </a:cubicBezTo>
                  <a:cubicBezTo>
                    <a:pt x="325784" y="419868"/>
                    <a:pt x="419868" y="325784"/>
                    <a:pt x="419868" y="209934"/>
                  </a:cubicBezTo>
                  <a:cubicBezTo>
                    <a:pt x="419868" y="94083"/>
                    <a:pt x="325964" y="0"/>
                    <a:pt x="209934" y="0"/>
                  </a:cubicBezTo>
                  <a:close/>
                  <a:moveTo>
                    <a:pt x="209934" y="297182"/>
                  </a:moveTo>
                  <a:cubicBezTo>
                    <a:pt x="161903" y="297182"/>
                    <a:pt x="122686" y="257965"/>
                    <a:pt x="122686" y="209934"/>
                  </a:cubicBezTo>
                  <a:cubicBezTo>
                    <a:pt x="122686" y="161903"/>
                    <a:pt x="161903" y="122686"/>
                    <a:pt x="209934" y="122686"/>
                  </a:cubicBezTo>
                  <a:cubicBezTo>
                    <a:pt x="257965" y="122686"/>
                    <a:pt x="297182" y="161723"/>
                    <a:pt x="297182" y="209934"/>
                  </a:cubicBezTo>
                  <a:cubicBezTo>
                    <a:pt x="297182" y="258145"/>
                    <a:pt x="258145" y="297182"/>
                    <a:pt x="209934" y="297182"/>
                  </a:cubicBezTo>
                  <a:close/>
                </a:path>
              </a:pathLst>
            </a:custGeom>
            <a:gradFill>
              <a:gsLst>
                <a:gs pos="0">
                  <a:schemeClr val="bg2">
                    <a:alpha val="69000"/>
                  </a:schemeClr>
                </a:gs>
                <a:gs pos="100000">
                  <a:schemeClr val="bg2">
                    <a:lumMod val="60000"/>
                    <a:lumOff val="40000"/>
                    <a:alpha val="45000"/>
                  </a:schemeClr>
                </a:gs>
              </a:gsLst>
              <a:lin ang="13500000" scaled="1"/>
            </a:gradFill>
            <a:ln w="17980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2A446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55" name="Freeform: Shape 61">
            <a:extLst>
              <a:ext uri="{FF2B5EF4-FFF2-40B4-BE49-F238E27FC236}">
                <a16:creationId xmlns:a16="http://schemas.microsoft.com/office/drawing/2014/main" id="{D15967A4-BAA2-82AC-F7BE-3E1413C52D41}"/>
              </a:ext>
            </a:extLst>
          </p:cNvPr>
          <p:cNvSpPr/>
          <p:nvPr userDrawn="1"/>
        </p:nvSpPr>
        <p:spPr>
          <a:xfrm>
            <a:off x="5217" y="-3432"/>
            <a:ext cx="12181566" cy="6864864"/>
          </a:xfrm>
          <a:custGeom>
            <a:avLst/>
            <a:gdLst>
              <a:gd name="connsiteX0" fmla="*/ 0 w 12192000"/>
              <a:gd name="connsiteY0" fmla="*/ 0 h 6864864"/>
              <a:gd name="connsiteX1" fmla="*/ 12192000 w 12192000"/>
              <a:gd name="connsiteY1" fmla="*/ 0 h 6864864"/>
              <a:gd name="connsiteX2" fmla="*/ 12192000 w 12192000"/>
              <a:gd name="connsiteY2" fmla="*/ 6864864 h 6864864"/>
              <a:gd name="connsiteX3" fmla="*/ 0 w 12192000"/>
              <a:gd name="connsiteY3" fmla="*/ 6864864 h 6864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64864">
                <a:moveTo>
                  <a:pt x="0" y="0"/>
                </a:moveTo>
                <a:lnTo>
                  <a:pt x="12192000" y="0"/>
                </a:lnTo>
                <a:lnTo>
                  <a:pt x="12192000" y="6864864"/>
                </a:lnTo>
                <a:lnTo>
                  <a:pt x="0" y="6864864"/>
                </a:lnTo>
                <a:close/>
              </a:path>
            </a:pathLst>
          </a:custGeom>
          <a:solidFill>
            <a:schemeClr val="bg2">
              <a:lumMod val="75000"/>
              <a:alpha val="49000"/>
            </a:schemeClr>
          </a:solidFill>
          <a:ln w="1373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72941A31-60B9-B997-30A8-CB6BB4564D02}"/>
              </a:ext>
            </a:extLst>
          </p:cNvPr>
          <p:cNvGrpSpPr/>
          <p:nvPr userDrawn="1"/>
        </p:nvGrpSpPr>
        <p:grpSpPr>
          <a:xfrm>
            <a:off x="604894" y="597820"/>
            <a:ext cx="3084456" cy="292608"/>
            <a:chOff x="604894" y="597820"/>
            <a:chExt cx="3084456" cy="292608"/>
          </a:xfrm>
        </p:grpSpPr>
        <p:pic>
          <p:nvPicPr>
            <p:cNvPr id="32" name="Graphic 31" descr="Microsoft Power Platform logo">
              <a:extLst>
                <a:ext uri="{FF2B5EF4-FFF2-40B4-BE49-F238E27FC236}">
                  <a16:creationId xmlns:a16="http://schemas.microsoft.com/office/drawing/2014/main" id="{C26F65A8-BC3C-8854-C76A-F2F834B9AA70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89499"/>
            <a:stretch/>
          </p:blipFill>
          <p:spPr>
            <a:xfrm>
              <a:off x="604894" y="597820"/>
              <a:ext cx="322206" cy="292608"/>
            </a:xfrm>
            <a:prstGeom prst="rect">
              <a:avLst/>
            </a:prstGeom>
          </p:spPr>
        </p:pic>
        <p:pic>
          <p:nvPicPr>
            <p:cNvPr id="33" name="Graphic 32" descr="Microsoft Power Platform logo">
              <a:extLst>
                <a:ext uri="{FF2B5EF4-FFF2-40B4-BE49-F238E27FC236}">
                  <a16:creationId xmlns:a16="http://schemas.microsoft.com/office/drawing/2014/main" id="{F8D9193D-3E4B-5CB3-9662-2206A3EE0255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lum bright="100000"/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l="11123" r="-527"/>
            <a:stretch/>
          </p:blipFill>
          <p:spPr>
            <a:xfrm>
              <a:off x="946150" y="597820"/>
              <a:ext cx="2743200" cy="292608"/>
            </a:xfrm>
            <a:prstGeom prst="rect">
              <a:avLst/>
            </a:prstGeom>
          </p:spPr>
        </p:pic>
      </p:grp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604894" y="1852015"/>
            <a:ext cx="5486400" cy="1231106"/>
          </a:xfrm>
          <a:noFill/>
        </p:spPr>
        <p:txBody>
          <a:bodyPr wrap="square" lIns="0" tIns="0" rIns="0" bIns="0" anchor="b" anchorCtr="0">
            <a:spAutoFit/>
          </a:bodyPr>
          <a:lstStyle>
            <a:lvl1pPr>
              <a:defRPr kumimoji="0" lang="en-US" sz="40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604894" y="3464888"/>
            <a:ext cx="5486400" cy="492443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kumimoji="0" lang="en-US" sz="32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en-US"/>
              <a:t>Speaker nam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2BE9B4C-457B-DAE3-024C-78127F20AD6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4894" y="4298751"/>
            <a:ext cx="5486400" cy="1255728"/>
          </a:xfrm>
        </p:spPr>
        <p:txBody>
          <a:bodyPr/>
          <a:lstStyle>
            <a:lvl1pPr marL="0" indent="0">
              <a:spcBef>
                <a:spcPts val="24"/>
              </a:spcBef>
              <a:buNone/>
              <a:defRPr kumimoji="0" lang="en-US" sz="24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en-US"/>
              <a:t>Title</a:t>
            </a:r>
          </a:p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en-US"/>
              <a:t>Company</a:t>
            </a:r>
          </a:p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en-US"/>
              <a:t>Other information</a:t>
            </a:r>
          </a:p>
        </p:txBody>
      </p:sp>
    </p:spTree>
    <p:extLst>
      <p:ext uri="{BB962C8B-B14F-4D97-AF65-F5344CB8AC3E}">
        <p14:creationId xmlns:p14="http://schemas.microsoft.com/office/powerpoint/2010/main" val="12016731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384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: Shape 7">
            <a:extLst>
              <a:ext uri="{FF2B5EF4-FFF2-40B4-BE49-F238E27FC236}">
                <a16:creationId xmlns:a16="http://schemas.microsoft.com/office/drawing/2014/main" id="{1067BC7C-A773-9F81-5271-6D864B0795C1}"/>
              </a:ext>
            </a:extLst>
          </p:cNvPr>
          <p:cNvSpPr/>
          <p:nvPr userDrawn="1"/>
        </p:nvSpPr>
        <p:spPr>
          <a:xfrm>
            <a:off x="-4706" y="0"/>
            <a:ext cx="12192000" cy="6864864"/>
          </a:xfrm>
          <a:custGeom>
            <a:avLst/>
            <a:gdLst>
              <a:gd name="connsiteX0" fmla="*/ 0 w 12192000"/>
              <a:gd name="connsiteY0" fmla="*/ 0 h 6864864"/>
              <a:gd name="connsiteX1" fmla="*/ 12192000 w 12192000"/>
              <a:gd name="connsiteY1" fmla="*/ 0 h 6864864"/>
              <a:gd name="connsiteX2" fmla="*/ 12192000 w 12192000"/>
              <a:gd name="connsiteY2" fmla="*/ 6864864 h 6864864"/>
              <a:gd name="connsiteX3" fmla="*/ 0 w 12192000"/>
              <a:gd name="connsiteY3" fmla="*/ 6864864 h 6864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64864">
                <a:moveTo>
                  <a:pt x="0" y="0"/>
                </a:moveTo>
                <a:lnTo>
                  <a:pt x="12192000" y="0"/>
                </a:lnTo>
                <a:lnTo>
                  <a:pt x="12192000" y="6864864"/>
                </a:lnTo>
                <a:lnTo>
                  <a:pt x="0" y="6864864"/>
                </a:lnTo>
                <a:close/>
              </a:path>
            </a:pathLst>
          </a:custGeom>
          <a:solidFill>
            <a:schemeClr val="bg1"/>
          </a:solidFill>
          <a:ln w="1373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604894" y="1885586"/>
            <a:ext cx="6843656" cy="1661993"/>
          </a:xfrm>
          <a:noFill/>
        </p:spPr>
        <p:txBody>
          <a:bodyPr wrap="square" lIns="0" tIns="0" rIns="0" bIns="0" anchor="b" anchorCtr="0">
            <a:spAutoFit/>
          </a:bodyPr>
          <a:lstStyle>
            <a:lvl1pPr>
              <a:defRPr kumimoji="0" lang="en-US" sz="5400" b="0" i="0" u="none" strike="noStrike" kern="1200" cap="none" spc="0" normalizeH="0" baseline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604894" y="4341585"/>
            <a:ext cx="54864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kumimoji="0" lang="en-US" sz="2000" b="0" i="0" u="none" strike="noStrike" kern="1200" cap="none" spc="0" normalizeH="0" baseline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en-US"/>
              <a:t>Speaker nam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2BE9B4C-457B-DAE3-024C-78127F20AD6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4894" y="4939193"/>
            <a:ext cx="5486400" cy="941796"/>
          </a:xfrm>
        </p:spPr>
        <p:txBody>
          <a:bodyPr/>
          <a:lstStyle>
            <a:lvl1pPr marL="0" indent="0">
              <a:spcBef>
                <a:spcPts val="24"/>
              </a:spcBef>
              <a:buNone/>
              <a:defRPr kumimoji="0" lang="en-US" sz="1800" b="0" i="0" u="none" strike="noStrike" kern="1200" cap="none" spc="0" normalizeH="0" baseline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en-US"/>
              <a:t>Title</a:t>
            </a:r>
          </a:p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en-US"/>
              <a:t>Company</a:t>
            </a:r>
          </a:p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en-US"/>
              <a:t>Other information</a:t>
            </a:r>
          </a:p>
        </p:txBody>
      </p:sp>
      <p:sp>
        <p:nvSpPr>
          <p:cNvPr id="4" name="Free-form: Shape 3">
            <a:extLst>
              <a:ext uri="{FF2B5EF4-FFF2-40B4-BE49-F238E27FC236}">
                <a16:creationId xmlns:a16="http://schemas.microsoft.com/office/drawing/2014/main" id="{FFA50941-9749-E449-4B27-E57EEC8DD5F3}"/>
              </a:ext>
            </a:extLst>
          </p:cNvPr>
          <p:cNvSpPr/>
          <p:nvPr userDrawn="1"/>
        </p:nvSpPr>
        <p:spPr bwMode="auto">
          <a:xfrm>
            <a:off x="7436274" y="-3432"/>
            <a:ext cx="4427515" cy="6864864"/>
          </a:xfrm>
          <a:custGeom>
            <a:avLst/>
            <a:gdLst>
              <a:gd name="connsiteX0" fmla="*/ 1789133 w 4427515"/>
              <a:gd name="connsiteY0" fmla="*/ 861707 h 6864864"/>
              <a:gd name="connsiteX1" fmla="*/ 4427515 w 4427515"/>
              <a:gd name="connsiteY1" fmla="*/ 3493895 h 6864864"/>
              <a:gd name="connsiteX2" fmla="*/ 1048613 w 4427515"/>
              <a:gd name="connsiteY2" fmla="*/ 6864864 h 6864864"/>
              <a:gd name="connsiteX3" fmla="*/ 123215 w 4427515"/>
              <a:gd name="connsiteY3" fmla="*/ 6864864 h 6864864"/>
              <a:gd name="connsiteX4" fmla="*/ 3502117 w 4427515"/>
              <a:gd name="connsiteY4" fmla="*/ 3493895 h 6864864"/>
              <a:gd name="connsiteX5" fmla="*/ 1326978 w 4427515"/>
              <a:gd name="connsiteY5" fmla="*/ 1323862 h 6864864"/>
              <a:gd name="connsiteX6" fmla="*/ 0 w 4427515"/>
              <a:gd name="connsiteY6" fmla="*/ 0 h 6864864"/>
              <a:gd name="connsiteX7" fmla="*/ 925398 w 4427515"/>
              <a:gd name="connsiteY7" fmla="*/ 0 h 6864864"/>
              <a:gd name="connsiteX8" fmla="*/ 1146848 w 4427515"/>
              <a:gd name="connsiteY8" fmla="*/ 220930 h 6864864"/>
              <a:gd name="connsiteX9" fmla="*/ 684693 w 4427515"/>
              <a:gd name="connsiteY9" fmla="*/ 683085 h 6864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427515" h="6864864">
                <a:moveTo>
                  <a:pt x="1789133" y="861707"/>
                </a:moveTo>
                <a:lnTo>
                  <a:pt x="4427515" y="3493895"/>
                </a:lnTo>
                <a:lnTo>
                  <a:pt x="1048613" y="6864864"/>
                </a:lnTo>
                <a:lnTo>
                  <a:pt x="123215" y="6864864"/>
                </a:lnTo>
                <a:lnTo>
                  <a:pt x="3502117" y="3493895"/>
                </a:lnTo>
                <a:lnTo>
                  <a:pt x="1326978" y="1323862"/>
                </a:lnTo>
                <a:close/>
                <a:moveTo>
                  <a:pt x="0" y="0"/>
                </a:moveTo>
                <a:lnTo>
                  <a:pt x="925398" y="0"/>
                </a:lnTo>
                <a:lnTo>
                  <a:pt x="1146848" y="220930"/>
                </a:lnTo>
                <a:lnTo>
                  <a:pt x="684693" y="683085"/>
                </a:lnTo>
                <a:close/>
              </a:path>
            </a:pathLst>
          </a:custGeom>
          <a:gradFill flip="none" rotWithShape="1">
            <a:gsLst>
              <a:gs pos="58000">
                <a:schemeClr val="bg2">
                  <a:lumMod val="75000"/>
                </a:schemeClr>
              </a:gs>
              <a:gs pos="100000">
                <a:schemeClr val="bg2">
                  <a:lumMod val="75000"/>
                  <a:alpha val="0"/>
                </a:schemeClr>
              </a:gs>
            </a:gsLst>
            <a:lin ang="16200000" scaled="1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" name="Free-form: Shape 11">
            <a:extLst>
              <a:ext uri="{FF2B5EF4-FFF2-40B4-BE49-F238E27FC236}">
                <a16:creationId xmlns:a16="http://schemas.microsoft.com/office/drawing/2014/main" id="{85FAB7B8-87AF-BFFD-9EF8-D4760A0DDFAA}"/>
              </a:ext>
            </a:extLst>
          </p:cNvPr>
          <p:cNvSpPr/>
          <p:nvPr userDrawn="1"/>
        </p:nvSpPr>
        <p:spPr bwMode="auto">
          <a:xfrm>
            <a:off x="4775200" y="-3432"/>
            <a:ext cx="7416800" cy="6861432"/>
          </a:xfrm>
          <a:custGeom>
            <a:avLst/>
            <a:gdLst>
              <a:gd name="connsiteX0" fmla="*/ 3910617 w 7416800"/>
              <a:gd name="connsiteY0" fmla="*/ 0 h 6861432"/>
              <a:gd name="connsiteX1" fmla="*/ 6331089 w 7416800"/>
              <a:gd name="connsiteY1" fmla="*/ 0 h 6861432"/>
              <a:gd name="connsiteX2" fmla="*/ 7416800 w 7416800"/>
              <a:gd name="connsiteY2" fmla="*/ 1078655 h 6861432"/>
              <a:gd name="connsiteX3" fmla="*/ 7416800 w 7416800"/>
              <a:gd name="connsiteY3" fmla="*/ 1897573 h 6861432"/>
              <a:gd name="connsiteX4" fmla="*/ 2420472 w 7416800"/>
              <a:gd name="connsiteY4" fmla="*/ 6861432 h 6861432"/>
              <a:gd name="connsiteX5" fmla="*/ 0 w 7416800"/>
              <a:gd name="connsiteY5" fmla="*/ 6861432 h 6861432"/>
              <a:gd name="connsiteX6" fmla="*/ 5408465 w 7416800"/>
              <a:gd name="connsiteY6" fmla="*/ 1488114 h 6861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416800" h="6861432">
                <a:moveTo>
                  <a:pt x="3910617" y="0"/>
                </a:moveTo>
                <a:lnTo>
                  <a:pt x="6331089" y="0"/>
                </a:lnTo>
                <a:lnTo>
                  <a:pt x="7416800" y="1078655"/>
                </a:lnTo>
                <a:lnTo>
                  <a:pt x="7416800" y="1897573"/>
                </a:lnTo>
                <a:lnTo>
                  <a:pt x="2420472" y="6861432"/>
                </a:lnTo>
                <a:lnTo>
                  <a:pt x="0" y="6861432"/>
                </a:lnTo>
                <a:lnTo>
                  <a:pt x="5408465" y="1488114"/>
                </a:lnTo>
                <a:close/>
              </a:path>
            </a:pathLst>
          </a:custGeom>
          <a:gradFill flip="none" rotWithShape="1">
            <a:gsLst>
              <a:gs pos="0">
                <a:schemeClr val="bg2">
                  <a:lumMod val="50000"/>
                </a:schemeClr>
              </a:gs>
              <a:gs pos="100000">
                <a:schemeClr val="bg2">
                  <a:lumMod val="50000"/>
                  <a:alpha val="0"/>
                </a:schemeClr>
              </a:gs>
            </a:gsLst>
            <a:lin ang="5400000" scaled="1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" name="Diamond 12">
            <a:extLst>
              <a:ext uri="{FF2B5EF4-FFF2-40B4-BE49-F238E27FC236}">
                <a16:creationId xmlns:a16="http://schemas.microsoft.com/office/drawing/2014/main" id="{28C9EB09-87DA-8721-20A2-ED61E9585A23}"/>
              </a:ext>
            </a:extLst>
          </p:cNvPr>
          <p:cNvSpPr/>
          <p:nvPr userDrawn="1"/>
        </p:nvSpPr>
        <p:spPr bwMode="auto">
          <a:xfrm>
            <a:off x="7589180" y="4504882"/>
            <a:ext cx="1897720" cy="1897720"/>
          </a:xfrm>
          <a:prstGeom prst="diamond">
            <a:avLst/>
          </a:prstGeom>
          <a:solidFill>
            <a:srgbClr val="2A446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" name="Free-form: Shape 13">
            <a:extLst>
              <a:ext uri="{FF2B5EF4-FFF2-40B4-BE49-F238E27FC236}">
                <a16:creationId xmlns:a16="http://schemas.microsoft.com/office/drawing/2014/main" id="{6F2B9B44-A761-B9A5-749A-5AF83CA02EC5}"/>
              </a:ext>
            </a:extLst>
          </p:cNvPr>
          <p:cNvSpPr/>
          <p:nvPr userDrawn="1"/>
        </p:nvSpPr>
        <p:spPr bwMode="auto">
          <a:xfrm>
            <a:off x="7975624" y="-3431"/>
            <a:ext cx="4216376" cy="4663101"/>
          </a:xfrm>
          <a:custGeom>
            <a:avLst/>
            <a:gdLst>
              <a:gd name="connsiteX0" fmla="*/ 1488113 w 4216376"/>
              <a:gd name="connsiteY0" fmla="*/ 0 h 4663101"/>
              <a:gd name="connsiteX1" fmla="*/ 4216376 w 4216376"/>
              <a:gd name="connsiteY1" fmla="*/ 0 h 4663101"/>
              <a:gd name="connsiteX2" fmla="*/ 4216376 w 4216376"/>
              <a:gd name="connsiteY2" fmla="*/ 3621713 h 4663101"/>
              <a:gd name="connsiteX3" fmla="*/ 3174988 w 4216376"/>
              <a:gd name="connsiteY3" fmla="*/ 4663101 h 4663101"/>
              <a:gd name="connsiteX4" fmla="*/ 0 w 4216376"/>
              <a:gd name="connsiteY4" fmla="*/ 1488113 h 4663101"/>
              <a:gd name="connsiteX5" fmla="*/ 382797 w 4216376"/>
              <a:gd name="connsiteY5" fmla="*/ 1105316 h 4663101"/>
              <a:gd name="connsiteX6" fmla="*/ 694485 w 4216376"/>
              <a:gd name="connsiteY6" fmla="*/ 1417004 h 4663101"/>
              <a:gd name="connsiteX7" fmla="*/ 1336016 w 4216376"/>
              <a:gd name="connsiteY7" fmla="*/ 775473 h 4663101"/>
              <a:gd name="connsiteX8" fmla="*/ 1024328 w 4216376"/>
              <a:gd name="connsiteY8" fmla="*/ 463785 h 4663101"/>
              <a:gd name="connsiteX0" fmla="*/ 4216376 w 4307816"/>
              <a:gd name="connsiteY0" fmla="*/ 0 h 4663101"/>
              <a:gd name="connsiteX1" fmla="*/ 4216376 w 4307816"/>
              <a:gd name="connsiteY1" fmla="*/ 3621713 h 4663101"/>
              <a:gd name="connsiteX2" fmla="*/ 3174988 w 4307816"/>
              <a:gd name="connsiteY2" fmla="*/ 4663101 h 4663101"/>
              <a:gd name="connsiteX3" fmla="*/ 0 w 4307816"/>
              <a:gd name="connsiteY3" fmla="*/ 1488113 h 4663101"/>
              <a:gd name="connsiteX4" fmla="*/ 382797 w 4307816"/>
              <a:gd name="connsiteY4" fmla="*/ 1105316 h 4663101"/>
              <a:gd name="connsiteX5" fmla="*/ 694485 w 4307816"/>
              <a:gd name="connsiteY5" fmla="*/ 1417004 h 4663101"/>
              <a:gd name="connsiteX6" fmla="*/ 1336016 w 4307816"/>
              <a:gd name="connsiteY6" fmla="*/ 775473 h 4663101"/>
              <a:gd name="connsiteX7" fmla="*/ 1024328 w 4307816"/>
              <a:gd name="connsiteY7" fmla="*/ 463785 h 4663101"/>
              <a:gd name="connsiteX8" fmla="*/ 1488113 w 4307816"/>
              <a:gd name="connsiteY8" fmla="*/ 0 h 4663101"/>
              <a:gd name="connsiteX9" fmla="*/ 4307816 w 4307816"/>
              <a:gd name="connsiteY9" fmla="*/ 91440 h 4663101"/>
              <a:gd name="connsiteX0" fmla="*/ 4216376 w 4216376"/>
              <a:gd name="connsiteY0" fmla="*/ 0 h 4663101"/>
              <a:gd name="connsiteX1" fmla="*/ 4216376 w 4216376"/>
              <a:gd name="connsiteY1" fmla="*/ 3621713 h 4663101"/>
              <a:gd name="connsiteX2" fmla="*/ 3174988 w 4216376"/>
              <a:gd name="connsiteY2" fmla="*/ 4663101 h 4663101"/>
              <a:gd name="connsiteX3" fmla="*/ 0 w 4216376"/>
              <a:gd name="connsiteY3" fmla="*/ 1488113 h 4663101"/>
              <a:gd name="connsiteX4" fmla="*/ 382797 w 4216376"/>
              <a:gd name="connsiteY4" fmla="*/ 1105316 h 4663101"/>
              <a:gd name="connsiteX5" fmla="*/ 694485 w 4216376"/>
              <a:gd name="connsiteY5" fmla="*/ 1417004 h 4663101"/>
              <a:gd name="connsiteX6" fmla="*/ 1336016 w 4216376"/>
              <a:gd name="connsiteY6" fmla="*/ 775473 h 4663101"/>
              <a:gd name="connsiteX7" fmla="*/ 1024328 w 4216376"/>
              <a:gd name="connsiteY7" fmla="*/ 463785 h 4663101"/>
              <a:gd name="connsiteX8" fmla="*/ 1488113 w 4216376"/>
              <a:gd name="connsiteY8" fmla="*/ 0 h 4663101"/>
              <a:gd name="connsiteX0" fmla="*/ 4216376 w 4216376"/>
              <a:gd name="connsiteY0" fmla="*/ 3621713 h 4663101"/>
              <a:gd name="connsiteX1" fmla="*/ 3174988 w 4216376"/>
              <a:gd name="connsiteY1" fmla="*/ 4663101 h 4663101"/>
              <a:gd name="connsiteX2" fmla="*/ 0 w 4216376"/>
              <a:gd name="connsiteY2" fmla="*/ 1488113 h 4663101"/>
              <a:gd name="connsiteX3" fmla="*/ 382797 w 4216376"/>
              <a:gd name="connsiteY3" fmla="*/ 1105316 h 4663101"/>
              <a:gd name="connsiteX4" fmla="*/ 694485 w 4216376"/>
              <a:gd name="connsiteY4" fmla="*/ 1417004 h 4663101"/>
              <a:gd name="connsiteX5" fmla="*/ 1336016 w 4216376"/>
              <a:gd name="connsiteY5" fmla="*/ 775473 h 4663101"/>
              <a:gd name="connsiteX6" fmla="*/ 1024328 w 4216376"/>
              <a:gd name="connsiteY6" fmla="*/ 463785 h 4663101"/>
              <a:gd name="connsiteX7" fmla="*/ 1488113 w 4216376"/>
              <a:gd name="connsiteY7" fmla="*/ 0 h 46631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16376" h="4663101">
                <a:moveTo>
                  <a:pt x="4216376" y="3621713"/>
                </a:moveTo>
                <a:lnTo>
                  <a:pt x="3174988" y="4663101"/>
                </a:lnTo>
                <a:lnTo>
                  <a:pt x="0" y="1488113"/>
                </a:lnTo>
                <a:lnTo>
                  <a:pt x="382797" y="1105316"/>
                </a:lnTo>
                <a:lnTo>
                  <a:pt x="694485" y="1417004"/>
                </a:lnTo>
                <a:lnTo>
                  <a:pt x="1336016" y="775473"/>
                </a:lnTo>
                <a:lnTo>
                  <a:pt x="1024328" y="463785"/>
                </a:lnTo>
                <a:lnTo>
                  <a:pt x="1488113" y="0"/>
                </a:lnTo>
              </a:path>
            </a:pathLst>
          </a:custGeom>
          <a:noFill/>
          <a:ln w="127000" cap="rnd">
            <a:solidFill>
              <a:srgbClr val="2A446F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B9DCD2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" name="Diamond 14">
            <a:extLst>
              <a:ext uri="{FF2B5EF4-FFF2-40B4-BE49-F238E27FC236}">
                <a16:creationId xmlns:a16="http://schemas.microsoft.com/office/drawing/2014/main" id="{9C9F5CBC-58F1-15AF-119A-A1B8E949CF33}"/>
              </a:ext>
            </a:extLst>
          </p:cNvPr>
          <p:cNvSpPr/>
          <p:nvPr userDrawn="1"/>
        </p:nvSpPr>
        <p:spPr bwMode="auto">
          <a:xfrm>
            <a:off x="8028578" y="130511"/>
            <a:ext cx="1283062" cy="1283062"/>
          </a:xfrm>
          <a:prstGeom prst="diamond">
            <a:avLst/>
          </a:prstGeom>
          <a:noFill/>
          <a:ln w="127000">
            <a:solidFill>
              <a:srgbClr val="2A446F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B9DCD2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6" name="Diamond 15">
            <a:extLst>
              <a:ext uri="{FF2B5EF4-FFF2-40B4-BE49-F238E27FC236}">
                <a16:creationId xmlns:a16="http://schemas.microsoft.com/office/drawing/2014/main" id="{987EA32E-C453-21B7-9E4A-DB92C0B0EBD5}"/>
              </a:ext>
            </a:extLst>
          </p:cNvPr>
          <p:cNvSpPr/>
          <p:nvPr userDrawn="1"/>
        </p:nvSpPr>
        <p:spPr bwMode="auto">
          <a:xfrm>
            <a:off x="9969522" y="3726553"/>
            <a:ext cx="2362178" cy="2362178"/>
          </a:xfrm>
          <a:prstGeom prst="diamond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7" name="Free-form: Shape 16">
            <a:extLst>
              <a:ext uri="{FF2B5EF4-FFF2-40B4-BE49-F238E27FC236}">
                <a16:creationId xmlns:a16="http://schemas.microsoft.com/office/drawing/2014/main" id="{4FED8837-EA82-0134-1B2A-985F3BAB653E}"/>
              </a:ext>
            </a:extLst>
          </p:cNvPr>
          <p:cNvSpPr/>
          <p:nvPr userDrawn="1"/>
        </p:nvSpPr>
        <p:spPr bwMode="auto">
          <a:xfrm>
            <a:off x="9566574" y="5987398"/>
            <a:ext cx="1150822" cy="874035"/>
          </a:xfrm>
          <a:custGeom>
            <a:avLst/>
            <a:gdLst>
              <a:gd name="connsiteX0" fmla="*/ 575411 w 1150822"/>
              <a:gd name="connsiteY0" fmla="*/ 0 h 874035"/>
              <a:gd name="connsiteX1" fmla="*/ 1150822 w 1150822"/>
              <a:gd name="connsiteY1" fmla="*/ 575411 h 874035"/>
              <a:gd name="connsiteX2" fmla="*/ 852198 w 1150822"/>
              <a:gd name="connsiteY2" fmla="*/ 874035 h 874035"/>
              <a:gd name="connsiteX3" fmla="*/ 298624 w 1150822"/>
              <a:gd name="connsiteY3" fmla="*/ 874035 h 874035"/>
              <a:gd name="connsiteX4" fmla="*/ 0 w 1150822"/>
              <a:gd name="connsiteY4" fmla="*/ 575411 h 874035"/>
              <a:gd name="connsiteX0" fmla="*/ 298624 w 1150822"/>
              <a:gd name="connsiteY0" fmla="*/ 874035 h 965475"/>
              <a:gd name="connsiteX1" fmla="*/ 0 w 1150822"/>
              <a:gd name="connsiteY1" fmla="*/ 575411 h 965475"/>
              <a:gd name="connsiteX2" fmla="*/ 575411 w 1150822"/>
              <a:gd name="connsiteY2" fmla="*/ 0 h 965475"/>
              <a:gd name="connsiteX3" fmla="*/ 1150822 w 1150822"/>
              <a:gd name="connsiteY3" fmla="*/ 575411 h 965475"/>
              <a:gd name="connsiteX4" fmla="*/ 852198 w 1150822"/>
              <a:gd name="connsiteY4" fmla="*/ 874035 h 965475"/>
              <a:gd name="connsiteX5" fmla="*/ 390064 w 1150822"/>
              <a:gd name="connsiteY5" fmla="*/ 965475 h 965475"/>
              <a:gd name="connsiteX0" fmla="*/ 298624 w 1150822"/>
              <a:gd name="connsiteY0" fmla="*/ 874035 h 874035"/>
              <a:gd name="connsiteX1" fmla="*/ 0 w 1150822"/>
              <a:gd name="connsiteY1" fmla="*/ 575411 h 874035"/>
              <a:gd name="connsiteX2" fmla="*/ 575411 w 1150822"/>
              <a:gd name="connsiteY2" fmla="*/ 0 h 874035"/>
              <a:gd name="connsiteX3" fmla="*/ 1150822 w 1150822"/>
              <a:gd name="connsiteY3" fmla="*/ 575411 h 874035"/>
              <a:gd name="connsiteX4" fmla="*/ 852198 w 1150822"/>
              <a:gd name="connsiteY4" fmla="*/ 874035 h 874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0822" h="874035">
                <a:moveTo>
                  <a:pt x="298624" y="874035"/>
                </a:moveTo>
                <a:lnTo>
                  <a:pt x="0" y="575411"/>
                </a:lnTo>
                <a:lnTo>
                  <a:pt x="575411" y="0"/>
                </a:lnTo>
                <a:lnTo>
                  <a:pt x="1150822" y="575411"/>
                </a:lnTo>
                <a:lnTo>
                  <a:pt x="852198" y="874035"/>
                </a:lnTo>
              </a:path>
            </a:pathLst>
          </a:custGeom>
          <a:noFill/>
          <a:ln w="127000" cap="rnd">
            <a:solidFill>
              <a:schemeClr val="bg2">
                <a:lumMod val="40000"/>
                <a:lumOff val="6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6" name="Graphic 5" descr="Microsoft Power Platform logo">
            <a:extLst>
              <a:ext uri="{FF2B5EF4-FFF2-40B4-BE49-F238E27FC236}">
                <a16:creationId xmlns:a16="http://schemas.microsoft.com/office/drawing/2014/main" id="{FA7CC529-A277-CD99-EF97-55305D09C13B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4894" y="597820"/>
            <a:ext cx="306832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87210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384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604894" y="2182948"/>
            <a:ext cx="5486400" cy="1107996"/>
          </a:xfrm>
          <a:noFill/>
        </p:spPr>
        <p:txBody>
          <a:bodyPr wrap="square" lIns="0" tIns="0" rIns="0" bIns="0" anchor="b" anchorCtr="0">
            <a:spAutoFit/>
          </a:bodyPr>
          <a:lstStyle>
            <a:lvl1pPr marL="0"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en-US"/>
              <a:t>Event name or presentation title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2BE9B4C-457B-DAE3-024C-78127F20AD6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4894" y="4398497"/>
            <a:ext cx="5486400" cy="837152"/>
          </a:xfrm>
        </p:spPr>
        <p:txBody>
          <a:bodyPr/>
          <a:lstStyle>
            <a:lvl1pPr marL="0" indent="0">
              <a:spcBef>
                <a:spcPts val="24"/>
              </a:spcBef>
              <a:buNone/>
              <a:defRPr kumimoji="0" lang="en-US" sz="160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en-US"/>
              <a:t>Title</a:t>
            </a:r>
          </a:p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en-US"/>
              <a:t>Company</a:t>
            </a:r>
          </a:p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en-US"/>
              <a:t>Other information</a:t>
            </a:r>
          </a:p>
        </p:txBody>
      </p:sp>
      <p:pic>
        <p:nvPicPr>
          <p:cNvPr id="2" name="Graphic 1" descr="Microsoft Power Platform logo">
            <a:extLst>
              <a:ext uri="{FF2B5EF4-FFF2-40B4-BE49-F238E27FC236}">
                <a16:creationId xmlns:a16="http://schemas.microsoft.com/office/drawing/2014/main" id="{6300AC69-214E-ECBA-3398-D1A4679FBEC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4894" y="597820"/>
            <a:ext cx="3068320" cy="292608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87691690-36F4-A761-184E-4D8B145236EF}"/>
              </a:ext>
            </a:extLst>
          </p:cNvPr>
          <p:cNvSpPr/>
          <p:nvPr userDrawn="1"/>
        </p:nvSpPr>
        <p:spPr bwMode="auto">
          <a:xfrm>
            <a:off x="0" y="3582124"/>
            <a:ext cx="8932366" cy="42240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" name="Freeform: Shape 13">
            <a:extLst>
              <a:ext uri="{FF2B5EF4-FFF2-40B4-BE49-F238E27FC236}">
                <a16:creationId xmlns:a16="http://schemas.microsoft.com/office/drawing/2014/main" id="{06615309-9057-852B-2CB7-FA4544F6C1F8}"/>
              </a:ext>
            </a:extLst>
          </p:cNvPr>
          <p:cNvSpPr/>
          <p:nvPr userDrawn="1"/>
        </p:nvSpPr>
        <p:spPr>
          <a:xfrm>
            <a:off x="6622698" y="2422546"/>
            <a:ext cx="5569302" cy="4499880"/>
          </a:xfrm>
          <a:custGeom>
            <a:avLst/>
            <a:gdLst>
              <a:gd name="connsiteX0" fmla="*/ 2720111 w 2720111"/>
              <a:gd name="connsiteY0" fmla="*/ 521894 h 2197793"/>
              <a:gd name="connsiteX1" fmla="*/ 2720111 w 2720111"/>
              <a:gd name="connsiteY1" fmla="*/ 2197794 h 2197793"/>
              <a:gd name="connsiteX2" fmla="*/ 0 w 2720111"/>
              <a:gd name="connsiteY2" fmla="*/ 2197794 h 2197793"/>
              <a:gd name="connsiteX3" fmla="*/ 2198006 w 2720111"/>
              <a:gd name="connsiteY3" fmla="*/ 0 h 2197793"/>
              <a:gd name="connsiteX4" fmla="*/ 2720111 w 2720111"/>
              <a:gd name="connsiteY4" fmla="*/ 521894 h 21977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20111" h="2197793">
                <a:moveTo>
                  <a:pt x="2720111" y="521894"/>
                </a:moveTo>
                <a:lnTo>
                  <a:pt x="2720111" y="2197794"/>
                </a:lnTo>
                <a:lnTo>
                  <a:pt x="0" y="2197794"/>
                </a:lnTo>
                <a:lnTo>
                  <a:pt x="2198006" y="0"/>
                </a:lnTo>
                <a:lnTo>
                  <a:pt x="2720111" y="521894"/>
                </a:lnTo>
                <a:close/>
              </a:path>
            </a:pathLst>
          </a:custGeom>
          <a:solidFill>
            <a:schemeClr val="bg2"/>
          </a:solidFill>
          <a:ln w="13581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3" name="Freeform: Shape 14">
            <a:extLst>
              <a:ext uri="{FF2B5EF4-FFF2-40B4-BE49-F238E27FC236}">
                <a16:creationId xmlns:a16="http://schemas.microsoft.com/office/drawing/2014/main" id="{15B1E47C-0B6D-B977-1542-9E0224F05FAF}"/>
              </a:ext>
            </a:extLst>
          </p:cNvPr>
          <p:cNvSpPr/>
          <p:nvPr userDrawn="1"/>
        </p:nvSpPr>
        <p:spPr>
          <a:xfrm>
            <a:off x="11125181" y="1353992"/>
            <a:ext cx="1066820" cy="2133642"/>
          </a:xfrm>
          <a:custGeom>
            <a:avLst/>
            <a:gdLst>
              <a:gd name="connsiteX0" fmla="*/ 521048 w 521047"/>
              <a:gd name="connsiteY0" fmla="*/ 0 h 1042095"/>
              <a:gd name="connsiteX1" fmla="*/ 521048 w 521047"/>
              <a:gd name="connsiteY1" fmla="*/ 1042096 h 1042095"/>
              <a:gd name="connsiteX2" fmla="*/ 0 w 521047"/>
              <a:gd name="connsiteY2" fmla="*/ 521048 h 1042095"/>
              <a:gd name="connsiteX3" fmla="*/ 521048 w 521047"/>
              <a:gd name="connsiteY3" fmla="*/ 0 h 10420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1047" h="1042095">
                <a:moveTo>
                  <a:pt x="521048" y="0"/>
                </a:moveTo>
                <a:lnTo>
                  <a:pt x="521048" y="1042096"/>
                </a:lnTo>
                <a:lnTo>
                  <a:pt x="0" y="521048"/>
                </a:lnTo>
                <a:lnTo>
                  <a:pt x="521048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1373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4" name="Freeform: Shape 15">
            <a:extLst>
              <a:ext uri="{FF2B5EF4-FFF2-40B4-BE49-F238E27FC236}">
                <a16:creationId xmlns:a16="http://schemas.microsoft.com/office/drawing/2014/main" id="{6985CF81-637B-5A8C-68C6-0BD66131EB61}"/>
              </a:ext>
            </a:extLst>
          </p:cNvPr>
          <p:cNvSpPr/>
          <p:nvPr userDrawn="1"/>
        </p:nvSpPr>
        <p:spPr>
          <a:xfrm>
            <a:off x="5301192" y="32485"/>
            <a:ext cx="6890809" cy="6889941"/>
          </a:xfrm>
          <a:custGeom>
            <a:avLst/>
            <a:gdLst>
              <a:gd name="connsiteX0" fmla="*/ 0 w 3365550"/>
              <a:gd name="connsiteY0" fmla="*/ 3365127 h 3365126"/>
              <a:gd name="connsiteX1" fmla="*/ 645439 w 3365550"/>
              <a:gd name="connsiteY1" fmla="*/ 3365127 h 3365126"/>
              <a:gd name="connsiteX2" fmla="*/ 3365550 w 3365550"/>
              <a:gd name="connsiteY2" fmla="*/ 645439 h 3365126"/>
              <a:gd name="connsiteX3" fmla="*/ 3365550 w 3365550"/>
              <a:gd name="connsiteY3" fmla="*/ 0 h 3365126"/>
              <a:gd name="connsiteX4" fmla="*/ 0 w 3365550"/>
              <a:gd name="connsiteY4" fmla="*/ 3365127 h 33651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65550" h="3365126">
                <a:moveTo>
                  <a:pt x="0" y="3365127"/>
                </a:moveTo>
                <a:lnTo>
                  <a:pt x="645439" y="3365127"/>
                </a:lnTo>
                <a:lnTo>
                  <a:pt x="3365550" y="645439"/>
                </a:lnTo>
                <a:lnTo>
                  <a:pt x="3365550" y="0"/>
                </a:lnTo>
                <a:lnTo>
                  <a:pt x="0" y="3365127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  <a:ln w="21148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5" name="Freeform: Shape 16">
            <a:extLst>
              <a:ext uri="{FF2B5EF4-FFF2-40B4-BE49-F238E27FC236}">
                <a16:creationId xmlns:a16="http://schemas.microsoft.com/office/drawing/2014/main" id="{34FFCCB2-8B0D-E903-03D8-07A6431C42B4}"/>
              </a:ext>
            </a:extLst>
          </p:cNvPr>
          <p:cNvSpPr/>
          <p:nvPr userDrawn="1"/>
        </p:nvSpPr>
        <p:spPr>
          <a:xfrm>
            <a:off x="6013706" y="744999"/>
            <a:ext cx="6178295" cy="6177429"/>
          </a:xfrm>
          <a:custGeom>
            <a:avLst/>
            <a:gdLst>
              <a:gd name="connsiteX0" fmla="*/ 3017551 w 3017550"/>
              <a:gd name="connsiteY0" fmla="*/ 0 h 3017127"/>
              <a:gd name="connsiteX1" fmla="*/ 3017551 w 3017550"/>
              <a:gd name="connsiteY1" fmla="*/ 629361 h 3017127"/>
              <a:gd name="connsiteX2" fmla="*/ 629785 w 3017550"/>
              <a:gd name="connsiteY2" fmla="*/ 3017127 h 3017127"/>
              <a:gd name="connsiteX3" fmla="*/ 0 w 3017550"/>
              <a:gd name="connsiteY3" fmla="*/ 3017127 h 3017127"/>
              <a:gd name="connsiteX4" fmla="*/ 3017551 w 3017550"/>
              <a:gd name="connsiteY4" fmla="*/ 0 h 30171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17550" h="3017127">
                <a:moveTo>
                  <a:pt x="3017551" y="0"/>
                </a:moveTo>
                <a:lnTo>
                  <a:pt x="3017551" y="629361"/>
                </a:lnTo>
                <a:lnTo>
                  <a:pt x="629785" y="3017127"/>
                </a:lnTo>
                <a:lnTo>
                  <a:pt x="0" y="3017127"/>
                </a:lnTo>
                <a:lnTo>
                  <a:pt x="3017551" y="0"/>
                </a:lnTo>
                <a:close/>
              </a:path>
            </a:pathLst>
          </a:custGeom>
          <a:solidFill>
            <a:schemeClr val="bg2">
              <a:alpha val="30000"/>
            </a:schemeClr>
          </a:solidFill>
          <a:ln w="21148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6" name="Freeform: Shape 17">
            <a:extLst>
              <a:ext uri="{FF2B5EF4-FFF2-40B4-BE49-F238E27FC236}">
                <a16:creationId xmlns:a16="http://schemas.microsoft.com/office/drawing/2014/main" id="{303CED94-978D-A6B3-1FAE-EE2A373145F8}"/>
              </a:ext>
            </a:extLst>
          </p:cNvPr>
          <p:cNvSpPr/>
          <p:nvPr userDrawn="1"/>
        </p:nvSpPr>
        <p:spPr>
          <a:xfrm>
            <a:off x="7915187" y="0"/>
            <a:ext cx="4276814" cy="6758701"/>
          </a:xfrm>
          <a:custGeom>
            <a:avLst/>
            <a:gdLst>
              <a:gd name="connsiteX0" fmla="*/ 2088846 w 2088845"/>
              <a:gd name="connsiteY0" fmla="*/ 0 h 3301027"/>
              <a:gd name="connsiteX1" fmla="*/ 1212182 w 2088845"/>
              <a:gd name="connsiteY1" fmla="*/ 0 h 3301027"/>
              <a:gd name="connsiteX2" fmla="*/ 0 w 2088845"/>
              <a:gd name="connsiteY2" fmla="*/ 1212182 h 3301027"/>
              <a:gd name="connsiteX3" fmla="*/ 2088846 w 2088845"/>
              <a:gd name="connsiteY3" fmla="*/ 3301027 h 3301027"/>
              <a:gd name="connsiteX4" fmla="*/ 2088846 w 2088845"/>
              <a:gd name="connsiteY4" fmla="*/ 2388612 h 3301027"/>
              <a:gd name="connsiteX5" fmla="*/ 912416 w 2088845"/>
              <a:gd name="connsiteY5" fmla="*/ 1212182 h 3301027"/>
              <a:gd name="connsiteX6" fmla="*/ 2088846 w 2088845"/>
              <a:gd name="connsiteY6" fmla="*/ 35964 h 3301027"/>
              <a:gd name="connsiteX7" fmla="*/ 2088846 w 2088845"/>
              <a:gd name="connsiteY7" fmla="*/ 0 h 33010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88845" h="3301027">
                <a:moveTo>
                  <a:pt x="2088846" y="0"/>
                </a:moveTo>
                <a:lnTo>
                  <a:pt x="1212182" y="0"/>
                </a:lnTo>
                <a:lnTo>
                  <a:pt x="0" y="1212182"/>
                </a:lnTo>
                <a:lnTo>
                  <a:pt x="2088846" y="3301027"/>
                </a:lnTo>
                <a:lnTo>
                  <a:pt x="2088846" y="2388612"/>
                </a:lnTo>
                <a:lnTo>
                  <a:pt x="912416" y="1212182"/>
                </a:lnTo>
                <a:lnTo>
                  <a:pt x="2088846" y="35964"/>
                </a:lnTo>
                <a:lnTo>
                  <a:pt x="2088846" y="0"/>
                </a:lnTo>
                <a:close/>
              </a:path>
            </a:pathLst>
          </a:custGeom>
          <a:solidFill>
            <a:schemeClr val="tx2"/>
          </a:solidFill>
          <a:ln w="13581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7" name="Freeform: Shape 18">
            <a:extLst>
              <a:ext uri="{FF2B5EF4-FFF2-40B4-BE49-F238E27FC236}">
                <a16:creationId xmlns:a16="http://schemas.microsoft.com/office/drawing/2014/main" id="{9A37D814-1ED8-3FA8-04EC-F3776DBB6EC5}"/>
              </a:ext>
            </a:extLst>
          </p:cNvPr>
          <p:cNvSpPr/>
          <p:nvPr userDrawn="1"/>
        </p:nvSpPr>
        <p:spPr>
          <a:xfrm>
            <a:off x="8511618" y="0"/>
            <a:ext cx="2811070" cy="1877223"/>
          </a:xfrm>
          <a:custGeom>
            <a:avLst/>
            <a:gdLst>
              <a:gd name="connsiteX0" fmla="*/ 1372960 w 1372959"/>
              <a:gd name="connsiteY0" fmla="*/ 460333 h 916857"/>
              <a:gd name="connsiteX1" fmla="*/ 916647 w 1372959"/>
              <a:gd name="connsiteY1" fmla="*/ 916858 h 916857"/>
              <a:gd name="connsiteX2" fmla="*/ 0 w 1372959"/>
              <a:gd name="connsiteY2" fmla="*/ 0 h 916857"/>
              <a:gd name="connsiteX3" fmla="*/ 912627 w 1372959"/>
              <a:gd name="connsiteY3" fmla="*/ 0 h 916857"/>
              <a:gd name="connsiteX4" fmla="*/ 1372960 w 1372959"/>
              <a:gd name="connsiteY4" fmla="*/ 460333 h 916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72959" h="916857">
                <a:moveTo>
                  <a:pt x="1372960" y="460333"/>
                </a:moveTo>
                <a:lnTo>
                  <a:pt x="916647" y="916858"/>
                </a:lnTo>
                <a:lnTo>
                  <a:pt x="0" y="0"/>
                </a:lnTo>
                <a:lnTo>
                  <a:pt x="912627" y="0"/>
                </a:lnTo>
                <a:lnTo>
                  <a:pt x="1372960" y="460333"/>
                </a:lnTo>
                <a:close/>
              </a:path>
            </a:pathLst>
          </a:custGeom>
          <a:solidFill>
            <a:schemeClr val="bg2">
              <a:lumMod val="50000"/>
            </a:schemeClr>
          </a:solidFill>
          <a:ln w="21148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8" name="Freeform: Shape 19">
            <a:extLst>
              <a:ext uri="{FF2B5EF4-FFF2-40B4-BE49-F238E27FC236}">
                <a16:creationId xmlns:a16="http://schemas.microsoft.com/office/drawing/2014/main" id="{048EE216-B380-DCBB-4D5A-28CCD259FE2D}"/>
              </a:ext>
            </a:extLst>
          </p:cNvPr>
          <p:cNvSpPr/>
          <p:nvPr userDrawn="1"/>
        </p:nvSpPr>
        <p:spPr>
          <a:xfrm>
            <a:off x="7589900" y="0"/>
            <a:ext cx="3271932" cy="2338084"/>
          </a:xfrm>
          <a:custGeom>
            <a:avLst/>
            <a:gdLst>
              <a:gd name="connsiteX0" fmla="*/ 1598049 w 1598049"/>
              <a:gd name="connsiteY0" fmla="*/ 685634 h 1141947"/>
              <a:gd name="connsiteX1" fmla="*/ 1141524 w 1598049"/>
              <a:gd name="connsiteY1" fmla="*/ 1141947 h 1141947"/>
              <a:gd name="connsiteX2" fmla="*/ 0 w 1598049"/>
              <a:gd name="connsiteY2" fmla="*/ 0 h 1141947"/>
              <a:gd name="connsiteX3" fmla="*/ 912416 w 1598049"/>
              <a:gd name="connsiteY3" fmla="*/ 0 h 1141947"/>
              <a:gd name="connsiteX4" fmla="*/ 1598049 w 1598049"/>
              <a:gd name="connsiteY4" fmla="*/ 685634 h 11419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98049" h="1141947">
                <a:moveTo>
                  <a:pt x="1598049" y="685634"/>
                </a:moveTo>
                <a:lnTo>
                  <a:pt x="1141524" y="1141947"/>
                </a:lnTo>
                <a:lnTo>
                  <a:pt x="0" y="0"/>
                </a:lnTo>
                <a:lnTo>
                  <a:pt x="912416" y="0"/>
                </a:lnTo>
                <a:lnTo>
                  <a:pt x="1598049" y="68563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21148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2583B6A-9D33-6E0B-EE11-C4EA9408F207}"/>
              </a:ext>
            </a:extLst>
          </p:cNvPr>
          <p:cNvSpPr/>
          <p:nvPr userDrawn="1"/>
        </p:nvSpPr>
        <p:spPr bwMode="auto">
          <a:xfrm>
            <a:off x="604894" y="1952646"/>
            <a:ext cx="1033406" cy="117454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604894" y="3639437"/>
            <a:ext cx="54864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kumimoji="0" lang="en-US" sz="200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23943294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72">
          <p15:clr>
            <a:srgbClr val="5ACBF0"/>
          </p15:clr>
        </p15:guide>
        <p15:guide id="3" pos="384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3 (Light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 descr="Microsoft Power Platform logo">
            <a:extLst>
              <a:ext uri="{FF2B5EF4-FFF2-40B4-BE49-F238E27FC236}">
                <a16:creationId xmlns:a16="http://schemas.microsoft.com/office/drawing/2014/main" id="{6300AC69-214E-ECBA-3398-D1A4679FBEC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4894" y="597820"/>
            <a:ext cx="3068320" cy="292608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E083E474-2D93-03F6-E624-8032165EA87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grayscl/>
            <a:alphaModFix amt="4000"/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42275" r="2049"/>
          <a:stretch>
            <a:fillRect/>
          </a:stretch>
        </p:blipFill>
        <p:spPr>
          <a:xfrm rot="18415104" flipH="1">
            <a:off x="1641996" y="482334"/>
            <a:ext cx="12175124" cy="7556328"/>
          </a:xfrm>
          <a:custGeom>
            <a:avLst/>
            <a:gdLst>
              <a:gd name="connsiteX0" fmla="*/ 0 w 12175124"/>
              <a:gd name="connsiteY0" fmla="*/ 4787786 h 7556328"/>
              <a:gd name="connsiteX1" fmla="*/ 3597176 w 12175124"/>
              <a:gd name="connsiteY1" fmla="*/ 0 h 7556328"/>
              <a:gd name="connsiteX2" fmla="*/ 12175124 w 12175124"/>
              <a:gd name="connsiteY2" fmla="*/ 0 h 7556328"/>
              <a:gd name="connsiteX3" fmla="*/ 6497877 w 12175124"/>
              <a:gd name="connsiteY3" fmla="*/ 7556328 h 7556328"/>
              <a:gd name="connsiteX4" fmla="*/ 3684886 w 12175124"/>
              <a:gd name="connsiteY4" fmla="*/ 7556328 h 75563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75124" h="7556328">
                <a:moveTo>
                  <a:pt x="0" y="4787786"/>
                </a:moveTo>
                <a:lnTo>
                  <a:pt x="3597176" y="0"/>
                </a:lnTo>
                <a:lnTo>
                  <a:pt x="12175124" y="0"/>
                </a:lnTo>
                <a:lnTo>
                  <a:pt x="6497877" y="7556328"/>
                </a:lnTo>
                <a:lnTo>
                  <a:pt x="3684886" y="7556328"/>
                </a:lnTo>
                <a:close/>
              </a:path>
            </a:pathLst>
          </a:custGeom>
        </p:spPr>
      </p:pic>
      <p:sp>
        <p:nvSpPr>
          <p:cNvPr id="6" name="Free-form: Shape 5">
            <a:extLst>
              <a:ext uri="{FF2B5EF4-FFF2-40B4-BE49-F238E27FC236}">
                <a16:creationId xmlns:a16="http://schemas.microsoft.com/office/drawing/2014/main" id="{6CE446BC-1085-B6B0-C786-19B8B12A4D7F}"/>
              </a:ext>
            </a:extLst>
          </p:cNvPr>
          <p:cNvSpPr/>
          <p:nvPr userDrawn="1"/>
        </p:nvSpPr>
        <p:spPr bwMode="auto">
          <a:xfrm flipH="1">
            <a:off x="2270754" y="1643743"/>
            <a:ext cx="9052565" cy="4365172"/>
          </a:xfrm>
          <a:custGeom>
            <a:avLst/>
            <a:gdLst>
              <a:gd name="connsiteX0" fmla="*/ 228600 w 4343400"/>
              <a:gd name="connsiteY0" fmla="*/ 1473200 h 1473200"/>
              <a:gd name="connsiteX1" fmla="*/ 0 w 4343400"/>
              <a:gd name="connsiteY1" fmla="*/ 1473200 h 1473200"/>
              <a:gd name="connsiteX2" fmla="*/ 0 w 4343400"/>
              <a:gd name="connsiteY2" fmla="*/ 0 h 1473200"/>
              <a:gd name="connsiteX3" fmla="*/ 4343400 w 4343400"/>
              <a:gd name="connsiteY3" fmla="*/ 0 h 1473200"/>
              <a:gd name="connsiteX4" fmla="*/ 4343400 w 4343400"/>
              <a:gd name="connsiteY4" fmla="*/ 304800 h 1473200"/>
              <a:gd name="connsiteX0" fmla="*/ 0 w 4343400"/>
              <a:gd name="connsiteY0" fmla="*/ 1473200 h 1473200"/>
              <a:gd name="connsiteX1" fmla="*/ 0 w 4343400"/>
              <a:gd name="connsiteY1" fmla="*/ 0 h 1473200"/>
              <a:gd name="connsiteX2" fmla="*/ 4343400 w 4343400"/>
              <a:gd name="connsiteY2" fmla="*/ 0 h 1473200"/>
              <a:gd name="connsiteX3" fmla="*/ 4343400 w 4343400"/>
              <a:gd name="connsiteY3" fmla="*/ 304800 h 1473200"/>
              <a:gd name="connsiteX0" fmla="*/ 0 w 4343400"/>
              <a:gd name="connsiteY0" fmla="*/ 1473200 h 1473200"/>
              <a:gd name="connsiteX1" fmla="*/ 0 w 4343400"/>
              <a:gd name="connsiteY1" fmla="*/ 0 h 1473200"/>
              <a:gd name="connsiteX2" fmla="*/ 4343400 w 4343400"/>
              <a:gd name="connsiteY2" fmla="*/ 0 h 14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343400" h="1473200">
                <a:moveTo>
                  <a:pt x="0" y="1473200"/>
                </a:moveTo>
                <a:lnTo>
                  <a:pt x="0" y="0"/>
                </a:lnTo>
                <a:lnTo>
                  <a:pt x="4343400" y="0"/>
                </a:lnTo>
              </a:path>
            </a:pathLst>
          </a:custGeom>
          <a:noFill/>
          <a:ln w="6350" cap="rnd">
            <a:solidFill>
              <a:schemeClr val="bg2">
                <a:lumMod val="40000"/>
                <a:lumOff val="6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E7A7ACAA-7CED-14F7-AC14-7AA34C19D311}"/>
              </a:ext>
            </a:extLst>
          </p:cNvPr>
          <p:cNvGrpSpPr/>
          <p:nvPr userDrawn="1"/>
        </p:nvGrpSpPr>
        <p:grpSpPr>
          <a:xfrm>
            <a:off x="0" y="1857798"/>
            <a:ext cx="1999622" cy="1111528"/>
            <a:chOff x="0" y="2143857"/>
            <a:chExt cx="1647336" cy="915703"/>
          </a:xfrm>
          <a:solidFill>
            <a:schemeClr val="accent1">
              <a:lumMod val="20000"/>
              <a:lumOff val="80000"/>
            </a:schemeClr>
          </a:solidFill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E2512CC7-AD4E-0DD6-8761-D76C2A813F2A}"/>
                </a:ext>
              </a:extLst>
            </p:cNvPr>
            <p:cNvGrpSpPr/>
            <p:nvPr/>
          </p:nvGrpSpPr>
          <p:grpSpPr>
            <a:xfrm>
              <a:off x="0" y="2356582"/>
              <a:ext cx="1647336" cy="64803"/>
              <a:chOff x="0" y="2352485"/>
              <a:chExt cx="1647336" cy="64803"/>
            </a:xfrm>
            <a:grpFill/>
          </p:grpSpPr>
          <p:sp>
            <p:nvSpPr>
              <p:cNvPr id="59" name="Oval 58">
                <a:extLst>
                  <a:ext uri="{FF2B5EF4-FFF2-40B4-BE49-F238E27FC236}">
                    <a16:creationId xmlns:a16="http://schemas.microsoft.com/office/drawing/2014/main" id="{7D1A037A-CEE9-2F20-DF1C-FE9A26019C81}"/>
                  </a:ext>
                </a:extLst>
              </p:cNvPr>
              <p:cNvSpPr/>
              <p:nvPr/>
            </p:nvSpPr>
            <p:spPr bwMode="auto">
              <a:xfrm rot="5400000">
                <a:off x="1582533" y="2352485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60" name="Oval 59">
                <a:extLst>
                  <a:ext uri="{FF2B5EF4-FFF2-40B4-BE49-F238E27FC236}">
                    <a16:creationId xmlns:a16="http://schemas.microsoft.com/office/drawing/2014/main" id="{DF523661-AD4B-7473-22A0-B07EA8B18CF3}"/>
                  </a:ext>
                </a:extLst>
              </p:cNvPr>
              <p:cNvSpPr/>
              <p:nvPr/>
            </p:nvSpPr>
            <p:spPr bwMode="auto">
              <a:xfrm rot="5400000">
                <a:off x="1384717" y="2352485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61" name="Oval 60">
                <a:extLst>
                  <a:ext uri="{FF2B5EF4-FFF2-40B4-BE49-F238E27FC236}">
                    <a16:creationId xmlns:a16="http://schemas.microsoft.com/office/drawing/2014/main" id="{D7654F09-F922-54EE-5ACC-2CC4276C0081}"/>
                  </a:ext>
                </a:extLst>
              </p:cNvPr>
              <p:cNvSpPr/>
              <p:nvPr/>
            </p:nvSpPr>
            <p:spPr bwMode="auto">
              <a:xfrm rot="5400000">
                <a:off x="1186900" y="2352485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62" name="Oval 61">
                <a:extLst>
                  <a:ext uri="{FF2B5EF4-FFF2-40B4-BE49-F238E27FC236}">
                    <a16:creationId xmlns:a16="http://schemas.microsoft.com/office/drawing/2014/main" id="{92DC399E-ADEC-2741-B9A4-F77133432C07}"/>
                  </a:ext>
                </a:extLst>
              </p:cNvPr>
              <p:cNvSpPr/>
              <p:nvPr/>
            </p:nvSpPr>
            <p:spPr bwMode="auto">
              <a:xfrm>
                <a:off x="593450" y="2352485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63" name="Oval 62">
                <a:extLst>
                  <a:ext uri="{FF2B5EF4-FFF2-40B4-BE49-F238E27FC236}">
                    <a16:creationId xmlns:a16="http://schemas.microsoft.com/office/drawing/2014/main" id="{37F024E9-2BC9-7874-F21F-F1FB66F4D29D}"/>
                  </a:ext>
                </a:extLst>
              </p:cNvPr>
              <p:cNvSpPr/>
              <p:nvPr/>
            </p:nvSpPr>
            <p:spPr bwMode="auto">
              <a:xfrm rot="5400000">
                <a:off x="395633" y="2352485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856C7F18-DBDF-B629-6760-5BFA92ABD735}"/>
                  </a:ext>
                </a:extLst>
              </p:cNvPr>
              <p:cNvSpPr/>
              <p:nvPr/>
            </p:nvSpPr>
            <p:spPr bwMode="auto">
              <a:xfrm rot="5400000">
                <a:off x="197817" y="2352485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65" name="Oval 64">
                <a:extLst>
                  <a:ext uri="{FF2B5EF4-FFF2-40B4-BE49-F238E27FC236}">
                    <a16:creationId xmlns:a16="http://schemas.microsoft.com/office/drawing/2014/main" id="{875D8325-05BE-6DD7-48E8-AE19A5E4DAB0}"/>
                  </a:ext>
                </a:extLst>
              </p:cNvPr>
              <p:cNvSpPr/>
              <p:nvPr/>
            </p:nvSpPr>
            <p:spPr bwMode="auto">
              <a:xfrm rot="5400000">
                <a:off x="0" y="2352485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66" name="Oval 65">
                <a:extLst>
                  <a:ext uri="{FF2B5EF4-FFF2-40B4-BE49-F238E27FC236}">
                    <a16:creationId xmlns:a16="http://schemas.microsoft.com/office/drawing/2014/main" id="{AF0CDA91-46B4-40C5-08A8-BDEF8F9C3EFA}"/>
                  </a:ext>
                </a:extLst>
              </p:cNvPr>
              <p:cNvSpPr/>
              <p:nvPr/>
            </p:nvSpPr>
            <p:spPr bwMode="auto">
              <a:xfrm>
                <a:off x="791267" y="2352485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67" name="Oval 66">
                <a:extLst>
                  <a:ext uri="{FF2B5EF4-FFF2-40B4-BE49-F238E27FC236}">
                    <a16:creationId xmlns:a16="http://schemas.microsoft.com/office/drawing/2014/main" id="{4159C8F1-3866-08AA-DBAF-818D9708969E}"/>
                  </a:ext>
                </a:extLst>
              </p:cNvPr>
              <p:cNvSpPr/>
              <p:nvPr/>
            </p:nvSpPr>
            <p:spPr bwMode="auto">
              <a:xfrm>
                <a:off x="989083" y="2352485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644C65B9-4B78-DAC3-651F-296244D876C7}"/>
                </a:ext>
              </a:extLst>
            </p:cNvPr>
            <p:cNvGrpSpPr/>
            <p:nvPr/>
          </p:nvGrpSpPr>
          <p:grpSpPr>
            <a:xfrm>
              <a:off x="0" y="2569307"/>
              <a:ext cx="1647336" cy="64803"/>
              <a:chOff x="0" y="2561113"/>
              <a:chExt cx="1647336" cy="64803"/>
            </a:xfrm>
            <a:grpFill/>
          </p:grpSpPr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370DA5D0-7931-BA78-691D-22693942D2F1}"/>
                  </a:ext>
                </a:extLst>
              </p:cNvPr>
              <p:cNvSpPr/>
              <p:nvPr/>
            </p:nvSpPr>
            <p:spPr bwMode="auto">
              <a:xfrm rot="5400000">
                <a:off x="1582533" y="2561113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1" name="Oval 50">
                <a:extLst>
                  <a:ext uri="{FF2B5EF4-FFF2-40B4-BE49-F238E27FC236}">
                    <a16:creationId xmlns:a16="http://schemas.microsoft.com/office/drawing/2014/main" id="{144060AF-5E99-705C-C0AF-FD220E66652B}"/>
                  </a:ext>
                </a:extLst>
              </p:cNvPr>
              <p:cNvSpPr/>
              <p:nvPr/>
            </p:nvSpPr>
            <p:spPr bwMode="auto">
              <a:xfrm rot="5400000">
                <a:off x="1384717" y="2561113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2" name="Oval 51">
                <a:extLst>
                  <a:ext uri="{FF2B5EF4-FFF2-40B4-BE49-F238E27FC236}">
                    <a16:creationId xmlns:a16="http://schemas.microsoft.com/office/drawing/2014/main" id="{FA9EDADF-22C1-2331-0DFC-DCE8152D8B13}"/>
                  </a:ext>
                </a:extLst>
              </p:cNvPr>
              <p:cNvSpPr/>
              <p:nvPr/>
            </p:nvSpPr>
            <p:spPr bwMode="auto">
              <a:xfrm rot="5400000">
                <a:off x="1186900" y="2561113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3" name="Oval 52">
                <a:extLst>
                  <a:ext uri="{FF2B5EF4-FFF2-40B4-BE49-F238E27FC236}">
                    <a16:creationId xmlns:a16="http://schemas.microsoft.com/office/drawing/2014/main" id="{77139504-DCE6-64B8-7ABD-3BC6274888E8}"/>
                  </a:ext>
                </a:extLst>
              </p:cNvPr>
              <p:cNvSpPr/>
              <p:nvPr/>
            </p:nvSpPr>
            <p:spPr bwMode="auto">
              <a:xfrm>
                <a:off x="593450" y="2561113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4" name="Oval 53">
                <a:extLst>
                  <a:ext uri="{FF2B5EF4-FFF2-40B4-BE49-F238E27FC236}">
                    <a16:creationId xmlns:a16="http://schemas.microsoft.com/office/drawing/2014/main" id="{15831C21-7379-8654-824E-36019B733E20}"/>
                  </a:ext>
                </a:extLst>
              </p:cNvPr>
              <p:cNvSpPr/>
              <p:nvPr/>
            </p:nvSpPr>
            <p:spPr bwMode="auto">
              <a:xfrm rot="5400000">
                <a:off x="395633" y="2561113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5" name="Oval 54">
                <a:extLst>
                  <a:ext uri="{FF2B5EF4-FFF2-40B4-BE49-F238E27FC236}">
                    <a16:creationId xmlns:a16="http://schemas.microsoft.com/office/drawing/2014/main" id="{C33713FC-1CC6-65A0-1D2C-53DCFB92EB23}"/>
                  </a:ext>
                </a:extLst>
              </p:cNvPr>
              <p:cNvSpPr/>
              <p:nvPr/>
            </p:nvSpPr>
            <p:spPr bwMode="auto">
              <a:xfrm rot="5400000">
                <a:off x="197817" y="2561113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6" name="Oval 55">
                <a:extLst>
                  <a:ext uri="{FF2B5EF4-FFF2-40B4-BE49-F238E27FC236}">
                    <a16:creationId xmlns:a16="http://schemas.microsoft.com/office/drawing/2014/main" id="{589A2EBB-E46D-C79F-A772-103A88493792}"/>
                  </a:ext>
                </a:extLst>
              </p:cNvPr>
              <p:cNvSpPr/>
              <p:nvPr/>
            </p:nvSpPr>
            <p:spPr bwMode="auto">
              <a:xfrm rot="5400000">
                <a:off x="0" y="2561113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7" name="Oval 56">
                <a:extLst>
                  <a:ext uri="{FF2B5EF4-FFF2-40B4-BE49-F238E27FC236}">
                    <a16:creationId xmlns:a16="http://schemas.microsoft.com/office/drawing/2014/main" id="{F84CFAA5-C901-DA64-4301-65BA55DC4C9D}"/>
                  </a:ext>
                </a:extLst>
              </p:cNvPr>
              <p:cNvSpPr/>
              <p:nvPr/>
            </p:nvSpPr>
            <p:spPr bwMode="auto">
              <a:xfrm>
                <a:off x="791267" y="2561113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8" name="Oval 57">
                <a:extLst>
                  <a:ext uri="{FF2B5EF4-FFF2-40B4-BE49-F238E27FC236}">
                    <a16:creationId xmlns:a16="http://schemas.microsoft.com/office/drawing/2014/main" id="{69416453-1319-5703-E4B1-0A398B3E0B6D}"/>
                  </a:ext>
                </a:extLst>
              </p:cNvPr>
              <p:cNvSpPr/>
              <p:nvPr/>
            </p:nvSpPr>
            <p:spPr bwMode="auto">
              <a:xfrm>
                <a:off x="989083" y="2561113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75A2E959-5DAD-6810-E70E-9671474C360D}"/>
                </a:ext>
              </a:extLst>
            </p:cNvPr>
            <p:cNvGrpSpPr/>
            <p:nvPr/>
          </p:nvGrpSpPr>
          <p:grpSpPr>
            <a:xfrm>
              <a:off x="0" y="2143857"/>
              <a:ext cx="1647336" cy="64803"/>
              <a:chOff x="0" y="2143857"/>
              <a:chExt cx="1647336" cy="64803"/>
            </a:xfrm>
            <a:grpFill/>
          </p:grpSpPr>
          <p:sp>
            <p:nvSpPr>
              <p:cNvPr id="41" name="Oval 40">
                <a:extLst>
                  <a:ext uri="{FF2B5EF4-FFF2-40B4-BE49-F238E27FC236}">
                    <a16:creationId xmlns:a16="http://schemas.microsoft.com/office/drawing/2014/main" id="{B1B60CB3-E051-F18F-795E-153B8661E04D}"/>
                  </a:ext>
                </a:extLst>
              </p:cNvPr>
              <p:cNvSpPr/>
              <p:nvPr/>
            </p:nvSpPr>
            <p:spPr bwMode="auto">
              <a:xfrm rot="5400000">
                <a:off x="1582533" y="2143857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2" name="Oval 41">
                <a:extLst>
                  <a:ext uri="{FF2B5EF4-FFF2-40B4-BE49-F238E27FC236}">
                    <a16:creationId xmlns:a16="http://schemas.microsoft.com/office/drawing/2014/main" id="{6271ED59-18AD-BB11-8A40-A541A46B6139}"/>
                  </a:ext>
                </a:extLst>
              </p:cNvPr>
              <p:cNvSpPr/>
              <p:nvPr/>
            </p:nvSpPr>
            <p:spPr bwMode="auto">
              <a:xfrm rot="5400000">
                <a:off x="1384717" y="2143857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3" name="Oval 42">
                <a:extLst>
                  <a:ext uri="{FF2B5EF4-FFF2-40B4-BE49-F238E27FC236}">
                    <a16:creationId xmlns:a16="http://schemas.microsoft.com/office/drawing/2014/main" id="{2F75A833-1FC3-0C71-D380-178DE4E68234}"/>
                  </a:ext>
                </a:extLst>
              </p:cNvPr>
              <p:cNvSpPr/>
              <p:nvPr/>
            </p:nvSpPr>
            <p:spPr bwMode="auto">
              <a:xfrm rot="5400000">
                <a:off x="1186900" y="2143857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4" name="Oval 43">
                <a:extLst>
                  <a:ext uri="{FF2B5EF4-FFF2-40B4-BE49-F238E27FC236}">
                    <a16:creationId xmlns:a16="http://schemas.microsoft.com/office/drawing/2014/main" id="{49359B67-5F1E-C317-4147-B24F70374053}"/>
                  </a:ext>
                </a:extLst>
              </p:cNvPr>
              <p:cNvSpPr/>
              <p:nvPr/>
            </p:nvSpPr>
            <p:spPr bwMode="auto">
              <a:xfrm>
                <a:off x="593450" y="2143857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5" name="Oval 44">
                <a:extLst>
                  <a:ext uri="{FF2B5EF4-FFF2-40B4-BE49-F238E27FC236}">
                    <a16:creationId xmlns:a16="http://schemas.microsoft.com/office/drawing/2014/main" id="{E1DFDF77-C56B-EC48-3D58-E2FA5B4C70D9}"/>
                  </a:ext>
                </a:extLst>
              </p:cNvPr>
              <p:cNvSpPr/>
              <p:nvPr/>
            </p:nvSpPr>
            <p:spPr bwMode="auto">
              <a:xfrm rot="5400000">
                <a:off x="395633" y="2143857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6" name="Oval 45">
                <a:extLst>
                  <a:ext uri="{FF2B5EF4-FFF2-40B4-BE49-F238E27FC236}">
                    <a16:creationId xmlns:a16="http://schemas.microsoft.com/office/drawing/2014/main" id="{8697244E-D21C-88A8-45B8-CA3EB8709BD1}"/>
                  </a:ext>
                </a:extLst>
              </p:cNvPr>
              <p:cNvSpPr/>
              <p:nvPr/>
            </p:nvSpPr>
            <p:spPr bwMode="auto">
              <a:xfrm rot="5400000">
                <a:off x="197817" y="2143857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7" name="Oval 46">
                <a:extLst>
                  <a:ext uri="{FF2B5EF4-FFF2-40B4-BE49-F238E27FC236}">
                    <a16:creationId xmlns:a16="http://schemas.microsoft.com/office/drawing/2014/main" id="{A175BF42-5005-B157-631B-0B595EC9616C}"/>
                  </a:ext>
                </a:extLst>
              </p:cNvPr>
              <p:cNvSpPr/>
              <p:nvPr/>
            </p:nvSpPr>
            <p:spPr bwMode="auto">
              <a:xfrm rot="5400000">
                <a:off x="0" y="2143857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8" name="Oval 47">
                <a:extLst>
                  <a:ext uri="{FF2B5EF4-FFF2-40B4-BE49-F238E27FC236}">
                    <a16:creationId xmlns:a16="http://schemas.microsoft.com/office/drawing/2014/main" id="{80422301-E306-48BD-F945-2277A2B79120}"/>
                  </a:ext>
                </a:extLst>
              </p:cNvPr>
              <p:cNvSpPr/>
              <p:nvPr/>
            </p:nvSpPr>
            <p:spPr bwMode="auto">
              <a:xfrm>
                <a:off x="791267" y="2143857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9" name="Oval 48">
                <a:extLst>
                  <a:ext uri="{FF2B5EF4-FFF2-40B4-BE49-F238E27FC236}">
                    <a16:creationId xmlns:a16="http://schemas.microsoft.com/office/drawing/2014/main" id="{61A3776E-AAA8-7800-0579-EF76E368C1C1}"/>
                  </a:ext>
                </a:extLst>
              </p:cNvPr>
              <p:cNvSpPr/>
              <p:nvPr/>
            </p:nvSpPr>
            <p:spPr bwMode="auto">
              <a:xfrm>
                <a:off x="989083" y="2143857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571FE104-AA7C-F4DD-0D9E-16503144E9ED}"/>
                </a:ext>
              </a:extLst>
            </p:cNvPr>
            <p:cNvGrpSpPr/>
            <p:nvPr/>
          </p:nvGrpSpPr>
          <p:grpSpPr>
            <a:xfrm>
              <a:off x="0" y="2782032"/>
              <a:ext cx="1647336" cy="64803"/>
              <a:chOff x="0" y="2769740"/>
              <a:chExt cx="1647336" cy="64803"/>
            </a:xfrm>
            <a:grpFill/>
          </p:grpSpPr>
          <p:sp>
            <p:nvSpPr>
              <p:cNvPr id="32" name="Oval 31">
                <a:extLst>
                  <a:ext uri="{FF2B5EF4-FFF2-40B4-BE49-F238E27FC236}">
                    <a16:creationId xmlns:a16="http://schemas.microsoft.com/office/drawing/2014/main" id="{6924F270-20EF-8D3E-76E4-1CAF47DA6635}"/>
                  </a:ext>
                </a:extLst>
              </p:cNvPr>
              <p:cNvSpPr/>
              <p:nvPr/>
            </p:nvSpPr>
            <p:spPr bwMode="auto">
              <a:xfrm rot="5400000">
                <a:off x="1582533" y="2769740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3" name="Oval 32">
                <a:extLst>
                  <a:ext uri="{FF2B5EF4-FFF2-40B4-BE49-F238E27FC236}">
                    <a16:creationId xmlns:a16="http://schemas.microsoft.com/office/drawing/2014/main" id="{1A15D63E-D7D9-E34E-6F28-D4F872328FB9}"/>
                  </a:ext>
                </a:extLst>
              </p:cNvPr>
              <p:cNvSpPr/>
              <p:nvPr/>
            </p:nvSpPr>
            <p:spPr bwMode="auto">
              <a:xfrm rot="5400000">
                <a:off x="1384717" y="2769740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4" name="Oval 33">
                <a:extLst>
                  <a:ext uri="{FF2B5EF4-FFF2-40B4-BE49-F238E27FC236}">
                    <a16:creationId xmlns:a16="http://schemas.microsoft.com/office/drawing/2014/main" id="{B82A9B26-6CB2-45FF-7246-994DE57B0D89}"/>
                  </a:ext>
                </a:extLst>
              </p:cNvPr>
              <p:cNvSpPr/>
              <p:nvPr/>
            </p:nvSpPr>
            <p:spPr bwMode="auto">
              <a:xfrm rot="5400000">
                <a:off x="1186900" y="2769740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5" name="Oval 34">
                <a:extLst>
                  <a:ext uri="{FF2B5EF4-FFF2-40B4-BE49-F238E27FC236}">
                    <a16:creationId xmlns:a16="http://schemas.microsoft.com/office/drawing/2014/main" id="{442BF673-03E6-EAD0-B88D-C9F38479DBF0}"/>
                  </a:ext>
                </a:extLst>
              </p:cNvPr>
              <p:cNvSpPr/>
              <p:nvPr/>
            </p:nvSpPr>
            <p:spPr bwMode="auto">
              <a:xfrm>
                <a:off x="593450" y="2769740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6" name="Oval 35">
                <a:extLst>
                  <a:ext uri="{FF2B5EF4-FFF2-40B4-BE49-F238E27FC236}">
                    <a16:creationId xmlns:a16="http://schemas.microsoft.com/office/drawing/2014/main" id="{A6854C4D-5BEC-6D4F-ECBE-F03E194F873B}"/>
                  </a:ext>
                </a:extLst>
              </p:cNvPr>
              <p:cNvSpPr/>
              <p:nvPr/>
            </p:nvSpPr>
            <p:spPr bwMode="auto">
              <a:xfrm rot="5400000">
                <a:off x="395633" y="2769740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7" name="Oval 36">
                <a:extLst>
                  <a:ext uri="{FF2B5EF4-FFF2-40B4-BE49-F238E27FC236}">
                    <a16:creationId xmlns:a16="http://schemas.microsoft.com/office/drawing/2014/main" id="{72171685-4DEE-80AE-132E-1CC58526A8F0}"/>
                  </a:ext>
                </a:extLst>
              </p:cNvPr>
              <p:cNvSpPr/>
              <p:nvPr/>
            </p:nvSpPr>
            <p:spPr bwMode="auto">
              <a:xfrm rot="5400000">
                <a:off x="197817" y="2769740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8" name="Oval 37">
                <a:extLst>
                  <a:ext uri="{FF2B5EF4-FFF2-40B4-BE49-F238E27FC236}">
                    <a16:creationId xmlns:a16="http://schemas.microsoft.com/office/drawing/2014/main" id="{C2794D7F-8B05-3220-8CE0-43A58AD6B735}"/>
                  </a:ext>
                </a:extLst>
              </p:cNvPr>
              <p:cNvSpPr/>
              <p:nvPr/>
            </p:nvSpPr>
            <p:spPr bwMode="auto">
              <a:xfrm rot="5400000">
                <a:off x="0" y="2769740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9" name="Oval 38">
                <a:extLst>
                  <a:ext uri="{FF2B5EF4-FFF2-40B4-BE49-F238E27FC236}">
                    <a16:creationId xmlns:a16="http://schemas.microsoft.com/office/drawing/2014/main" id="{C3063A3B-F5B3-6E4B-DDEC-9CBDA7985776}"/>
                  </a:ext>
                </a:extLst>
              </p:cNvPr>
              <p:cNvSpPr/>
              <p:nvPr/>
            </p:nvSpPr>
            <p:spPr bwMode="auto">
              <a:xfrm>
                <a:off x="791267" y="2769740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0" name="Oval 39">
                <a:extLst>
                  <a:ext uri="{FF2B5EF4-FFF2-40B4-BE49-F238E27FC236}">
                    <a16:creationId xmlns:a16="http://schemas.microsoft.com/office/drawing/2014/main" id="{56FC5BEE-F537-1E52-3E02-57FA4B7C0510}"/>
                  </a:ext>
                </a:extLst>
              </p:cNvPr>
              <p:cNvSpPr/>
              <p:nvPr/>
            </p:nvSpPr>
            <p:spPr bwMode="auto">
              <a:xfrm>
                <a:off x="989083" y="2769740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8B1FBEC8-40BE-023E-91A9-D70930DD690C}"/>
                </a:ext>
              </a:extLst>
            </p:cNvPr>
            <p:cNvGrpSpPr/>
            <p:nvPr/>
          </p:nvGrpSpPr>
          <p:grpSpPr>
            <a:xfrm>
              <a:off x="0" y="2994757"/>
              <a:ext cx="1647336" cy="64803"/>
              <a:chOff x="0" y="2143857"/>
              <a:chExt cx="1647336" cy="64803"/>
            </a:xfrm>
            <a:grpFill/>
          </p:grpSpPr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98BFA0E7-9905-1252-EBE8-76FCBF97AD10}"/>
                  </a:ext>
                </a:extLst>
              </p:cNvPr>
              <p:cNvSpPr/>
              <p:nvPr/>
            </p:nvSpPr>
            <p:spPr bwMode="auto">
              <a:xfrm rot="5400000">
                <a:off x="1582533" y="2143857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C8F93444-FFA0-43BE-C787-E7B51B253934}"/>
                  </a:ext>
                </a:extLst>
              </p:cNvPr>
              <p:cNvSpPr/>
              <p:nvPr/>
            </p:nvSpPr>
            <p:spPr bwMode="auto">
              <a:xfrm rot="5400000">
                <a:off x="1384717" y="2143857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5" name="Oval 24">
                <a:extLst>
                  <a:ext uri="{FF2B5EF4-FFF2-40B4-BE49-F238E27FC236}">
                    <a16:creationId xmlns:a16="http://schemas.microsoft.com/office/drawing/2014/main" id="{965CA70D-90F3-B548-EA12-F97CED7F6CD2}"/>
                  </a:ext>
                </a:extLst>
              </p:cNvPr>
              <p:cNvSpPr/>
              <p:nvPr/>
            </p:nvSpPr>
            <p:spPr bwMode="auto">
              <a:xfrm rot="5400000">
                <a:off x="1186900" y="2143857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06289A8A-8F59-C6F4-28CD-1DEC69061374}"/>
                  </a:ext>
                </a:extLst>
              </p:cNvPr>
              <p:cNvSpPr/>
              <p:nvPr/>
            </p:nvSpPr>
            <p:spPr bwMode="auto">
              <a:xfrm>
                <a:off x="593450" y="2143857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7" name="Oval 26">
                <a:extLst>
                  <a:ext uri="{FF2B5EF4-FFF2-40B4-BE49-F238E27FC236}">
                    <a16:creationId xmlns:a16="http://schemas.microsoft.com/office/drawing/2014/main" id="{721A4F0D-74E8-C59E-C01E-4E2CF6A18FD6}"/>
                  </a:ext>
                </a:extLst>
              </p:cNvPr>
              <p:cNvSpPr/>
              <p:nvPr/>
            </p:nvSpPr>
            <p:spPr bwMode="auto">
              <a:xfrm rot="5400000">
                <a:off x="395633" y="2143857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8" name="Oval 27">
                <a:extLst>
                  <a:ext uri="{FF2B5EF4-FFF2-40B4-BE49-F238E27FC236}">
                    <a16:creationId xmlns:a16="http://schemas.microsoft.com/office/drawing/2014/main" id="{093D4A81-BF06-97B2-195F-EFC0B53A652D}"/>
                  </a:ext>
                </a:extLst>
              </p:cNvPr>
              <p:cNvSpPr/>
              <p:nvPr/>
            </p:nvSpPr>
            <p:spPr bwMode="auto">
              <a:xfrm rot="5400000">
                <a:off x="197817" y="2143857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9" name="Oval 28">
                <a:extLst>
                  <a:ext uri="{FF2B5EF4-FFF2-40B4-BE49-F238E27FC236}">
                    <a16:creationId xmlns:a16="http://schemas.microsoft.com/office/drawing/2014/main" id="{28FC3D0B-D9CC-DACA-37A3-D15CCD2DA283}"/>
                  </a:ext>
                </a:extLst>
              </p:cNvPr>
              <p:cNvSpPr/>
              <p:nvPr/>
            </p:nvSpPr>
            <p:spPr bwMode="auto">
              <a:xfrm rot="5400000">
                <a:off x="0" y="2143857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0" name="Oval 29">
                <a:extLst>
                  <a:ext uri="{FF2B5EF4-FFF2-40B4-BE49-F238E27FC236}">
                    <a16:creationId xmlns:a16="http://schemas.microsoft.com/office/drawing/2014/main" id="{3DC35A6C-6E3F-8360-7826-37FFD02B131E}"/>
                  </a:ext>
                </a:extLst>
              </p:cNvPr>
              <p:cNvSpPr/>
              <p:nvPr/>
            </p:nvSpPr>
            <p:spPr bwMode="auto">
              <a:xfrm>
                <a:off x="791267" y="2143857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1" name="Oval 30">
                <a:extLst>
                  <a:ext uri="{FF2B5EF4-FFF2-40B4-BE49-F238E27FC236}">
                    <a16:creationId xmlns:a16="http://schemas.microsoft.com/office/drawing/2014/main" id="{D40D6CF0-2C1F-B050-8392-64AB3C98C70C}"/>
                  </a:ext>
                </a:extLst>
              </p:cNvPr>
              <p:cNvSpPr/>
              <p:nvPr/>
            </p:nvSpPr>
            <p:spPr bwMode="auto">
              <a:xfrm>
                <a:off x="989083" y="2143857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C5AB2085-3A36-4EBA-9969-F87F875F093B}"/>
              </a:ext>
            </a:extLst>
          </p:cNvPr>
          <p:cNvGrpSpPr/>
          <p:nvPr userDrawn="1"/>
        </p:nvGrpSpPr>
        <p:grpSpPr>
          <a:xfrm>
            <a:off x="11016820" y="5720920"/>
            <a:ext cx="870379" cy="870379"/>
            <a:chOff x="11016820" y="5720920"/>
            <a:chExt cx="870379" cy="870379"/>
          </a:xfrm>
          <a:solidFill>
            <a:schemeClr val="bg2"/>
          </a:solidFill>
        </p:grpSpPr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FA747C3B-5F40-2626-1407-17F8DB341DC1}"/>
                </a:ext>
              </a:extLst>
            </p:cNvPr>
            <p:cNvSpPr/>
            <p:nvPr/>
          </p:nvSpPr>
          <p:spPr bwMode="auto">
            <a:xfrm>
              <a:off x="11798515" y="5720920"/>
              <a:ext cx="88684" cy="88684"/>
            </a:xfrm>
            <a:prstGeom prst="ellipse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1" name="Oval 70">
              <a:extLst>
                <a:ext uri="{FF2B5EF4-FFF2-40B4-BE49-F238E27FC236}">
                  <a16:creationId xmlns:a16="http://schemas.microsoft.com/office/drawing/2014/main" id="{29466268-1797-C5F9-8A26-B22B1038B38A}"/>
                </a:ext>
              </a:extLst>
            </p:cNvPr>
            <p:cNvSpPr/>
            <p:nvPr/>
          </p:nvSpPr>
          <p:spPr bwMode="auto">
            <a:xfrm>
              <a:off x="11798515" y="5981484"/>
              <a:ext cx="88684" cy="88684"/>
            </a:xfrm>
            <a:prstGeom prst="ellipse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2" name="Oval 71">
              <a:extLst>
                <a:ext uri="{FF2B5EF4-FFF2-40B4-BE49-F238E27FC236}">
                  <a16:creationId xmlns:a16="http://schemas.microsoft.com/office/drawing/2014/main" id="{741AE4AE-4314-E957-3475-46F126D7762C}"/>
                </a:ext>
              </a:extLst>
            </p:cNvPr>
            <p:cNvSpPr/>
            <p:nvPr/>
          </p:nvSpPr>
          <p:spPr bwMode="auto">
            <a:xfrm>
              <a:off x="11798515" y="6242050"/>
              <a:ext cx="88684" cy="88684"/>
            </a:xfrm>
            <a:prstGeom prst="ellipse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3" name="Oval 72">
              <a:extLst>
                <a:ext uri="{FF2B5EF4-FFF2-40B4-BE49-F238E27FC236}">
                  <a16:creationId xmlns:a16="http://schemas.microsoft.com/office/drawing/2014/main" id="{4D6E5199-B1E6-C0F7-307E-A0BA56C15E5D}"/>
                </a:ext>
              </a:extLst>
            </p:cNvPr>
            <p:cNvSpPr/>
            <p:nvPr/>
          </p:nvSpPr>
          <p:spPr bwMode="auto">
            <a:xfrm>
              <a:off x="11798515" y="6502615"/>
              <a:ext cx="88684" cy="88684"/>
            </a:xfrm>
            <a:prstGeom prst="ellipse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4" name="Oval 73">
              <a:extLst>
                <a:ext uri="{FF2B5EF4-FFF2-40B4-BE49-F238E27FC236}">
                  <a16:creationId xmlns:a16="http://schemas.microsoft.com/office/drawing/2014/main" id="{2E240D5B-FD26-8CB5-C1A7-4CBB6A665454}"/>
                </a:ext>
              </a:extLst>
            </p:cNvPr>
            <p:cNvSpPr/>
            <p:nvPr/>
          </p:nvSpPr>
          <p:spPr bwMode="auto">
            <a:xfrm rot="5400000">
              <a:off x="11537950" y="6502615"/>
              <a:ext cx="88684" cy="88684"/>
            </a:xfrm>
            <a:prstGeom prst="ellipse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5" name="Oval 74">
              <a:extLst>
                <a:ext uri="{FF2B5EF4-FFF2-40B4-BE49-F238E27FC236}">
                  <a16:creationId xmlns:a16="http://schemas.microsoft.com/office/drawing/2014/main" id="{8352D7E5-1D42-095A-6264-E22CABA65399}"/>
                </a:ext>
              </a:extLst>
            </p:cNvPr>
            <p:cNvSpPr/>
            <p:nvPr/>
          </p:nvSpPr>
          <p:spPr bwMode="auto">
            <a:xfrm rot="5400000">
              <a:off x="11277384" y="6502615"/>
              <a:ext cx="88684" cy="88684"/>
            </a:xfrm>
            <a:prstGeom prst="ellipse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6" name="Oval 75">
              <a:extLst>
                <a:ext uri="{FF2B5EF4-FFF2-40B4-BE49-F238E27FC236}">
                  <a16:creationId xmlns:a16="http://schemas.microsoft.com/office/drawing/2014/main" id="{432CB5A7-1F46-6D3E-6BF0-9D04171733BE}"/>
                </a:ext>
              </a:extLst>
            </p:cNvPr>
            <p:cNvSpPr/>
            <p:nvPr/>
          </p:nvSpPr>
          <p:spPr bwMode="auto">
            <a:xfrm rot="5400000">
              <a:off x="11016820" y="6502615"/>
              <a:ext cx="88684" cy="88684"/>
            </a:xfrm>
            <a:prstGeom prst="ellipse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7" name="Oval 76">
              <a:extLst>
                <a:ext uri="{FF2B5EF4-FFF2-40B4-BE49-F238E27FC236}">
                  <a16:creationId xmlns:a16="http://schemas.microsoft.com/office/drawing/2014/main" id="{5AF8893D-3C15-3BD6-D997-D639559D308A}"/>
                </a:ext>
              </a:extLst>
            </p:cNvPr>
            <p:cNvSpPr/>
            <p:nvPr/>
          </p:nvSpPr>
          <p:spPr bwMode="auto">
            <a:xfrm rot="5400000">
              <a:off x="11537950" y="6242050"/>
              <a:ext cx="88684" cy="88684"/>
            </a:xfrm>
            <a:prstGeom prst="ellipse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8" name="Oval 77">
              <a:extLst>
                <a:ext uri="{FF2B5EF4-FFF2-40B4-BE49-F238E27FC236}">
                  <a16:creationId xmlns:a16="http://schemas.microsoft.com/office/drawing/2014/main" id="{CBC42C8E-D62B-7792-7EB7-D7352C9645DA}"/>
                </a:ext>
              </a:extLst>
            </p:cNvPr>
            <p:cNvSpPr/>
            <p:nvPr/>
          </p:nvSpPr>
          <p:spPr bwMode="auto">
            <a:xfrm rot="5400000">
              <a:off x="11277384" y="6242050"/>
              <a:ext cx="88684" cy="88684"/>
            </a:xfrm>
            <a:prstGeom prst="ellipse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9" name="Oval 78">
              <a:extLst>
                <a:ext uri="{FF2B5EF4-FFF2-40B4-BE49-F238E27FC236}">
                  <a16:creationId xmlns:a16="http://schemas.microsoft.com/office/drawing/2014/main" id="{D64392F9-3C23-70DD-56F4-DCAA1F8A4B10}"/>
                </a:ext>
              </a:extLst>
            </p:cNvPr>
            <p:cNvSpPr/>
            <p:nvPr/>
          </p:nvSpPr>
          <p:spPr bwMode="auto">
            <a:xfrm rot="5400000">
              <a:off x="11537950" y="5981484"/>
              <a:ext cx="88684" cy="88684"/>
            </a:xfrm>
            <a:prstGeom prst="ellipse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0" name="Oval 79">
              <a:extLst>
                <a:ext uri="{FF2B5EF4-FFF2-40B4-BE49-F238E27FC236}">
                  <a16:creationId xmlns:a16="http://schemas.microsoft.com/office/drawing/2014/main" id="{C3D96143-81DE-9835-79A0-8BEDCED415FF}"/>
                </a:ext>
              </a:extLst>
            </p:cNvPr>
            <p:cNvSpPr/>
            <p:nvPr/>
          </p:nvSpPr>
          <p:spPr bwMode="auto">
            <a:xfrm rot="5400000">
              <a:off x="11016820" y="6242050"/>
              <a:ext cx="88684" cy="88684"/>
            </a:xfrm>
            <a:prstGeom prst="ellipse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1" name="Oval 80">
              <a:extLst>
                <a:ext uri="{FF2B5EF4-FFF2-40B4-BE49-F238E27FC236}">
                  <a16:creationId xmlns:a16="http://schemas.microsoft.com/office/drawing/2014/main" id="{2EF2A520-8CE1-BAAA-B1E9-9B9E9E95BA0A}"/>
                </a:ext>
              </a:extLst>
            </p:cNvPr>
            <p:cNvSpPr/>
            <p:nvPr/>
          </p:nvSpPr>
          <p:spPr bwMode="auto">
            <a:xfrm rot="5400000">
              <a:off x="11537950" y="5720920"/>
              <a:ext cx="88684" cy="88684"/>
            </a:xfrm>
            <a:prstGeom prst="ellipse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82" name="Free-form: Shape 81">
            <a:extLst>
              <a:ext uri="{FF2B5EF4-FFF2-40B4-BE49-F238E27FC236}">
                <a16:creationId xmlns:a16="http://schemas.microsoft.com/office/drawing/2014/main" id="{DAF02231-77D6-1273-D9CC-2C5922C98250}"/>
              </a:ext>
            </a:extLst>
          </p:cNvPr>
          <p:cNvSpPr/>
          <p:nvPr userDrawn="1"/>
        </p:nvSpPr>
        <p:spPr bwMode="auto">
          <a:xfrm>
            <a:off x="1714499" y="1498600"/>
            <a:ext cx="5829301" cy="1829924"/>
          </a:xfrm>
          <a:custGeom>
            <a:avLst/>
            <a:gdLst>
              <a:gd name="connsiteX0" fmla="*/ 228600 w 4343400"/>
              <a:gd name="connsiteY0" fmla="*/ 1473200 h 1473200"/>
              <a:gd name="connsiteX1" fmla="*/ 0 w 4343400"/>
              <a:gd name="connsiteY1" fmla="*/ 1473200 h 1473200"/>
              <a:gd name="connsiteX2" fmla="*/ 0 w 4343400"/>
              <a:gd name="connsiteY2" fmla="*/ 0 h 1473200"/>
              <a:gd name="connsiteX3" fmla="*/ 4343400 w 4343400"/>
              <a:gd name="connsiteY3" fmla="*/ 0 h 1473200"/>
              <a:gd name="connsiteX4" fmla="*/ 4343400 w 4343400"/>
              <a:gd name="connsiteY4" fmla="*/ 304800 h 1473200"/>
              <a:gd name="connsiteX0" fmla="*/ 0 w 4343400"/>
              <a:gd name="connsiteY0" fmla="*/ 1473200 h 1473200"/>
              <a:gd name="connsiteX1" fmla="*/ 0 w 4343400"/>
              <a:gd name="connsiteY1" fmla="*/ 0 h 1473200"/>
              <a:gd name="connsiteX2" fmla="*/ 4343400 w 4343400"/>
              <a:gd name="connsiteY2" fmla="*/ 0 h 1473200"/>
              <a:gd name="connsiteX3" fmla="*/ 4343400 w 4343400"/>
              <a:gd name="connsiteY3" fmla="*/ 304800 h 14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43400" h="1473200">
                <a:moveTo>
                  <a:pt x="0" y="1473200"/>
                </a:moveTo>
                <a:lnTo>
                  <a:pt x="0" y="0"/>
                </a:lnTo>
                <a:lnTo>
                  <a:pt x="4343400" y="0"/>
                </a:lnTo>
                <a:lnTo>
                  <a:pt x="4343400" y="304800"/>
                </a:lnTo>
              </a:path>
            </a:pathLst>
          </a:custGeom>
          <a:noFill/>
          <a:ln w="63500" cap="rnd"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86" name="Group 85">
            <a:extLst>
              <a:ext uri="{FF2B5EF4-FFF2-40B4-BE49-F238E27FC236}">
                <a16:creationId xmlns:a16="http://schemas.microsoft.com/office/drawing/2014/main" id="{E78E5A3B-573D-8EAA-2EDC-2A58D18893A4}"/>
              </a:ext>
            </a:extLst>
          </p:cNvPr>
          <p:cNvGrpSpPr/>
          <p:nvPr userDrawn="1"/>
        </p:nvGrpSpPr>
        <p:grpSpPr>
          <a:xfrm>
            <a:off x="1714499" y="4027444"/>
            <a:ext cx="600855" cy="789824"/>
            <a:chOff x="1463597" y="3871131"/>
            <a:chExt cx="545832" cy="717497"/>
          </a:xfrm>
        </p:grpSpPr>
        <p:sp>
          <p:nvSpPr>
            <p:cNvPr id="87" name="Graphic 317">
              <a:extLst>
                <a:ext uri="{FF2B5EF4-FFF2-40B4-BE49-F238E27FC236}">
                  <a16:creationId xmlns:a16="http://schemas.microsoft.com/office/drawing/2014/main" id="{2FFDB439-2F7B-3B1E-CE78-BA7807C99AA0}"/>
                </a:ext>
              </a:extLst>
            </p:cNvPr>
            <p:cNvSpPr/>
            <p:nvPr/>
          </p:nvSpPr>
          <p:spPr>
            <a:xfrm rot="16200000">
              <a:off x="1428057" y="4007257"/>
              <a:ext cx="717497" cy="445246"/>
            </a:xfrm>
            <a:custGeom>
              <a:avLst/>
              <a:gdLst>
                <a:gd name="connsiteX0" fmla="*/ 358722 w 717497"/>
                <a:gd name="connsiteY0" fmla="*/ 0 h 445246"/>
                <a:gd name="connsiteX1" fmla="*/ 673142 w 717497"/>
                <a:gd name="connsiteY1" fmla="*/ 0 h 445246"/>
                <a:gd name="connsiteX2" fmla="*/ 706385 w 717497"/>
                <a:gd name="connsiteY2" fmla="*/ 73533 h 445246"/>
                <a:gd name="connsiteX3" fmla="*/ 565034 w 717497"/>
                <a:gd name="connsiteY3" fmla="*/ 233934 h 445246"/>
                <a:gd name="connsiteX4" fmla="*/ 392060 w 717497"/>
                <a:gd name="connsiteY4" fmla="*/ 430244 h 445246"/>
                <a:gd name="connsiteX5" fmla="*/ 325575 w 717497"/>
                <a:gd name="connsiteY5" fmla="*/ 430244 h 445246"/>
                <a:gd name="connsiteX6" fmla="*/ 152506 w 717497"/>
                <a:gd name="connsiteY6" fmla="*/ 234029 h 445246"/>
                <a:gd name="connsiteX7" fmla="*/ 11155 w 717497"/>
                <a:gd name="connsiteY7" fmla="*/ 73533 h 445246"/>
                <a:gd name="connsiteX8" fmla="*/ 44397 w 717497"/>
                <a:gd name="connsiteY8" fmla="*/ 0 h 445246"/>
                <a:gd name="connsiteX9" fmla="*/ 358722 w 717497"/>
                <a:gd name="connsiteY9" fmla="*/ 0 h 445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17497" h="445246">
                  <a:moveTo>
                    <a:pt x="358722" y="0"/>
                  </a:moveTo>
                  <a:lnTo>
                    <a:pt x="673142" y="0"/>
                  </a:lnTo>
                  <a:cubicBezTo>
                    <a:pt x="711242" y="0"/>
                    <a:pt x="731531" y="44958"/>
                    <a:pt x="706385" y="73533"/>
                  </a:cubicBezTo>
                  <a:lnTo>
                    <a:pt x="565034" y="233934"/>
                  </a:lnTo>
                  <a:lnTo>
                    <a:pt x="392060" y="430244"/>
                  </a:lnTo>
                  <a:cubicBezTo>
                    <a:pt x="374438" y="450247"/>
                    <a:pt x="343196" y="450247"/>
                    <a:pt x="325575" y="430244"/>
                  </a:cubicBezTo>
                  <a:lnTo>
                    <a:pt x="152506" y="234029"/>
                  </a:lnTo>
                  <a:lnTo>
                    <a:pt x="11155" y="73533"/>
                  </a:lnTo>
                  <a:cubicBezTo>
                    <a:pt x="-14086" y="44958"/>
                    <a:pt x="6297" y="0"/>
                    <a:pt x="44397" y="0"/>
                  </a:cubicBezTo>
                  <a:lnTo>
                    <a:pt x="358722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508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" name="Graphic 318">
              <a:extLst>
                <a:ext uri="{FF2B5EF4-FFF2-40B4-BE49-F238E27FC236}">
                  <a16:creationId xmlns:a16="http://schemas.microsoft.com/office/drawing/2014/main" id="{5EAF443F-3B09-AFA5-713A-8E51763F6818}"/>
                </a:ext>
              </a:extLst>
            </p:cNvPr>
            <p:cNvSpPr/>
            <p:nvPr/>
          </p:nvSpPr>
          <p:spPr>
            <a:xfrm rot="16200000">
              <a:off x="1353386" y="4049637"/>
              <a:ext cx="580908" cy="360486"/>
            </a:xfrm>
            <a:custGeom>
              <a:avLst/>
              <a:gdLst>
                <a:gd name="connsiteX0" fmla="*/ 358722 w 717497"/>
                <a:gd name="connsiteY0" fmla="*/ 0 h 445246"/>
                <a:gd name="connsiteX1" fmla="*/ 673142 w 717497"/>
                <a:gd name="connsiteY1" fmla="*/ 0 h 445246"/>
                <a:gd name="connsiteX2" fmla="*/ 706385 w 717497"/>
                <a:gd name="connsiteY2" fmla="*/ 73533 h 445246"/>
                <a:gd name="connsiteX3" fmla="*/ 565034 w 717497"/>
                <a:gd name="connsiteY3" fmla="*/ 233934 h 445246"/>
                <a:gd name="connsiteX4" fmla="*/ 392060 w 717497"/>
                <a:gd name="connsiteY4" fmla="*/ 430244 h 445246"/>
                <a:gd name="connsiteX5" fmla="*/ 325575 w 717497"/>
                <a:gd name="connsiteY5" fmla="*/ 430244 h 445246"/>
                <a:gd name="connsiteX6" fmla="*/ 152506 w 717497"/>
                <a:gd name="connsiteY6" fmla="*/ 234029 h 445246"/>
                <a:gd name="connsiteX7" fmla="*/ 11155 w 717497"/>
                <a:gd name="connsiteY7" fmla="*/ 73533 h 445246"/>
                <a:gd name="connsiteX8" fmla="*/ 44397 w 717497"/>
                <a:gd name="connsiteY8" fmla="*/ 0 h 445246"/>
                <a:gd name="connsiteX9" fmla="*/ 358722 w 717497"/>
                <a:gd name="connsiteY9" fmla="*/ 0 h 445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17497" h="445246">
                  <a:moveTo>
                    <a:pt x="358722" y="0"/>
                  </a:moveTo>
                  <a:lnTo>
                    <a:pt x="673142" y="0"/>
                  </a:lnTo>
                  <a:cubicBezTo>
                    <a:pt x="711242" y="0"/>
                    <a:pt x="731531" y="44958"/>
                    <a:pt x="706385" y="73533"/>
                  </a:cubicBezTo>
                  <a:lnTo>
                    <a:pt x="565034" y="233934"/>
                  </a:lnTo>
                  <a:lnTo>
                    <a:pt x="392060" y="430244"/>
                  </a:lnTo>
                  <a:cubicBezTo>
                    <a:pt x="374438" y="450247"/>
                    <a:pt x="343196" y="450247"/>
                    <a:pt x="325575" y="430244"/>
                  </a:cubicBezTo>
                  <a:lnTo>
                    <a:pt x="152506" y="234029"/>
                  </a:lnTo>
                  <a:lnTo>
                    <a:pt x="11155" y="73533"/>
                  </a:lnTo>
                  <a:cubicBezTo>
                    <a:pt x="-14086" y="44958"/>
                    <a:pt x="6297" y="0"/>
                    <a:pt x="44397" y="0"/>
                  </a:cubicBezTo>
                  <a:lnTo>
                    <a:pt x="358722" y="0"/>
                  </a:lnTo>
                  <a:close/>
                </a:path>
              </a:pathLst>
            </a:custGeom>
            <a:noFill/>
            <a:ln w="1270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89" name="Free-form: Shape 88">
            <a:extLst>
              <a:ext uri="{FF2B5EF4-FFF2-40B4-BE49-F238E27FC236}">
                <a16:creationId xmlns:a16="http://schemas.microsoft.com/office/drawing/2014/main" id="{7C11D0DB-B1BF-9C66-06DE-20BB7B89491F}"/>
              </a:ext>
            </a:extLst>
          </p:cNvPr>
          <p:cNvSpPr/>
          <p:nvPr userDrawn="1"/>
        </p:nvSpPr>
        <p:spPr bwMode="auto">
          <a:xfrm>
            <a:off x="2" y="5647174"/>
            <a:ext cx="2699684" cy="1210826"/>
          </a:xfrm>
          <a:custGeom>
            <a:avLst/>
            <a:gdLst>
              <a:gd name="connsiteX0" fmla="*/ 447685 w 3175561"/>
              <a:gd name="connsiteY0" fmla="*/ 0 h 1424260"/>
              <a:gd name="connsiteX1" fmla="*/ 3016378 w 3175561"/>
              <a:gd name="connsiteY1" fmla="*/ 1211388 h 1424260"/>
              <a:gd name="connsiteX2" fmla="*/ 3175561 w 3175561"/>
              <a:gd name="connsiteY2" fmla="*/ 1424260 h 1424260"/>
              <a:gd name="connsiteX3" fmla="*/ 2245404 w 3175561"/>
              <a:gd name="connsiteY3" fmla="*/ 1424260 h 1424260"/>
              <a:gd name="connsiteX4" fmla="*/ 2115220 w 3175561"/>
              <a:gd name="connsiteY4" fmla="*/ 1305941 h 1424260"/>
              <a:gd name="connsiteX5" fmla="*/ 447685 w 3175561"/>
              <a:gd name="connsiteY5" fmla="*/ 707311 h 1424260"/>
              <a:gd name="connsiteX6" fmla="*/ 179649 w 3175561"/>
              <a:gd name="connsiteY6" fmla="*/ 720846 h 1424260"/>
              <a:gd name="connsiteX7" fmla="*/ 0 w 3175561"/>
              <a:gd name="connsiteY7" fmla="*/ 748264 h 1424260"/>
              <a:gd name="connsiteX8" fmla="*/ 0 w 3175561"/>
              <a:gd name="connsiteY8" fmla="*/ 30825 h 1424260"/>
              <a:gd name="connsiteX9" fmla="*/ 107331 w 3175561"/>
              <a:gd name="connsiteY9" fmla="*/ 17187 h 1424260"/>
              <a:gd name="connsiteX10" fmla="*/ 447685 w 3175561"/>
              <a:gd name="connsiteY10" fmla="*/ 0 h 14242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175561" h="1424260">
                <a:moveTo>
                  <a:pt x="447685" y="0"/>
                </a:moveTo>
                <a:cubicBezTo>
                  <a:pt x="1481822" y="0"/>
                  <a:pt x="2405820" y="471563"/>
                  <a:pt x="3016378" y="1211388"/>
                </a:cubicBezTo>
                <a:lnTo>
                  <a:pt x="3175561" y="1424260"/>
                </a:lnTo>
                <a:lnTo>
                  <a:pt x="2245404" y="1424260"/>
                </a:lnTo>
                <a:lnTo>
                  <a:pt x="2115220" y="1305941"/>
                </a:lnTo>
                <a:cubicBezTo>
                  <a:pt x="1662065" y="931964"/>
                  <a:pt x="1081110" y="707311"/>
                  <a:pt x="447685" y="707311"/>
                </a:cubicBezTo>
                <a:cubicBezTo>
                  <a:pt x="357196" y="707311"/>
                  <a:pt x="267777" y="711896"/>
                  <a:pt x="179649" y="720846"/>
                </a:cubicBezTo>
                <a:lnTo>
                  <a:pt x="0" y="748264"/>
                </a:lnTo>
                <a:lnTo>
                  <a:pt x="0" y="30825"/>
                </a:lnTo>
                <a:lnTo>
                  <a:pt x="107331" y="17187"/>
                </a:lnTo>
                <a:cubicBezTo>
                  <a:pt x="219237" y="5822"/>
                  <a:pt x="332781" y="0"/>
                  <a:pt x="447685" y="0"/>
                </a:cubicBezTo>
                <a:close/>
              </a:path>
            </a:pathLst>
          </a:cu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270758" y="2124717"/>
            <a:ext cx="5829297" cy="1354217"/>
          </a:xfrm>
          <a:noFill/>
        </p:spPr>
        <p:txBody>
          <a:bodyPr wrap="square" lIns="0" tIns="0" rIns="0" bIns="0" anchor="b" anchorCtr="0">
            <a:spAutoFit/>
          </a:bodyPr>
          <a:lstStyle>
            <a:lvl1pPr marL="0"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400" b="0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19375" y="4268468"/>
            <a:ext cx="54864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kumimoji="0" lang="en-US" sz="2000" b="0" i="0" u="none" strike="noStrike" kern="1200" cap="none" spc="0" normalizeH="0" baseline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en-US"/>
              <a:t>Speaker nam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2BE9B4C-457B-DAE3-024C-78127F20AD6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19375" y="4859638"/>
            <a:ext cx="5486400" cy="837152"/>
          </a:xfrm>
        </p:spPr>
        <p:txBody>
          <a:bodyPr/>
          <a:lstStyle>
            <a:lvl1pPr marL="0" indent="0">
              <a:spcBef>
                <a:spcPts val="24"/>
              </a:spcBef>
              <a:buNone/>
              <a:defRPr kumimoji="0" lang="en-US" sz="160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en-US"/>
              <a:t>Title</a:t>
            </a:r>
          </a:p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en-US"/>
              <a:t>Company</a:t>
            </a:r>
          </a:p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en-US"/>
              <a:t>Other information</a:t>
            </a:r>
          </a:p>
        </p:txBody>
      </p:sp>
    </p:spTree>
    <p:extLst>
      <p:ext uri="{BB962C8B-B14F-4D97-AF65-F5344CB8AC3E}">
        <p14:creationId xmlns:p14="http://schemas.microsoft.com/office/powerpoint/2010/main" val="35357321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72">
          <p15:clr>
            <a:srgbClr val="5ACBF0"/>
          </p15:clr>
        </p15:guide>
        <p15:guide id="3" pos="384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Rectangle: Rounded Corners 81">
            <a:extLst>
              <a:ext uri="{FF2B5EF4-FFF2-40B4-BE49-F238E27FC236}">
                <a16:creationId xmlns:a16="http://schemas.microsoft.com/office/drawing/2014/main" id="{29C65921-FD7F-B796-44F6-E9E410683CD9}"/>
              </a:ext>
            </a:extLst>
          </p:cNvPr>
          <p:cNvSpPr/>
          <p:nvPr userDrawn="1"/>
        </p:nvSpPr>
        <p:spPr bwMode="auto">
          <a:xfrm>
            <a:off x="0" y="2328"/>
            <a:ext cx="4025900" cy="6857997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Arrow: U-Turn 4">
            <a:extLst>
              <a:ext uri="{FF2B5EF4-FFF2-40B4-BE49-F238E27FC236}">
                <a16:creationId xmlns:a16="http://schemas.microsoft.com/office/drawing/2014/main" id="{9813402F-4AE0-5DF2-8034-09DE25CC529B}"/>
              </a:ext>
            </a:extLst>
          </p:cNvPr>
          <p:cNvSpPr/>
          <p:nvPr userDrawn="1"/>
        </p:nvSpPr>
        <p:spPr bwMode="auto">
          <a:xfrm rot="5400000">
            <a:off x="1718628" y="2893060"/>
            <a:ext cx="5686424" cy="1071880"/>
          </a:xfrm>
          <a:prstGeom prst="uturnArrow">
            <a:avLst>
              <a:gd name="adj1" fmla="val 25000"/>
              <a:gd name="adj2" fmla="val 0"/>
              <a:gd name="adj3" fmla="val 25000"/>
              <a:gd name="adj4" fmla="val 10792"/>
              <a:gd name="adj5" fmla="val 100000"/>
            </a:avLst>
          </a:prstGeom>
          <a:noFill/>
          <a:ln w="6350"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4A001AE1-8659-BE68-D13E-1749B7C6F739}"/>
              </a:ext>
            </a:extLst>
          </p:cNvPr>
          <p:cNvGrpSpPr/>
          <p:nvPr userDrawn="1"/>
        </p:nvGrpSpPr>
        <p:grpSpPr>
          <a:xfrm>
            <a:off x="4655194" y="1191140"/>
            <a:ext cx="875440" cy="693220"/>
            <a:chOff x="4655194" y="1191140"/>
            <a:chExt cx="875440" cy="693220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B25ED429-AE6A-B1A3-13DF-0807FF238451}"/>
                </a:ext>
              </a:extLst>
            </p:cNvPr>
            <p:cNvSpPr/>
            <p:nvPr/>
          </p:nvSpPr>
          <p:spPr bwMode="auto">
            <a:xfrm>
              <a:off x="4746304" y="1191140"/>
              <a:ext cx="693220" cy="693220"/>
            </a:xfrm>
            <a:prstGeom prst="ellipse">
              <a:avLst/>
            </a:prstGeom>
            <a:solidFill>
              <a:schemeClr val="bg1"/>
            </a:solidFill>
            <a:ln w="15875">
              <a:noFill/>
              <a:headEnd type="none" w="med" len="med"/>
              <a:tailEnd type="none" w="med" len="med"/>
            </a:ln>
            <a:effectLst>
              <a:outerShdw blurRad="63500" sx="105000" sy="105000" algn="ctr" rotWithShape="0">
                <a:prstClr val="black">
                  <a:alpha val="8000"/>
                </a:prstClr>
              </a:out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0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 panose="020F0502020204030204"/>
                <a:ea typeface="+mn-ea"/>
                <a:cs typeface="Segoe UI" pitchFamily="34" charset="0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4A86AB34-4D15-7377-D025-110BE01996D4}"/>
                </a:ext>
              </a:extLst>
            </p:cNvPr>
            <p:cNvSpPr txBox="1"/>
            <p:nvPr/>
          </p:nvSpPr>
          <p:spPr>
            <a:xfrm>
              <a:off x="4655194" y="1353084"/>
              <a:ext cx="875440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1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BEE9EF4B-403F-24CD-7476-4B9CEC30288B}"/>
              </a:ext>
            </a:extLst>
          </p:cNvPr>
          <p:cNvGrpSpPr/>
          <p:nvPr/>
        </p:nvGrpSpPr>
        <p:grpSpPr>
          <a:xfrm>
            <a:off x="4655194" y="2491228"/>
            <a:ext cx="875439" cy="693220"/>
            <a:chOff x="4542890" y="2973275"/>
            <a:chExt cx="1122682" cy="889000"/>
          </a:xfrm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826C87C4-A125-7CE6-E5A4-CA32960ED41A}"/>
                </a:ext>
              </a:extLst>
            </p:cNvPr>
            <p:cNvSpPr/>
            <p:nvPr/>
          </p:nvSpPr>
          <p:spPr bwMode="auto">
            <a:xfrm>
              <a:off x="4659731" y="2973275"/>
              <a:ext cx="889000" cy="889000"/>
            </a:xfrm>
            <a:prstGeom prst="ellipse">
              <a:avLst/>
            </a:prstGeom>
            <a:solidFill>
              <a:schemeClr val="bg1"/>
            </a:solidFill>
            <a:ln w="15875">
              <a:noFill/>
              <a:headEnd type="none" w="med" len="med"/>
              <a:tailEnd type="none" w="med" len="med"/>
            </a:ln>
            <a:effectLst>
              <a:outerShdw blurRad="63500" sx="105000" sy="105000" algn="ctr" rotWithShape="0">
                <a:prstClr val="black">
                  <a:alpha val="8000"/>
                </a:prstClr>
              </a:out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6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 panose="020F0502020204030204"/>
                <a:ea typeface="+mn-ea"/>
                <a:cs typeface="Segoe UI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ABE076AC-7D9B-0DF2-53A3-6CE0BDEA6EF6}"/>
                </a:ext>
              </a:extLst>
            </p:cNvPr>
            <p:cNvSpPr txBox="1"/>
            <p:nvPr/>
          </p:nvSpPr>
          <p:spPr>
            <a:xfrm>
              <a:off x="4542890" y="3180955"/>
              <a:ext cx="1122682" cy="47363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2</a:t>
              </a: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02665FB2-6199-D848-B7A0-CB7398D06B75}"/>
              </a:ext>
            </a:extLst>
          </p:cNvPr>
          <p:cNvGrpSpPr/>
          <p:nvPr userDrawn="1"/>
        </p:nvGrpSpPr>
        <p:grpSpPr>
          <a:xfrm>
            <a:off x="82210" y="487355"/>
            <a:ext cx="1999622" cy="1111528"/>
            <a:chOff x="0" y="2143857"/>
            <a:chExt cx="1647336" cy="915703"/>
          </a:xfrm>
          <a:solidFill>
            <a:schemeClr val="bg2"/>
          </a:solidFill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90C3E72C-BC08-E613-5F40-3CCF61D54557}"/>
                </a:ext>
              </a:extLst>
            </p:cNvPr>
            <p:cNvGrpSpPr/>
            <p:nvPr/>
          </p:nvGrpSpPr>
          <p:grpSpPr>
            <a:xfrm>
              <a:off x="0" y="2356582"/>
              <a:ext cx="1647336" cy="64803"/>
              <a:chOff x="0" y="2352485"/>
              <a:chExt cx="1647336" cy="64803"/>
            </a:xfrm>
            <a:grpFill/>
          </p:grpSpPr>
          <p:sp>
            <p:nvSpPr>
              <p:cNvPr id="60" name="Oval 59">
                <a:extLst>
                  <a:ext uri="{FF2B5EF4-FFF2-40B4-BE49-F238E27FC236}">
                    <a16:creationId xmlns:a16="http://schemas.microsoft.com/office/drawing/2014/main" id="{A90DAD7A-43C3-0B7B-06F0-B83E4BC2982F}"/>
                  </a:ext>
                </a:extLst>
              </p:cNvPr>
              <p:cNvSpPr/>
              <p:nvPr/>
            </p:nvSpPr>
            <p:spPr bwMode="auto">
              <a:xfrm rot="5400000">
                <a:off x="1582533" y="2352485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61" name="Oval 60">
                <a:extLst>
                  <a:ext uri="{FF2B5EF4-FFF2-40B4-BE49-F238E27FC236}">
                    <a16:creationId xmlns:a16="http://schemas.microsoft.com/office/drawing/2014/main" id="{C826D7C4-3E96-7653-78A8-963550094E62}"/>
                  </a:ext>
                </a:extLst>
              </p:cNvPr>
              <p:cNvSpPr/>
              <p:nvPr/>
            </p:nvSpPr>
            <p:spPr bwMode="auto">
              <a:xfrm rot="5400000">
                <a:off x="1384717" y="2352485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62" name="Oval 61">
                <a:extLst>
                  <a:ext uri="{FF2B5EF4-FFF2-40B4-BE49-F238E27FC236}">
                    <a16:creationId xmlns:a16="http://schemas.microsoft.com/office/drawing/2014/main" id="{8B7CD4CB-B826-FC84-67D7-CBF3F39C5EAF}"/>
                  </a:ext>
                </a:extLst>
              </p:cNvPr>
              <p:cNvSpPr/>
              <p:nvPr/>
            </p:nvSpPr>
            <p:spPr bwMode="auto">
              <a:xfrm rot="5400000">
                <a:off x="1186900" y="2352485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63" name="Oval 62">
                <a:extLst>
                  <a:ext uri="{FF2B5EF4-FFF2-40B4-BE49-F238E27FC236}">
                    <a16:creationId xmlns:a16="http://schemas.microsoft.com/office/drawing/2014/main" id="{F35B59A6-6763-B8B1-90AE-7C1C223A150B}"/>
                  </a:ext>
                </a:extLst>
              </p:cNvPr>
              <p:cNvSpPr/>
              <p:nvPr/>
            </p:nvSpPr>
            <p:spPr bwMode="auto">
              <a:xfrm>
                <a:off x="593450" y="2352485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9D6474B4-6827-9BF9-FAF2-E1795B70A592}"/>
                  </a:ext>
                </a:extLst>
              </p:cNvPr>
              <p:cNvSpPr/>
              <p:nvPr/>
            </p:nvSpPr>
            <p:spPr bwMode="auto">
              <a:xfrm rot="5400000">
                <a:off x="395633" y="2352485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65" name="Oval 64">
                <a:extLst>
                  <a:ext uri="{FF2B5EF4-FFF2-40B4-BE49-F238E27FC236}">
                    <a16:creationId xmlns:a16="http://schemas.microsoft.com/office/drawing/2014/main" id="{20741D26-8134-B07C-5729-7489D8773DB2}"/>
                  </a:ext>
                </a:extLst>
              </p:cNvPr>
              <p:cNvSpPr/>
              <p:nvPr/>
            </p:nvSpPr>
            <p:spPr bwMode="auto">
              <a:xfrm rot="5400000">
                <a:off x="197817" y="2352485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66" name="Oval 65">
                <a:extLst>
                  <a:ext uri="{FF2B5EF4-FFF2-40B4-BE49-F238E27FC236}">
                    <a16:creationId xmlns:a16="http://schemas.microsoft.com/office/drawing/2014/main" id="{D63A4E95-2F66-BFE2-4B98-F21E0E241CA6}"/>
                  </a:ext>
                </a:extLst>
              </p:cNvPr>
              <p:cNvSpPr/>
              <p:nvPr/>
            </p:nvSpPr>
            <p:spPr bwMode="auto">
              <a:xfrm rot="5400000">
                <a:off x="0" y="2352485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67" name="Oval 66">
                <a:extLst>
                  <a:ext uri="{FF2B5EF4-FFF2-40B4-BE49-F238E27FC236}">
                    <a16:creationId xmlns:a16="http://schemas.microsoft.com/office/drawing/2014/main" id="{AA31585C-BEE0-6E48-7C99-D4F3E7FB0B0F}"/>
                  </a:ext>
                </a:extLst>
              </p:cNvPr>
              <p:cNvSpPr/>
              <p:nvPr/>
            </p:nvSpPr>
            <p:spPr bwMode="auto">
              <a:xfrm>
                <a:off x="791267" y="2352485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68" name="Oval 67">
                <a:extLst>
                  <a:ext uri="{FF2B5EF4-FFF2-40B4-BE49-F238E27FC236}">
                    <a16:creationId xmlns:a16="http://schemas.microsoft.com/office/drawing/2014/main" id="{3E580A55-B12F-81CE-4C39-011911B47C96}"/>
                  </a:ext>
                </a:extLst>
              </p:cNvPr>
              <p:cNvSpPr/>
              <p:nvPr/>
            </p:nvSpPr>
            <p:spPr bwMode="auto">
              <a:xfrm>
                <a:off x="989083" y="2352485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0C0FE0B3-F9C8-2DCE-1AD7-2D310541667A}"/>
                </a:ext>
              </a:extLst>
            </p:cNvPr>
            <p:cNvGrpSpPr/>
            <p:nvPr/>
          </p:nvGrpSpPr>
          <p:grpSpPr>
            <a:xfrm>
              <a:off x="0" y="2569307"/>
              <a:ext cx="1647336" cy="64804"/>
              <a:chOff x="0" y="2561113"/>
              <a:chExt cx="1647336" cy="64804"/>
            </a:xfrm>
            <a:grpFill/>
          </p:grpSpPr>
          <p:sp>
            <p:nvSpPr>
              <p:cNvPr id="51" name="Oval 50">
                <a:extLst>
                  <a:ext uri="{FF2B5EF4-FFF2-40B4-BE49-F238E27FC236}">
                    <a16:creationId xmlns:a16="http://schemas.microsoft.com/office/drawing/2014/main" id="{5F539D38-BAC6-E106-8351-378D03B95ECB}"/>
                  </a:ext>
                </a:extLst>
              </p:cNvPr>
              <p:cNvSpPr/>
              <p:nvPr/>
            </p:nvSpPr>
            <p:spPr bwMode="auto">
              <a:xfrm rot="5400000">
                <a:off x="1582533" y="2561113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2" name="Oval 51">
                <a:extLst>
                  <a:ext uri="{FF2B5EF4-FFF2-40B4-BE49-F238E27FC236}">
                    <a16:creationId xmlns:a16="http://schemas.microsoft.com/office/drawing/2014/main" id="{37CD3226-D29E-43DE-5EDC-EE4C81470C07}"/>
                  </a:ext>
                </a:extLst>
              </p:cNvPr>
              <p:cNvSpPr/>
              <p:nvPr/>
            </p:nvSpPr>
            <p:spPr bwMode="auto">
              <a:xfrm rot="5400000">
                <a:off x="1384717" y="2561113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3" name="Oval 52">
                <a:extLst>
                  <a:ext uri="{FF2B5EF4-FFF2-40B4-BE49-F238E27FC236}">
                    <a16:creationId xmlns:a16="http://schemas.microsoft.com/office/drawing/2014/main" id="{FF45FBE0-18FE-403A-20BA-C7B34EB2C81C}"/>
                  </a:ext>
                </a:extLst>
              </p:cNvPr>
              <p:cNvSpPr/>
              <p:nvPr/>
            </p:nvSpPr>
            <p:spPr bwMode="auto">
              <a:xfrm rot="5400000">
                <a:off x="1186900" y="2561113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4" name="Oval 53">
                <a:extLst>
                  <a:ext uri="{FF2B5EF4-FFF2-40B4-BE49-F238E27FC236}">
                    <a16:creationId xmlns:a16="http://schemas.microsoft.com/office/drawing/2014/main" id="{761FDE27-595C-FFC5-51E2-A1ED4B275F98}"/>
                  </a:ext>
                </a:extLst>
              </p:cNvPr>
              <p:cNvSpPr/>
              <p:nvPr/>
            </p:nvSpPr>
            <p:spPr bwMode="auto">
              <a:xfrm>
                <a:off x="593450" y="2561113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5" name="Oval 54">
                <a:extLst>
                  <a:ext uri="{FF2B5EF4-FFF2-40B4-BE49-F238E27FC236}">
                    <a16:creationId xmlns:a16="http://schemas.microsoft.com/office/drawing/2014/main" id="{E209AC06-E726-AB85-14F5-6B00239D701A}"/>
                  </a:ext>
                </a:extLst>
              </p:cNvPr>
              <p:cNvSpPr/>
              <p:nvPr/>
            </p:nvSpPr>
            <p:spPr bwMode="auto">
              <a:xfrm rot="5400000">
                <a:off x="395633" y="2561113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6" name="Oval 55">
                <a:extLst>
                  <a:ext uri="{FF2B5EF4-FFF2-40B4-BE49-F238E27FC236}">
                    <a16:creationId xmlns:a16="http://schemas.microsoft.com/office/drawing/2014/main" id="{16558105-8E50-3399-15D7-31043E9AD44E}"/>
                  </a:ext>
                </a:extLst>
              </p:cNvPr>
              <p:cNvSpPr/>
              <p:nvPr/>
            </p:nvSpPr>
            <p:spPr bwMode="auto">
              <a:xfrm rot="5400000">
                <a:off x="197817" y="2561113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7" name="Oval 56">
                <a:extLst>
                  <a:ext uri="{FF2B5EF4-FFF2-40B4-BE49-F238E27FC236}">
                    <a16:creationId xmlns:a16="http://schemas.microsoft.com/office/drawing/2014/main" id="{2AA12D00-9BAD-5E66-25AF-C256F8A82720}"/>
                  </a:ext>
                </a:extLst>
              </p:cNvPr>
              <p:cNvSpPr/>
              <p:nvPr/>
            </p:nvSpPr>
            <p:spPr bwMode="auto">
              <a:xfrm rot="5400000">
                <a:off x="0" y="2561113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8" name="Oval 57">
                <a:extLst>
                  <a:ext uri="{FF2B5EF4-FFF2-40B4-BE49-F238E27FC236}">
                    <a16:creationId xmlns:a16="http://schemas.microsoft.com/office/drawing/2014/main" id="{81E39797-6B0D-14A9-60AB-0801F02D8959}"/>
                  </a:ext>
                </a:extLst>
              </p:cNvPr>
              <p:cNvSpPr/>
              <p:nvPr/>
            </p:nvSpPr>
            <p:spPr bwMode="auto">
              <a:xfrm>
                <a:off x="791267" y="2561113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9" name="Oval 58">
                <a:extLst>
                  <a:ext uri="{FF2B5EF4-FFF2-40B4-BE49-F238E27FC236}">
                    <a16:creationId xmlns:a16="http://schemas.microsoft.com/office/drawing/2014/main" id="{513D16B7-D349-AA7B-93A4-4F2737B66013}"/>
                  </a:ext>
                </a:extLst>
              </p:cNvPr>
              <p:cNvSpPr/>
              <p:nvPr/>
            </p:nvSpPr>
            <p:spPr bwMode="auto">
              <a:xfrm>
                <a:off x="989083" y="2561114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151B41DB-F6F9-349B-2F3E-A7D471C23451}"/>
                </a:ext>
              </a:extLst>
            </p:cNvPr>
            <p:cNvGrpSpPr/>
            <p:nvPr/>
          </p:nvGrpSpPr>
          <p:grpSpPr>
            <a:xfrm>
              <a:off x="0" y="2143857"/>
              <a:ext cx="1647336" cy="64803"/>
              <a:chOff x="0" y="2143857"/>
              <a:chExt cx="1647336" cy="64803"/>
            </a:xfrm>
            <a:grpFill/>
          </p:grpSpPr>
          <p:sp>
            <p:nvSpPr>
              <p:cNvPr id="42" name="Oval 41">
                <a:extLst>
                  <a:ext uri="{FF2B5EF4-FFF2-40B4-BE49-F238E27FC236}">
                    <a16:creationId xmlns:a16="http://schemas.microsoft.com/office/drawing/2014/main" id="{E2EC5D2A-A54B-10AB-1E7F-6D4E2CB71DAD}"/>
                  </a:ext>
                </a:extLst>
              </p:cNvPr>
              <p:cNvSpPr/>
              <p:nvPr/>
            </p:nvSpPr>
            <p:spPr bwMode="auto">
              <a:xfrm rot="5400000">
                <a:off x="1582533" y="2143857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3" name="Oval 42">
                <a:extLst>
                  <a:ext uri="{FF2B5EF4-FFF2-40B4-BE49-F238E27FC236}">
                    <a16:creationId xmlns:a16="http://schemas.microsoft.com/office/drawing/2014/main" id="{F7142276-15F4-0710-1242-1121E7122CD8}"/>
                  </a:ext>
                </a:extLst>
              </p:cNvPr>
              <p:cNvSpPr/>
              <p:nvPr/>
            </p:nvSpPr>
            <p:spPr bwMode="auto">
              <a:xfrm rot="5400000">
                <a:off x="1384717" y="2143857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4" name="Oval 43">
                <a:extLst>
                  <a:ext uri="{FF2B5EF4-FFF2-40B4-BE49-F238E27FC236}">
                    <a16:creationId xmlns:a16="http://schemas.microsoft.com/office/drawing/2014/main" id="{40D36DC4-3C12-7C0F-D16A-D8703E6BDBB1}"/>
                  </a:ext>
                </a:extLst>
              </p:cNvPr>
              <p:cNvSpPr/>
              <p:nvPr/>
            </p:nvSpPr>
            <p:spPr bwMode="auto">
              <a:xfrm rot="5400000">
                <a:off x="1186900" y="2143857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5" name="Oval 44">
                <a:extLst>
                  <a:ext uri="{FF2B5EF4-FFF2-40B4-BE49-F238E27FC236}">
                    <a16:creationId xmlns:a16="http://schemas.microsoft.com/office/drawing/2014/main" id="{8ACC0488-9DB0-DA62-1B25-0127C8FE9827}"/>
                  </a:ext>
                </a:extLst>
              </p:cNvPr>
              <p:cNvSpPr/>
              <p:nvPr/>
            </p:nvSpPr>
            <p:spPr bwMode="auto">
              <a:xfrm>
                <a:off x="593450" y="2143857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6" name="Oval 45">
                <a:extLst>
                  <a:ext uri="{FF2B5EF4-FFF2-40B4-BE49-F238E27FC236}">
                    <a16:creationId xmlns:a16="http://schemas.microsoft.com/office/drawing/2014/main" id="{66B78467-3055-9EA7-0D52-D646B9BD7953}"/>
                  </a:ext>
                </a:extLst>
              </p:cNvPr>
              <p:cNvSpPr/>
              <p:nvPr/>
            </p:nvSpPr>
            <p:spPr bwMode="auto">
              <a:xfrm rot="5400000">
                <a:off x="395633" y="2143857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7" name="Oval 46">
                <a:extLst>
                  <a:ext uri="{FF2B5EF4-FFF2-40B4-BE49-F238E27FC236}">
                    <a16:creationId xmlns:a16="http://schemas.microsoft.com/office/drawing/2014/main" id="{7513A2EF-5D16-E2C7-FD52-025F7D40CF11}"/>
                  </a:ext>
                </a:extLst>
              </p:cNvPr>
              <p:cNvSpPr/>
              <p:nvPr/>
            </p:nvSpPr>
            <p:spPr bwMode="auto">
              <a:xfrm rot="5400000">
                <a:off x="197817" y="2143857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8" name="Oval 47">
                <a:extLst>
                  <a:ext uri="{FF2B5EF4-FFF2-40B4-BE49-F238E27FC236}">
                    <a16:creationId xmlns:a16="http://schemas.microsoft.com/office/drawing/2014/main" id="{684A6D68-14DB-96DF-A697-DA0D78888DA2}"/>
                  </a:ext>
                </a:extLst>
              </p:cNvPr>
              <p:cNvSpPr/>
              <p:nvPr/>
            </p:nvSpPr>
            <p:spPr bwMode="auto">
              <a:xfrm rot="5400000">
                <a:off x="0" y="2143857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9" name="Oval 48">
                <a:extLst>
                  <a:ext uri="{FF2B5EF4-FFF2-40B4-BE49-F238E27FC236}">
                    <a16:creationId xmlns:a16="http://schemas.microsoft.com/office/drawing/2014/main" id="{B7386B6C-CA37-6018-FD08-8A8E49F5C3C1}"/>
                  </a:ext>
                </a:extLst>
              </p:cNvPr>
              <p:cNvSpPr/>
              <p:nvPr/>
            </p:nvSpPr>
            <p:spPr bwMode="auto">
              <a:xfrm>
                <a:off x="791267" y="2143857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6AC8E9AC-E8EE-0CD7-248D-ACA0A76B920F}"/>
                  </a:ext>
                </a:extLst>
              </p:cNvPr>
              <p:cNvSpPr/>
              <p:nvPr/>
            </p:nvSpPr>
            <p:spPr bwMode="auto">
              <a:xfrm>
                <a:off x="989083" y="2143857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86033F52-E3A6-1680-DC0D-D620CD1DA149}"/>
                </a:ext>
              </a:extLst>
            </p:cNvPr>
            <p:cNvGrpSpPr/>
            <p:nvPr/>
          </p:nvGrpSpPr>
          <p:grpSpPr>
            <a:xfrm>
              <a:off x="0" y="2782032"/>
              <a:ext cx="1647336" cy="64803"/>
              <a:chOff x="0" y="2769740"/>
              <a:chExt cx="1647336" cy="64803"/>
            </a:xfrm>
            <a:grpFill/>
          </p:grpSpPr>
          <p:sp>
            <p:nvSpPr>
              <p:cNvPr id="33" name="Oval 32">
                <a:extLst>
                  <a:ext uri="{FF2B5EF4-FFF2-40B4-BE49-F238E27FC236}">
                    <a16:creationId xmlns:a16="http://schemas.microsoft.com/office/drawing/2014/main" id="{751A4015-A7FF-D134-974D-1EB42EF2821A}"/>
                  </a:ext>
                </a:extLst>
              </p:cNvPr>
              <p:cNvSpPr/>
              <p:nvPr/>
            </p:nvSpPr>
            <p:spPr bwMode="auto">
              <a:xfrm rot="5400000">
                <a:off x="1582533" y="2769740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4" name="Oval 33">
                <a:extLst>
                  <a:ext uri="{FF2B5EF4-FFF2-40B4-BE49-F238E27FC236}">
                    <a16:creationId xmlns:a16="http://schemas.microsoft.com/office/drawing/2014/main" id="{4FA86999-E837-FCDB-A569-94D7AC160918}"/>
                  </a:ext>
                </a:extLst>
              </p:cNvPr>
              <p:cNvSpPr/>
              <p:nvPr/>
            </p:nvSpPr>
            <p:spPr bwMode="auto">
              <a:xfrm rot="5400000">
                <a:off x="1384717" y="2769740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5" name="Oval 34">
                <a:extLst>
                  <a:ext uri="{FF2B5EF4-FFF2-40B4-BE49-F238E27FC236}">
                    <a16:creationId xmlns:a16="http://schemas.microsoft.com/office/drawing/2014/main" id="{E2DC6340-3A97-7491-6E84-4D8D919FA7AA}"/>
                  </a:ext>
                </a:extLst>
              </p:cNvPr>
              <p:cNvSpPr/>
              <p:nvPr/>
            </p:nvSpPr>
            <p:spPr bwMode="auto">
              <a:xfrm rot="5400000">
                <a:off x="1186900" y="2769740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6" name="Oval 35">
                <a:extLst>
                  <a:ext uri="{FF2B5EF4-FFF2-40B4-BE49-F238E27FC236}">
                    <a16:creationId xmlns:a16="http://schemas.microsoft.com/office/drawing/2014/main" id="{CC5E774E-5267-777B-E099-4AA24D882CCB}"/>
                  </a:ext>
                </a:extLst>
              </p:cNvPr>
              <p:cNvSpPr/>
              <p:nvPr/>
            </p:nvSpPr>
            <p:spPr bwMode="auto">
              <a:xfrm>
                <a:off x="593450" y="2769740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7" name="Oval 36">
                <a:extLst>
                  <a:ext uri="{FF2B5EF4-FFF2-40B4-BE49-F238E27FC236}">
                    <a16:creationId xmlns:a16="http://schemas.microsoft.com/office/drawing/2014/main" id="{066CC9F6-B651-F2D5-C726-DBB970B82C48}"/>
                  </a:ext>
                </a:extLst>
              </p:cNvPr>
              <p:cNvSpPr/>
              <p:nvPr/>
            </p:nvSpPr>
            <p:spPr bwMode="auto">
              <a:xfrm rot="5400000">
                <a:off x="395633" y="2769740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8" name="Oval 37">
                <a:extLst>
                  <a:ext uri="{FF2B5EF4-FFF2-40B4-BE49-F238E27FC236}">
                    <a16:creationId xmlns:a16="http://schemas.microsoft.com/office/drawing/2014/main" id="{DEB603B9-F1AD-A280-D081-930CA5045ED3}"/>
                  </a:ext>
                </a:extLst>
              </p:cNvPr>
              <p:cNvSpPr/>
              <p:nvPr/>
            </p:nvSpPr>
            <p:spPr bwMode="auto">
              <a:xfrm rot="5400000">
                <a:off x="197817" y="2769740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9" name="Oval 38">
                <a:extLst>
                  <a:ext uri="{FF2B5EF4-FFF2-40B4-BE49-F238E27FC236}">
                    <a16:creationId xmlns:a16="http://schemas.microsoft.com/office/drawing/2014/main" id="{37A75424-081A-21D0-FD3F-24A0F7B93067}"/>
                  </a:ext>
                </a:extLst>
              </p:cNvPr>
              <p:cNvSpPr/>
              <p:nvPr/>
            </p:nvSpPr>
            <p:spPr bwMode="auto">
              <a:xfrm rot="5400000">
                <a:off x="0" y="2769740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0" name="Oval 39">
                <a:extLst>
                  <a:ext uri="{FF2B5EF4-FFF2-40B4-BE49-F238E27FC236}">
                    <a16:creationId xmlns:a16="http://schemas.microsoft.com/office/drawing/2014/main" id="{F54AD13A-8999-2AD7-ACB0-8A7885185A56}"/>
                  </a:ext>
                </a:extLst>
              </p:cNvPr>
              <p:cNvSpPr/>
              <p:nvPr/>
            </p:nvSpPr>
            <p:spPr bwMode="auto">
              <a:xfrm>
                <a:off x="791267" y="2769740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1" name="Oval 40">
                <a:extLst>
                  <a:ext uri="{FF2B5EF4-FFF2-40B4-BE49-F238E27FC236}">
                    <a16:creationId xmlns:a16="http://schemas.microsoft.com/office/drawing/2014/main" id="{892072C5-EFDC-BF8F-5FF4-90ED48601C2F}"/>
                  </a:ext>
                </a:extLst>
              </p:cNvPr>
              <p:cNvSpPr/>
              <p:nvPr/>
            </p:nvSpPr>
            <p:spPr bwMode="auto">
              <a:xfrm>
                <a:off x="989083" y="2769740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1C1D9B22-F84B-76EC-EAD6-E8E51C8A99B2}"/>
                </a:ext>
              </a:extLst>
            </p:cNvPr>
            <p:cNvGrpSpPr/>
            <p:nvPr/>
          </p:nvGrpSpPr>
          <p:grpSpPr>
            <a:xfrm>
              <a:off x="0" y="2994757"/>
              <a:ext cx="1647336" cy="64803"/>
              <a:chOff x="0" y="2143857"/>
              <a:chExt cx="1647336" cy="64803"/>
            </a:xfrm>
            <a:grpFill/>
          </p:grpSpPr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F7544CC5-44C3-3B85-469B-EC335C813333}"/>
                  </a:ext>
                </a:extLst>
              </p:cNvPr>
              <p:cNvSpPr/>
              <p:nvPr/>
            </p:nvSpPr>
            <p:spPr bwMode="auto">
              <a:xfrm rot="5400000">
                <a:off x="1582533" y="2143857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5" name="Oval 24">
                <a:extLst>
                  <a:ext uri="{FF2B5EF4-FFF2-40B4-BE49-F238E27FC236}">
                    <a16:creationId xmlns:a16="http://schemas.microsoft.com/office/drawing/2014/main" id="{38D28A50-3AFC-B551-9745-3C2A16D8F6DA}"/>
                  </a:ext>
                </a:extLst>
              </p:cNvPr>
              <p:cNvSpPr/>
              <p:nvPr/>
            </p:nvSpPr>
            <p:spPr bwMode="auto">
              <a:xfrm rot="5400000">
                <a:off x="1384717" y="2143857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A2C9A610-2142-CAC9-B135-417591FE0CE7}"/>
                  </a:ext>
                </a:extLst>
              </p:cNvPr>
              <p:cNvSpPr/>
              <p:nvPr/>
            </p:nvSpPr>
            <p:spPr bwMode="auto">
              <a:xfrm rot="5400000">
                <a:off x="1186900" y="2143857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7" name="Oval 26">
                <a:extLst>
                  <a:ext uri="{FF2B5EF4-FFF2-40B4-BE49-F238E27FC236}">
                    <a16:creationId xmlns:a16="http://schemas.microsoft.com/office/drawing/2014/main" id="{7232838E-BCBA-A6CC-9F23-4EBF3D2FFD61}"/>
                  </a:ext>
                </a:extLst>
              </p:cNvPr>
              <p:cNvSpPr/>
              <p:nvPr/>
            </p:nvSpPr>
            <p:spPr bwMode="auto">
              <a:xfrm>
                <a:off x="593450" y="2143857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8" name="Oval 27">
                <a:extLst>
                  <a:ext uri="{FF2B5EF4-FFF2-40B4-BE49-F238E27FC236}">
                    <a16:creationId xmlns:a16="http://schemas.microsoft.com/office/drawing/2014/main" id="{0C6883B0-59EF-596C-A3F3-94671C4E4082}"/>
                  </a:ext>
                </a:extLst>
              </p:cNvPr>
              <p:cNvSpPr/>
              <p:nvPr/>
            </p:nvSpPr>
            <p:spPr bwMode="auto">
              <a:xfrm rot="5400000">
                <a:off x="395633" y="2143857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9" name="Oval 28">
                <a:extLst>
                  <a:ext uri="{FF2B5EF4-FFF2-40B4-BE49-F238E27FC236}">
                    <a16:creationId xmlns:a16="http://schemas.microsoft.com/office/drawing/2014/main" id="{A5978B37-DDC4-4B1C-987A-E4C3539B68CE}"/>
                  </a:ext>
                </a:extLst>
              </p:cNvPr>
              <p:cNvSpPr/>
              <p:nvPr/>
            </p:nvSpPr>
            <p:spPr bwMode="auto">
              <a:xfrm rot="5400000">
                <a:off x="197817" y="2143857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0" name="Oval 29">
                <a:extLst>
                  <a:ext uri="{FF2B5EF4-FFF2-40B4-BE49-F238E27FC236}">
                    <a16:creationId xmlns:a16="http://schemas.microsoft.com/office/drawing/2014/main" id="{70D680B7-0E1F-1FA3-7E94-93B924F96FF8}"/>
                  </a:ext>
                </a:extLst>
              </p:cNvPr>
              <p:cNvSpPr/>
              <p:nvPr/>
            </p:nvSpPr>
            <p:spPr bwMode="auto">
              <a:xfrm rot="5400000">
                <a:off x="0" y="2143857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1" name="Oval 30">
                <a:extLst>
                  <a:ext uri="{FF2B5EF4-FFF2-40B4-BE49-F238E27FC236}">
                    <a16:creationId xmlns:a16="http://schemas.microsoft.com/office/drawing/2014/main" id="{76895536-276A-D448-DA48-E142A73E6D29}"/>
                  </a:ext>
                </a:extLst>
              </p:cNvPr>
              <p:cNvSpPr/>
              <p:nvPr/>
            </p:nvSpPr>
            <p:spPr bwMode="auto">
              <a:xfrm>
                <a:off x="791267" y="2143857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2" name="Oval 31">
                <a:extLst>
                  <a:ext uri="{FF2B5EF4-FFF2-40B4-BE49-F238E27FC236}">
                    <a16:creationId xmlns:a16="http://schemas.microsoft.com/office/drawing/2014/main" id="{ECD4F65B-6DC0-8341-E2DD-9326858C8588}"/>
                  </a:ext>
                </a:extLst>
              </p:cNvPr>
              <p:cNvSpPr/>
              <p:nvPr/>
            </p:nvSpPr>
            <p:spPr bwMode="auto">
              <a:xfrm>
                <a:off x="989083" y="2143857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7EFACC46-D7C6-A9C9-A713-51BBDF6E0826}"/>
              </a:ext>
            </a:extLst>
          </p:cNvPr>
          <p:cNvGrpSpPr/>
          <p:nvPr userDrawn="1"/>
        </p:nvGrpSpPr>
        <p:grpSpPr>
          <a:xfrm>
            <a:off x="10348517" y="5559865"/>
            <a:ext cx="1843479" cy="1298140"/>
            <a:chOff x="10348517" y="5559865"/>
            <a:chExt cx="1843479" cy="1298140"/>
          </a:xfrm>
        </p:grpSpPr>
        <p:grpSp>
          <p:nvGrpSpPr>
            <p:cNvPr id="70" name="Graphic 8">
              <a:extLst>
                <a:ext uri="{FF2B5EF4-FFF2-40B4-BE49-F238E27FC236}">
                  <a16:creationId xmlns:a16="http://schemas.microsoft.com/office/drawing/2014/main" id="{352583EF-A44C-30BC-DF51-A58388043305}"/>
                </a:ext>
              </a:extLst>
            </p:cNvPr>
            <p:cNvGrpSpPr/>
            <p:nvPr/>
          </p:nvGrpSpPr>
          <p:grpSpPr>
            <a:xfrm flipH="1">
              <a:off x="10348517" y="5687417"/>
              <a:ext cx="1563963" cy="1170588"/>
              <a:chOff x="5302292" y="8602600"/>
              <a:chExt cx="1381243" cy="1033826"/>
            </a:xfrm>
          </p:grpSpPr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275B7312-75C1-319A-B5F7-65094F88892C}"/>
                  </a:ext>
                </a:extLst>
              </p:cNvPr>
              <p:cNvSpPr/>
              <p:nvPr/>
            </p:nvSpPr>
            <p:spPr>
              <a:xfrm>
                <a:off x="6012986" y="8960641"/>
                <a:ext cx="670549" cy="675785"/>
              </a:xfrm>
              <a:custGeom>
                <a:avLst/>
                <a:gdLst>
                  <a:gd name="connsiteX0" fmla="*/ 1290709 w 1290709"/>
                  <a:gd name="connsiteY0" fmla="*/ 0 h 1300786"/>
                  <a:gd name="connsiteX1" fmla="*/ 0 w 1290709"/>
                  <a:gd name="connsiteY1" fmla="*/ 1300786 h 13007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90709" h="1300786">
                    <a:moveTo>
                      <a:pt x="1290709" y="0"/>
                    </a:moveTo>
                    <a:lnTo>
                      <a:pt x="0" y="1300786"/>
                    </a:lnTo>
                  </a:path>
                </a:pathLst>
              </a:custGeom>
              <a:ln w="12700" cap="flat">
                <a:solidFill>
                  <a:schemeClr val="bg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BA8C487D-BDBE-F196-E82A-BEF7FD134ED6}"/>
                  </a:ext>
                </a:extLst>
              </p:cNvPr>
              <p:cNvSpPr/>
              <p:nvPr/>
            </p:nvSpPr>
            <p:spPr>
              <a:xfrm>
                <a:off x="5776035" y="8841293"/>
                <a:ext cx="789064" cy="795131"/>
              </a:xfrm>
              <a:custGeom>
                <a:avLst/>
                <a:gdLst>
                  <a:gd name="connsiteX0" fmla="*/ 1290860 w 1290860"/>
                  <a:gd name="connsiteY0" fmla="*/ 0 h 1300786"/>
                  <a:gd name="connsiteX1" fmla="*/ 0 w 1290860"/>
                  <a:gd name="connsiteY1" fmla="*/ 1300786 h 13007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90860" h="1300786">
                    <a:moveTo>
                      <a:pt x="1290860" y="0"/>
                    </a:moveTo>
                    <a:lnTo>
                      <a:pt x="0" y="1300786"/>
                    </a:lnTo>
                  </a:path>
                </a:pathLst>
              </a:custGeom>
              <a:ln w="12700" cap="flat">
                <a:solidFill>
                  <a:schemeClr val="bg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3813152B-3F53-FB86-B069-1A6D1F434A56}"/>
                  </a:ext>
                </a:extLst>
              </p:cNvPr>
              <p:cNvSpPr/>
              <p:nvPr/>
            </p:nvSpPr>
            <p:spPr>
              <a:xfrm>
                <a:off x="5539166" y="8721948"/>
                <a:ext cx="907497" cy="914475"/>
              </a:xfrm>
              <a:custGeom>
                <a:avLst/>
                <a:gdLst>
                  <a:gd name="connsiteX0" fmla="*/ 1290861 w 1290860"/>
                  <a:gd name="connsiteY0" fmla="*/ 0 h 1300786"/>
                  <a:gd name="connsiteX1" fmla="*/ 0 w 1290860"/>
                  <a:gd name="connsiteY1" fmla="*/ 1300786 h 13007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90860" h="1300786">
                    <a:moveTo>
                      <a:pt x="1290861" y="0"/>
                    </a:moveTo>
                    <a:lnTo>
                      <a:pt x="0" y="1300786"/>
                    </a:lnTo>
                  </a:path>
                </a:pathLst>
              </a:custGeom>
              <a:ln w="12700" cap="flat">
                <a:solidFill>
                  <a:schemeClr val="bg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BC916D3A-E314-69C1-0E7E-EC479B137F8A}"/>
                  </a:ext>
                </a:extLst>
              </p:cNvPr>
              <p:cNvSpPr/>
              <p:nvPr/>
            </p:nvSpPr>
            <p:spPr>
              <a:xfrm>
                <a:off x="5302292" y="8602600"/>
                <a:ext cx="1025935" cy="1033824"/>
              </a:xfrm>
              <a:custGeom>
                <a:avLst/>
                <a:gdLst>
                  <a:gd name="connsiteX0" fmla="*/ 1290860 w 1290860"/>
                  <a:gd name="connsiteY0" fmla="*/ 0 h 1300786"/>
                  <a:gd name="connsiteX1" fmla="*/ 0 w 1290860"/>
                  <a:gd name="connsiteY1" fmla="*/ 1300786 h 13007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90860" h="1300786">
                    <a:moveTo>
                      <a:pt x="1290860" y="0"/>
                    </a:moveTo>
                    <a:lnTo>
                      <a:pt x="0" y="1300786"/>
                    </a:lnTo>
                  </a:path>
                </a:pathLst>
              </a:custGeom>
              <a:ln w="12700" cap="flat">
                <a:solidFill>
                  <a:schemeClr val="bg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grpSp>
          <p:nvGrpSpPr>
            <p:cNvPr id="71" name="Graphic 8">
              <a:extLst>
                <a:ext uri="{FF2B5EF4-FFF2-40B4-BE49-F238E27FC236}">
                  <a16:creationId xmlns:a16="http://schemas.microsoft.com/office/drawing/2014/main" id="{10392A2F-ABC4-CCDE-715B-1A1C9DD77AA2}"/>
                </a:ext>
              </a:extLst>
            </p:cNvPr>
            <p:cNvGrpSpPr/>
            <p:nvPr/>
          </p:nvGrpSpPr>
          <p:grpSpPr>
            <a:xfrm flipH="1">
              <a:off x="11280562" y="5559865"/>
              <a:ext cx="911434" cy="1298132"/>
              <a:chOff x="5055426" y="8489952"/>
              <a:chExt cx="804949" cy="1146469"/>
            </a:xfrm>
          </p:grpSpPr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DA1BE768-C446-2BBC-8B4B-82BB8537E644}"/>
                  </a:ext>
                </a:extLst>
              </p:cNvPr>
              <p:cNvSpPr/>
              <p:nvPr/>
            </p:nvSpPr>
            <p:spPr>
              <a:xfrm>
                <a:off x="5078021" y="8848144"/>
                <a:ext cx="782354" cy="788277"/>
              </a:xfrm>
              <a:custGeom>
                <a:avLst/>
                <a:gdLst>
                  <a:gd name="connsiteX0" fmla="*/ 1290861 w 1290860"/>
                  <a:gd name="connsiteY0" fmla="*/ 0 h 1300634"/>
                  <a:gd name="connsiteX1" fmla="*/ 0 w 1290860"/>
                  <a:gd name="connsiteY1" fmla="*/ 1300634 h 13006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90860" h="1300634">
                    <a:moveTo>
                      <a:pt x="1290861" y="0"/>
                    </a:moveTo>
                    <a:lnTo>
                      <a:pt x="0" y="1300634"/>
                    </a:lnTo>
                  </a:path>
                </a:pathLst>
              </a:custGeom>
              <a:ln w="12700" cap="flat">
                <a:solidFill>
                  <a:schemeClr val="bg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B6B75C75-110C-F534-F18D-2EC1E6583E06}"/>
                  </a:ext>
                </a:extLst>
              </p:cNvPr>
              <p:cNvSpPr/>
              <p:nvPr/>
            </p:nvSpPr>
            <p:spPr>
              <a:xfrm>
                <a:off x="5055426" y="8728797"/>
                <a:ext cx="686515" cy="691712"/>
              </a:xfrm>
              <a:custGeom>
                <a:avLst/>
                <a:gdLst>
                  <a:gd name="connsiteX0" fmla="*/ 1290860 w 1290860"/>
                  <a:gd name="connsiteY0" fmla="*/ 0 h 1300634"/>
                  <a:gd name="connsiteX1" fmla="*/ 0 w 1290860"/>
                  <a:gd name="connsiteY1" fmla="*/ 1300634 h 13006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90860" h="1300634">
                    <a:moveTo>
                      <a:pt x="1290860" y="0"/>
                    </a:moveTo>
                    <a:lnTo>
                      <a:pt x="0" y="1300634"/>
                    </a:lnTo>
                  </a:path>
                </a:pathLst>
              </a:custGeom>
              <a:ln w="12700" cap="flat">
                <a:solidFill>
                  <a:schemeClr val="bg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21F3A462-2CFA-EC34-F2E5-2DD79D1BA341}"/>
                  </a:ext>
                </a:extLst>
              </p:cNvPr>
              <p:cNvSpPr/>
              <p:nvPr/>
            </p:nvSpPr>
            <p:spPr>
              <a:xfrm>
                <a:off x="5055426" y="8609299"/>
                <a:ext cx="568078" cy="572447"/>
              </a:xfrm>
              <a:custGeom>
                <a:avLst/>
                <a:gdLst>
                  <a:gd name="connsiteX0" fmla="*/ 1290861 w 1290860"/>
                  <a:gd name="connsiteY0" fmla="*/ 0 h 1300786"/>
                  <a:gd name="connsiteX1" fmla="*/ 0 w 1290860"/>
                  <a:gd name="connsiteY1" fmla="*/ 1300786 h 13007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90860" h="1300786">
                    <a:moveTo>
                      <a:pt x="1290861" y="0"/>
                    </a:moveTo>
                    <a:lnTo>
                      <a:pt x="0" y="1300786"/>
                    </a:lnTo>
                  </a:path>
                </a:pathLst>
              </a:custGeom>
              <a:ln w="12700" cap="flat">
                <a:solidFill>
                  <a:schemeClr val="bg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96FD0968-77A6-E12D-A940-20167CABAB77}"/>
                  </a:ext>
                </a:extLst>
              </p:cNvPr>
              <p:cNvSpPr/>
              <p:nvPr/>
            </p:nvSpPr>
            <p:spPr>
              <a:xfrm>
                <a:off x="5055426" y="8489952"/>
                <a:ext cx="449490" cy="453000"/>
              </a:xfrm>
              <a:custGeom>
                <a:avLst/>
                <a:gdLst>
                  <a:gd name="connsiteX0" fmla="*/ 1290709 w 1290709"/>
                  <a:gd name="connsiteY0" fmla="*/ 0 h 1300786"/>
                  <a:gd name="connsiteX1" fmla="*/ 0 w 1290709"/>
                  <a:gd name="connsiteY1" fmla="*/ 1300787 h 13007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90709" h="1300786">
                    <a:moveTo>
                      <a:pt x="1290709" y="0"/>
                    </a:moveTo>
                    <a:lnTo>
                      <a:pt x="0" y="1300787"/>
                    </a:lnTo>
                  </a:path>
                </a:pathLst>
              </a:custGeom>
              <a:ln w="12700" cap="flat">
                <a:solidFill>
                  <a:schemeClr val="bg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</p:grpSp>
      <p:sp>
        <p:nvSpPr>
          <p:cNvPr id="80" name="TextBox 79">
            <a:extLst>
              <a:ext uri="{FF2B5EF4-FFF2-40B4-BE49-F238E27FC236}">
                <a16:creationId xmlns:a16="http://schemas.microsoft.com/office/drawing/2014/main" id="{CF4122C2-0364-1B55-B2B7-9EFB1BF42341}"/>
              </a:ext>
            </a:extLst>
          </p:cNvPr>
          <p:cNvSpPr txBox="1"/>
          <p:nvPr userDrawn="1"/>
        </p:nvSpPr>
        <p:spPr>
          <a:xfrm>
            <a:off x="361661" y="3013502"/>
            <a:ext cx="3130970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5400" b="1">
                <a:solidFill>
                  <a:schemeClr val="tx2"/>
                </a:solidFill>
                <a:latin typeface="+mj-lt"/>
              </a:rPr>
              <a:t>Agenda</a:t>
            </a:r>
          </a:p>
        </p:txBody>
      </p:sp>
      <p:grpSp>
        <p:nvGrpSpPr>
          <p:cNvPr id="87" name="Group 86">
            <a:extLst>
              <a:ext uri="{FF2B5EF4-FFF2-40B4-BE49-F238E27FC236}">
                <a16:creationId xmlns:a16="http://schemas.microsoft.com/office/drawing/2014/main" id="{BFBAC349-3C49-7052-471D-B4179B5F42E5}"/>
              </a:ext>
            </a:extLst>
          </p:cNvPr>
          <p:cNvGrpSpPr/>
          <p:nvPr userDrawn="1"/>
        </p:nvGrpSpPr>
        <p:grpSpPr>
          <a:xfrm>
            <a:off x="4655192" y="3791316"/>
            <a:ext cx="875439" cy="693220"/>
            <a:chOff x="4542888" y="2973275"/>
            <a:chExt cx="1122682" cy="889000"/>
          </a:xfrm>
        </p:grpSpPr>
        <p:sp>
          <p:nvSpPr>
            <p:cNvPr id="89" name="Oval 88">
              <a:extLst>
                <a:ext uri="{FF2B5EF4-FFF2-40B4-BE49-F238E27FC236}">
                  <a16:creationId xmlns:a16="http://schemas.microsoft.com/office/drawing/2014/main" id="{4FA8D70B-7D7D-CBAB-81D5-170BDE9AB1B5}"/>
                </a:ext>
              </a:extLst>
            </p:cNvPr>
            <p:cNvSpPr/>
            <p:nvPr/>
          </p:nvSpPr>
          <p:spPr bwMode="auto">
            <a:xfrm>
              <a:off x="4659731" y="2973275"/>
              <a:ext cx="889000" cy="889000"/>
            </a:xfrm>
            <a:prstGeom prst="ellipse">
              <a:avLst/>
            </a:prstGeom>
            <a:solidFill>
              <a:schemeClr val="bg1"/>
            </a:solidFill>
            <a:ln w="15875">
              <a:noFill/>
              <a:headEnd type="none" w="med" len="med"/>
              <a:tailEnd type="none" w="med" len="med"/>
            </a:ln>
            <a:effectLst>
              <a:outerShdw blurRad="63500" sx="105000" sy="105000" algn="ctr" rotWithShape="0">
                <a:prstClr val="black">
                  <a:alpha val="8000"/>
                </a:prstClr>
              </a:out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6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 panose="020F0502020204030204"/>
                <a:ea typeface="+mn-ea"/>
                <a:cs typeface="Segoe UI" pitchFamily="34" charset="0"/>
              </a:endParaRPr>
            </a:p>
          </p:txBody>
        </p:sp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E8898D7D-F01D-5294-4D87-F3517D23372B}"/>
                </a:ext>
              </a:extLst>
            </p:cNvPr>
            <p:cNvSpPr txBox="1"/>
            <p:nvPr userDrawn="1"/>
          </p:nvSpPr>
          <p:spPr>
            <a:xfrm>
              <a:off x="4542890" y="3180955"/>
              <a:ext cx="1122682" cy="47363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3</a:t>
              </a:r>
            </a:p>
          </p:txBody>
        </p:sp>
      </p:grpSp>
      <p:grpSp>
        <p:nvGrpSpPr>
          <p:cNvPr id="97" name="Group 96">
            <a:extLst>
              <a:ext uri="{FF2B5EF4-FFF2-40B4-BE49-F238E27FC236}">
                <a16:creationId xmlns:a16="http://schemas.microsoft.com/office/drawing/2014/main" id="{DBA52503-C894-6277-EE31-EF57BB111575}"/>
              </a:ext>
            </a:extLst>
          </p:cNvPr>
          <p:cNvGrpSpPr/>
          <p:nvPr/>
        </p:nvGrpSpPr>
        <p:grpSpPr>
          <a:xfrm>
            <a:off x="4655194" y="5091403"/>
            <a:ext cx="875439" cy="693220"/>
            <a:chOff x="4542890" y="2973275"/>
            <a:chExt cx="1122682" cy="889000"/>
          </a:xfrm>
        </p:grpSpPr>
        <p:sp>
          <p:nvSpPr>
            <p:cNvPr id="99" name="Oval 98">
              <a:extLst>
                <a:ext uri="{FF2B5EF4-FFF2-40B4-BE49-F238E27FC236}">
                  <a16:creationId xmlns:a16="http://schemas.microsoft.com/office/drawing/2014/main" id="{CDA04284-D495-8C1F-0D82-E5D538A6315A}"/>
                </a:ext>
              </a:extLst>
            </p:cNvPr>
            <p:cNvSpPr/>
            <p:nvPr/>
          </p:nvSpPr>
          <p:spPr bwMode="auto">
            <a:xfrm>
              <a:off x="4659731" y="2973275"/>
              <a:ext cx="889000" cy="889000"/>
            </a:xfrm>
            <a:prstGeom prst="ellipse">
              <a:avLst/>
            </a:prstGeom>
            <a:solidFill>
              <a:schemeClr val="bg1"/>
            </a:solidFill>
            <a:ln w="15875">
              <a:noFill/>
              <a:headEnd type="none" w="med" len="med"/>
              <a:tailEnd type="none" w="med" len="med"/>
            </a:ln>
            <a:effectLst>
              <a:outerShdw blurRad="63500" sx="105000" sy="105000" algn="ctr" rotWithShape="0">
                <a:prstClr val="black">
                  <a:alpha val="8000"/>
                </a:prstClr>
              </a:out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6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 panose="020F0502020204030204"/>
                <a:ea typeface="+mn-ea"/>
                <a:cs typeface="Segoe UI" pitchFamily="34" charset="0"/>
              </a:endParaRPr>
            </a:p>
          </p:txBody>
        </p:sp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645464B5-B1A2-C821-0236-3B1982AB0DB1}"/>
                </a:ext>
              </a:extLst>
            </p:cNvPr>
            <p:cNvSpPr txBox="1"/>
            <p:nvPr/>
          </p:nvSpPr>
          <p:spPr>
            <a:xfrm>
              <a:off x="4542890" y="3180955"/>
              <a:ext cx="1122682" cy="47363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4</a:t>
              </a:r>
            </a:p>
          </p:txBody>
        </p:sp>
      </p:grpSp>
      <p:sp>
        <p:nvSpPr>
          <p:cNvPr id="101" name="Text Placeholder 2">
            <a:extLst>
              <a:ext uri="{FF2B5EF4-FFF2-40B4-BE49-F238E27FC236}">
                <a16:creationId xmlns:a16="http://schemas.microsoft.com/office/drawing/2014/main" id="{E8EC1362-0CB6-2ADF-991C-4E36B45C092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656602" y="1399251"/>
            <a:ext cx="6070600" cy="276999"/>
          </a:xfrm>
        </p:spPr>
        <p:txBody>
          <a:bodyPr/>
          <a:lstStyle>
            <a:lvl1pPr marL="0" indent="0">
              <a:buNone/>
              <a:defRPr sz="18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2" name="Text Placeholder 2">
            <a:extLst>
              <a:ext uri="{FF2B5EF4-FFF2-40B4-BE49-F238E27FC236}">
                <a16:creationId xmlns:a16="http://schemas.microsoft.com/office/drawing/2014/main" id="{DB300B4E-15B0-3EC4-2E0C-DB32B767F4E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656602" y="2689079"/>
            <a:ext cx="6070600" cy="307777"/>
          </a:xfrm>
        </p:spPr>
        <p:txBody>
          <a:bodyPr/>
          <a:lstStyle>
            <a:lvl1pPr marL="0" indent="0">
              <a:buNone/>
              <a:defRPr sz="20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3" name="Text Placeholder 2">
            <a:extLst>
              <a:ext uri="{FF2B5EF4-FFF2-40B4-BE49-F238E27FC236}">
                <a16:creationId xmlns:a16="http://schemas.microsoft.com/office/drawing/2014/main" id="{AD6785CC-4508-96E8-DD76-F2BEDCFF29E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656602" y="4009685"/>
            <a:ext cx="6070600" cy="276999"/>
          </a:xfrm>
        </p:spPr>
        <p:txBody>
          <a:bodyPr/>
          <a:lstStyle>
            <a:lvl1pPr marL="0" indent="0">
              <a:buNone/>
              <a:defRPr sz="18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D3E17AB8-A8BA-A7E1-7A4F-836B7437908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56602" y="5299514"/>
            <a:ext cx="6070600" cy="276999"/>
          </a:xfrm>
        </p:spPr>
        <p:txBody>
          <a:bodyPr/>
          <a:lstStyle>
            <a:lvl1pPr marL="0" indent="0">
              <a:buNone/>
              <a:defRPr sz="18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57475322"/>
      </p:ext>
    </p:extLst>
  </p:cSld>
  <p:clrMapOvr>
    <a:masterClrMapping/>
  </p:clrMapOvr>
  <p:transition>
    <p:fade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Rectangle: Rounded Corners 81">
            <a:extLst>
              <a:ext uri="{FF2B5EF4-FFF2-40B4-BE49-F238E27FC236}">
                <a16:creationId xmlns:a16="http://schemas.microsoft.com/office/drawing/2014/main" id="{29C65921-FD7F-B796-44F6-E9E410683CD9}"/>
              </a:ext>
            </a:extLst>
          </p:cNvPr>
          <p:cNvSpPr/>
          <p:nvPr userDrawn="1"/>
        </p:nvSpPr>
        <p:spPr bwMode="auto">
          <a:xfrm>
            <a:off x="0" y="2328"/>
            <a:ext cx="4025900" cy="6857997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Arrow: U-Turn 4">
            <a:extLst>
              <a:ext uri="{FF2B5EF4-FFF2-40B4-BE49-F238E27FC236}">
                <a16:creationId xmlns:a16="http://schemas.microsoft.com/office/drawing/2014/main" id="{9813402F-4AE0-5DF2-8034-09DE25CC529B}"/>
              </a:ext>
            </a:extLst>
          </p:cNvPr>
          <p:cNvSpPr/>
          <p:nvPr userDrawn="1"/>
        </p:nvSpPr>
        <p:spPr bwMode="auto">
          <a:xfrm rot="5400000">
            <a:off x="1718628" y="2893060"/>
            <a:ext cx="5686424" cy="1071880"/>
          </a:xfrm>
          <a:prstGeom prst="uturnArrow">
            <a:avLst>
              <a:gd name="adj1" fmla="val 25000"/>
              <a:gd name="adj2" fmla="val 0"/>
              <a:gd name="adj3" fmla="val 25000"/>
              <a:gd name="adj4" fmla="val 10792"/>
              <a:gd name="adj5" fmla="val 100000"/>
            </a:avLst>
          </a:prstGeom>
          <a:noFill/>
          <a:ln w="6350"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02665FB2-6199-D848-B7A0-CB7398D06B75}"/>
              </a:ext>
            </a:extLst>
          </p:cNvPr>
          <p:cNvGrpSpPr/>
          <p:nvPr userDrawn="1"/>
        </p:nvGrpSpPr>
        <p:grpSpPr>
          <a:xfrm>
            <a:off x="82210" y="487355"/>
            <a:ext cx="1999622" cy="1111528"/>
            <a:chOff x="0" y="2143857"/>
            <a:chExt cx="1647336" cy="915703"/>
          </a:xfrm>
          <a:solidFill>
            <a:schemeClr val="bg2"/>
          </a:solidFill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90C3E72C-BC08-E613-5F40-3CCF61D54557}"/>
                </a:ext>
              </a:extLst>
            </p:cNvPr>
            <p:cNvGrpSpPr/>
            <p:nvPr/>
          </p:nvGrpSpPr>
          <p:grpSpPr>
            <a:xfrm>
              <a:off x="0" y="2356582"/>
              <a:ext cx="1647336" cy="64803"/>
              <a:chOff x="0" y="2352485"/>
              <a:chExt cx="1647336" cy="64803"/>
            </a:xfrm>
            <a:grpFill/>
          </p:grpSpPr>
          <p:sp>
            <p:nvSpPr>
              <p:cNvPr id="60" name="Oval 59">
                <a:extLst>
                  <a:ext uri="{FF2B5EF4-FFF2-40B4-BE49-F238E27FC236}">
                    <a16:creationId xmlns:a16="http://schemas.microsoft.com/office/drawing/2014/main" id="{A90DAD7A-43C3-0B7B-06F0-B83E4BC2982F}"/>
                  </a:ext>
                </a:extLst>
              </p:cNvPr>
              <p:cNvSpPr/>
              <p:nvPr/>
            </p:nvSpPr>
            <p:spPr bwMode="auto">
              <a:xfrm rot="5400000">
                <a:off x="1582533" y="2352485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61" name="Oval 60">
                <a:extLst>
                  <a:ext uri="{FF2B5EF4-FFF2-40B4-BE49-F238E27FC236}">
                    <a16:creationId xmlns:a16="http://schemas.microsoft.com/office/drawing/2014/main" id="{C826D7C4-3E96-7653-78A8-963550094E62}"/>
                  </a:ext>
                </a:extLst>
              </p:cNvPr>
              <p:cNvSpPr/>
              <p:nvPr/>
            </p:nvSpPr>
            <p:spPr bwMode="auto">
              <a:xfrm rot="5400000">
                <a:off x="1384717" y="2352485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62" name="Oval 61">
                <a:extLst>
                  <a:ext uri="{FF2B5EF4-FFF2-40B4-BE49-F238E27FC236}">
                    <a16:creationId xmlns:a16="http://schemas.microsoft.com/office/drawing/2014/main" id="{8B7CD4CB-B826-FC84-67D7-CBF3F39C5EAF}"/>
                  </a:ext>
                </a:extLst>
              </p:cNvPr>
              <p:cNvSpPr/>
              <p:nvPr/>
            </p:nvSpPr>
            <p:spPr bwMode="auto">
              <a:xfrm rot="5400000">
                <a:off x="1186900" y="2352485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63" name="Oval 62">
                <a:extLst>
                  <a:ext uri="{FF2B5EF4-FFF2-40B4-BE49-F238E27FC236}">
                    <a16:creationId xmlns:a16="http://schemas.microsoft.com/office/drawing/2014/main" id="{F35B59A6-6763-B8B1-90AE-7C1C223A150B}"/>
                  </a:ext>
                </a:extLst>
              </p:cNvPr>
              <p:cNvSpPr/>
              <p:nvPr/>
            </p:nvSpPr>
            <p:spPr bwMode="auto">
              <a:xfrm>
                <a:off x="593450" y="2352485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9D6474B4-6827-9BF9-FAF2-E1795B70A592}"/>
                  </a:ext>
                </a:extLst>
              </p:cNvPr>
              <p:cNvSpPr/>
              <p:nvPr/>
            </p:nvSpPr>
            <p:spPr bwMode="auto">
              <a:xfrm rot="5400000">
                <a:off x="395633" y="2352485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65" name="Oval 64">
                <a:extLst>
                  <a:ext uri="{FF2B5EF4-FFF2-40B4-BE49-F238E27FC236}">
                    <a16:creationId xmlns:a16="http://schemas.microsoft.com/office/drawing/2014/main" id="{20741D26-8134-B07C-5729-7489D8773DB2}"/>
                  </a:ext>
                </a:extLst>
              </p:cNvPr>
              <p:cNvSpPr/>
              <p:nvPr/>
            </p:nvSpPr>
            <p:spPr bwMode="auto">
              <a:xfrm rot="5400000">
                <a:off x="197817" y="2352485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66" name="Oval 65">
                <a:extLst>
                  <a:ext uri="{FF2B5EF4-FFF2-40B4-BE49-F238E27FC236}">
                    <a16:creationId xmlns:a16="http://schemas.microsoft.com/office/drawing/2014/main" id="{D63A4E95-2F66-BFE2-4B98-F21E0E241CA6}"/>
                  </a:ext>
                </a:extLst>
              </p:cNvPr>
              <p:cNvSpPr/>
              <p:nvPr/>
            </p:nvSpPr>
            <p:spPr bwMode="auto">
              <a:xfrm rot="5400000">
                <a:off x="0" y="2352485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67" name="Oval 66">
                <a:extLst>
                  <a:ext uri="{FF2B5EF4-FFF2-40B4-BE49-F238E27FC236}">
                    <a16:creationId xmlns:a16="http://schemas.microsoft.com/office/drawing/2014/main" id="{AA31585C-BEE0-6E48-7C99-D4F3E7FB0B0F}"/>
                  </a:ext>
                </a:extLst>
              </p:cNvPr>
              <p:cNvSpPr/>
              <p:nvPr/>
            </p:nvSpPr>
            <p:spPr bwMode="auto">
              <a:xfrm>
                <a:off x="791267" y="2352485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68" name="Oval 67">
                <a:extLst>
                  <a:ext uri="{FF2B5EF4-FFF2-40B4-BE49-F238E27FC236}">
                    <a16:creationId xmlns:a16="http://schemas.microsoft.com/office/drawing/2014/main" id="{3E580A55-B12F-81CE-4C39-011911B47C96}"/>
                  </a:ext>
                </a:extLst>
              </p:cNvPr>
              <p:cNvSpPr/>
              <p:nvPr/>
            </p:nvSpPr>
            <p:spPr bwMode="auto">
              <a:xfrm>
                <a:off x="989083" y="2352485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0C0FE0B3-F9C8-2DCE-1AD7-2D310541667A}"/>
                </a:ext>
              </a:extLst>
            </p:cNvPr>
            <p:cNvGrpSpPr/>
            <p:nvPr/>
          </p:nvGrpSpPr>
          <p:grpSpPr>
            <a:xfrm>
              <a:off x="0" y="2569307"/>
              <a:ext cx="1647336" cy="64804"/>
              <a:chOff x="0" y="2561113"/>
              <a:chExt cx="1647336" cy="64804"/>
            </a:xfrm>
            <a:grpFill/>
          </p:grpSpPr>
          <p:sp>
            <p:nvSpPr>
              <p:cNvPr id="51" name="Oval 50">
                <a:extLst>
                  <a:ext uri="{FF2B5EF4-FFF2-40B4-BE49-F238E27FC236}">
                    <a16:creationId xmlns:a16="http://schemas.microsoft.com/office/drawing/2014/main" id="{5F539D38-BAC6-E106-8351-378D03B95ECB}"/>
                  </a:ext>
                </a:extLst>
              </p:cNvPr>
              <p:cNvSpPr/>
              <p:nvPr/>
            </p:nvSpPr>
            <p:spPr bwMode="auto">
              <a:xfrm rot="5400000">
                <a:off x="1582533" y="2561113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2" name="Oval 51">
                <a:extLst>
                  <a:ext uri="{FF2B5EF4-FFF2-40B4-BE49-F238E27FC236}">
                    <a16:creationId xmlns:a16="http://schemas.microsoft.com/office/drawing/2014/main" id="{37CD3226-D29E-43DE-5EDC-EE4C81470C07}"/>
                  </a:ext>
                </a:extLst>
              </p:cNvPr>
              <p:cNvSpPr/>
              <p:nvPr/>
            </p:nvSpPr>
            <p:spPr bwMode="auto">
              <a:xfrm rot="5400000">
                <a:off x="1384717" y="2561113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3" name="Oval 52">
                <a:extLst>
                  <a:ext uri="{FF2B5EF4-FFF2-40B4-BE49-F238E27FC236}">
                    <a16:creationId xmlns:a16="http://schemas.microsoft.com/office/drawing/2014/main" id="{FF45FBE0-18FE-403A-20BA-C7B34EB2C81C}"/>
                  </a:ext>
                </a:extLst>
              </p:cNvPr>
              <p:cNvSpPr/>
              <p:nvPr/>
            </p:nvSpPr>
            <p:spPr bwMode="auto">
              <a:xfrm rot="5400000">
                <a:off x="1186900" y="2561113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4" name="Oval 53">
                <a:extLst>
                  <a:ext uri="{FF2B5EF4-FFF2-40B4-BE49-F238E27FC236}">
                    <a16:creationId xmlns:a16="http://schemas.microsoft.com/office/drawing/2014/main" id="{761FDE27-595C-FFC5-51E2-A1ED4B275F98}"/>
                  </a:ext>
                </a:extLst>
              </p:cNvPr>
              <p:cNvSpPr/>
              <p:nvPr/>
            </p:nvSpPr>
            <p:spPr bwMode="auto">
              <a:xfrm>
                <a:off x="593450" y="2561113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5" name="Oval 54">
                <a:extLst>
                  <a:ext uri="{FF2B5EF4-FFF2-40B4-BE49-F238E27FC236}">
                    <a16:creationId xmlns:a16="http://schemas.microsoft.com/office/drawing/2014/main" id="{E209AC06-E726-AB85-14F5-6B00239D701A}"/>
                  </a:ext>
                </a:extLst>
              </p:cNvPr>
              <p:cNvSpPr/>
              <p:nvPr/>
            </p:nvSpPr>
            <p:spPr bwMode="auto">
              <a:xfrm rot="5400000">
                <a:off x="395633" y="2561113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6" name="Oval 55">
                <a:extLst>
                  <a:ext uri="{FF2B5EF4-FFF2-40B4-BE49-F238E27FC236}">
                    <a16:creationId xmlns:a16="http://schemas.microsoft.com/office/drawing/2014/main" id="{16558105-8E50-3399-15D7-31043E9AD44E}"/>
                  </a:ext>
                </a:extLst>
              </p:cNvPr>
              <p:cNvSpPr/>
              <p:nvPr/>
            </p:nvSpPr>
            <p:spPr bwMode="auto">
              <a:xfrm rot="5400000">
                <a:off x="197817" y="2561113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7" name="Oval 56">
                <a:extLst>
                  <a:ext uri="{FF2B5EF4-FFF2-40B4-BE49-F238E27FC236}">
                    <a16:creationId xmlns:a16="http://schemas.microsoft.com/office/drawing/2014/main" id="{2AA12D00-9BAD-5E66-25AF-C256F8A82720}"/>
                  </a:ext>
                </a:extLst>
              </p:cNvPr>
              <p:cNvSpPr/>
              <p:nvPr/>
            </p:nvSpPr>
            <p:spPr bwMode="auto">
              <a:xfrm rot="5400000">
                <a:off x="0" y="2561113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8" name="Oval 57">
                <a:extLst>
                  <a:ext uri="{FF2B5EF4-FFF2-40B4-BE49-F238E27FC236}">
                    <a16:creationId xmlns:a16="http://schemas.microsoft.com/office/drawing/2014/main" id="{81E39797-6B0D-14A9-60AB-0801F02D8959}"/>
                  </a:ext>
                </a:extLst>
              </p:cNvPr>
              <p:cNvSpPr/>
              <p:nvPr/>
            </p:nvSpPr>
            <p:spPr bwMode="auto">
              <a:xfrm>
                <a:off x="791267" y="2561113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9" name="Oval 58">
                <a:extLst>
                  <a:ext uri="{FF2B5EF4-FFF2-40B4-BE49-F238E27FC236}">
                    <a16:creationId xmlns:a16="http://schemas.microsoft.com/office/drawing/2014/main" id="{513D16B7-D349-AA7B-93A4-4F2737B66013}"/>
                  </a:ext>
                </a:extLst>
              </p:cNvPr>
              <p:cNvSpPr/>
              <p:nvPr/>
            </p:nvSpPr>
            <p:spPr bwMode="auto">
              <a:xfrm>
                <a:off x="989083" y="2561114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151B41DB-F6F9-349B-2F3E-A7D471C23451}"/>
                </a:ext>
              </a:extLst>
            </p:cNvPr>
            <p:cNvGrpSpPr/>
            <p:nvPr/>
          </p:nvGrpSpPr>
          <p:grpSpPr>
            <a:xfrm>
              <a:off x="0" y="2143857"/>
              <a:ext cx="1647336" cy="64803"/>
              <a:chOff x="0" y="2143857"/>
              <a:chExt cx="1647336" cy="64803"/>
            </a:xfrm>
            <a:grpFill/>
          </p:grpSpPr>
          <p:sp>
            <p:nvSpPr>
              <p:cNvPr id="42" name="Oval 41">
                <a:extLst>
                  <a:ext uri="{FF2B5EF4-FFF2-40B4-BE49-F238E27FC236}">
                    <a16:creationId xmlns:a16="http://schemas.microsoft.com/office/drawing/2014/main" id="{E2EC5D2A-A54B-10AB-1E7F-6D4E2CB71DAD}"/>
                  </a:ext>
                </a:extLst>
              </p:cNvPr>
              <p:cNvSpPr/>
              <p:nvPr/>
            </p:nvSpPr>
            <p:spPr bwMode="auto">
              <a:xfrm rot="5400000">
                <a:off x="1582533" y="2143857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3" name="Oval 42">
                <a:extLst>
                  <a:ext uri="{FF2B5EF4-FFF2-40B4-BE49-F238E27FC236}">
                    <a16:creationId xmlns:a16="http://schemas.microsoft.com/office/drawing/2014/main" id="{F7142276-15F4-0710-1242-1121E7122CD8}"/>
                  </a:ext>
                </a:extLst>
              </p:cNvPr>
              <p:cNvSpPr/>
              <p:nvPr/>
            </p:nvSpPr>
            <p:spPr bwMode="auto">
              <a:xfrm rot="5400000">
                <a:off x="1384717" y="2143857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4" name="Oval 43">
                <a:extLst>
                  <a:ext uri="{FF2B5EF4-FFF2-40B4-BE49-F238E27FC236}">
                    <a16:creationId xmlns:a16="http://schemas.microsoft.com/office/drawing/2014/main" id="{40D36DC4-3C12-7C0F-D16A-D8703E6BDBB1}"/>
                  </a:ext>
                </a:extLst>
              </p:cNvPr>
              <p:cNvSpPr/>
              <p:nvPr/>
            </p:nvSpPr>
            <p:spPr bwMode="auto">
              <a:xfrm rot="5400000">
                <a:off x="1186900" y="2143857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5" name="Oval 44">
                <a:extLst>
                  <a:ext uri="{FF2B5EF4-FFF2-40B4-BE49-F238E27FC236}">
                    <a16:creationId xmlns:a16="http://schemas.microsoft.com/office/drawing/2014/main" id="{8ACC0488-9DB0-DA62-1B25-0127C8FE9827}"/>
                  </a:ext>
                </a:extLst>
              </p:cNvPr>
              <p:cNvSpPr/>
              <p:nvPr/>
            </p:nvSpPr>
            <p:spPr bwMode="auto">
              <a:xfrm>
                <a:off x="593450" y="2143857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6" name="Oval 45">
                <a:extLst>
                  <a:ext uri="{FF2B5EF4-FFF2-40B4-BE49-F238E27FC236}">
                    <a16:creationId xmlns:a16="http://schemas.microsoft.com/office/drawing/2014/main" id="{66B78467-3055-9EA7-0D52-D646B9BD7953}"/>
                  </a:ext>
                </a:extLst>
              </p:cNvPr>
              <p:cNvSpPr/>
              <p:nvPr/>
            </p:nvSpPr>
            <p:spPr bwMode="auto">
              <a:xfrm rot="5400000">
                <a:off x="395633" y="2143857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7" name="Oval 46">
                <a:extLst>
                  <a:ext uri="{FF2B5EF4-FFF2-40B4-BE49-F238E27FC236}">
                    <a16:creationId xmlns:a16="http://schemas.microsoft.com/office/drawing/2014/main" id="{7513A2EF-5D16-E2C7-FD52-025F7D40CF11}"/>
                  </a:ext>
                </a:extLst>
              </p:cNvPr>
              <p:cNvSpPr/>
              <p:nvPr/>
            </p:nvSpPr>
            <p:spPr bwMode="auto">
              <a:xfrm rot="5400000">
                <a:off x="197817" y="2143857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8" name="Oval 47">
                <a:extLst>
                  <a:ext uri="{FF2B5EF4-FFF2-40B4-BE49-F238E27FC236}">
                    <a16:creationId xmlns:a16="http://schemas.microsoft.com/office/drawing/2014/main" id="{684A6D68-14DB-96DF-A697-DA0D78888DA2}"/>
                  </a:ext>
                </a:extLst>
              </p:cNvPr>
              <p:cNvSpPr/>
              <p:nvPr/>
            </p:nvSpPr>
            <p:spPr bwMode="auto">
              <a:xfrm rot="5400000">
                <a:off x="0" y="2143857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9" name="Oval 48">
                <a:extLst>
                  <a:ext uri="{FF2B5EF4-FFF2-40B4-BE49-F238E27FC236}">
                    <a16:creationId xmlns:a16="http://schemas.microsoft.com/office/drawing/2014/main" id="{B7386B6C-CA37-6018-FD08-8A8E49F5C3C1}"/>
                  </a:ext>
                </a:extLst>
              </p:cNvPr>
              <p:cNvSpPr/>
              <p:nvPr/>
            </p:nvSpPr>
            <p:spPr bwMode="auto">
              <a:xfrm>
                <a:off x="791267" y="2143857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6AC8E9AC-E8EE-0CD7-248D-ACA0A76B920F}"/>
                  </a:ext>
                </a:extLst>
              </p:cNvPr>
              <p:cNvSpPr/>
              <p:nvPr/>
            </p:nvSpPr>
            <p:spPr bwMode="auto">
              <a:xfrm>
                <a:off x="989083" y="2143857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86033F52-E3A6-1680-DC0D-D620CD1DA149}"/>
                </a:ext>
              </a:extLst>
            </p:cNvPr>
            <p:cNvGrpSpPr/>
            <p:nvPr/>
          </p:nvGrpSpPr>
          <p:grpSpPr>
            <a:xfrm>
              <a:off x="0" y="2782032"/>
              <a:ext cx="1647336" cy="64803"/>
              <a:chOff x="0" y="2769740"/>
              <a:chExt cx="1647336" cy="64803"/>
            </a:xfrm>
            <a:grpFill/>
          </p:grpSpPr>
          <p:sp>
            <p:nvSpPr>
              <p:cNvPr id="33" name="Oval 32">
                <a:extLst>
                  <a:ext uri="{FF2B5EF4-FFF2-40B4-BE49-F238E27FC236}">
                    <a16:creationId xmlns:a16="http://schemas.microsoft.com/office/drawing/2014/main" id="{751A4015-A7FF-D134-974D-1EB42EF2821A}"/>
                  </a:ext>
                </a:extLst>
              </p:cNvPr>
              <p:cNvSpPr/>
              <p:nvPr/>
            </p:nvSpPr>
            <p:spPr bwMode="auto">
              <a:xfrm rot="5400000">
                <a:off x="1582533" y="2769740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4" name="Oval 33">
                <a:extLst>
                  <a:ext uri="{FF2B5EF4-FFF2-40B4-BE49-F238E27FC236}">
                    <a16:creationId xmlns:a16="http://schemas.microsoft.com/office/drawing/2014/main" id="{4FA86999-E837-FCDB-A569-94D7AC160918}"/>
                  </a:ext>
                </a:extLst>
              </p:cNvPr>
              <p:cNvSpPr/>
              <p:nvPr/>
            </p:nvSpPr>
            <p:spPr bwMode="auto">
              <a:xfrm rot="5400000">
                <a:off x="1384717" y="2769740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5" name="Oval 34">
                <a:extLst>
                  <a:ext uri="{FF2B5EF4-FFF2-40B4-BE49-F238E27FC236}">
                    <a16:creationId xmlns:a16="http://schemas.microsoft.com/office/drawing/2014/main" id="{E2DC6340-3A97-7491-6E84-4D8D919FA7AA}"/>
                  </a:ext>
                </a:extLst>
              </p:cNvPr>
              <p:cNvSpPr/>
              <p:nvPr/>
            </p:nvSpPr>
            <p:spPr bwMode="auto">
              <a:xfrm rot="5400000">
                <a:off x="1186900" y="2769740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6" name="Oval 35">
                <a:extLst>
                  <a:ext uri="{FF2B5EF4-FFF2-40B4-BE49-F238E27FC236}">
                    <a16:creationId xmlns:a16="http://schemas.microsoft.com/office/drawing/2014/main" id="{CC5E774E-5267-777B-E099-4AA24D882CCB}"/>
                  </a:ext>
                </a:extLst>
              </p:cNvPr>
              <p:cNvSpPr/>
              <p:nvPr/>
            </p:nvSpPr>
            <p:spPr bwMode="auto">
              <a:xfrm>
                <a:off x="593450" y="2769740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7" name="Oval 36">
                <a:extLst>
                  <a:ext uri="{FF2B5EF4-FFF2-40B4-BE49-F238E27FC236}">
                    <a16:creationId xmlns:a16="http://schemas.microsoft.com/office/drawing/2014/main" id="{066CC9F6-B651-F2D5-C726-DBB970B82C48}"/>
                  </a:ext>
                </a:extLst>
              </p:cNvPr>
              <p:cNvSpPr/>
              <p:nvPr/>
            </p:nvSpPr>
            <p:spPr bwMode="auto">
              <a:xfrm rot="5400000">
                <a:off x="395633" y="2769740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8" name="Oval 37">
                <a:extLst>
                  <a:ext uri="{FF2B5EF4-FFF2-40B4-BE49-F238E27FC236}">
                    <a16:creationId xmlns:a16="http://schemas.microsoft.com/office/drawing/2014/main" id="{DEB603B9-F1AD-A280-D081-930CA5045ED3}"/>
                  </a:ext>
                </a:extLst>
              </p:cNvPr>
              <p:cNvSpPr/>
              <p:nvPr/>
            </p:nvSpPr>
            <p:spPr bwMode="auto">
              <a:xfrm rot="5400000">
                <a:off x="197817" y="2769740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9" name="Oval 38">
                <a:extLst>
                  <a:ext uri="{FF2B5EF4-FFF2-40B4-BE49-F238E27FC236}">
                    <a16:creationId xmlns:a16="http://schemas.microsoft.com/office/drawing/2014/main" id="{37A75424-081A-21D0-FD3F-24A0F7B93067}"/>
                  </a:ext>
                </a:extLst>
              </p:cNvPr>
              <p:cNvSpPr/>
              <p:nvPr/>
            </p:nvSpPr>
            <p:spPr bwMode="auto">
              <a:xfrm rot="5400000">
                <a:off x="0" y="2769740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0" name="Oval 39">
                <a:extLst>
                  <a:ext uri="{FF2B5EF4-FFF2-40B4-BE49-F238E27FC236}">
                    <a16:creationId xmlns:a16="http://schemas.microsoft.com/office/drawing/2014/main" id="{F54AD13A-8999-2AD7-ACB0-8A7885185A56}"/>
                  </a:ext>
                </a:extLst>
              </p:cNvPr>
              <p:cNvSpPr/>
              <p:nvPr/>
            </p:nvSpPr>
            <p:spPr bwMode="auto">
              <a:xfrm>
                <a:off x="791267" y="2769740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1" name="Oval 40">
                <a:extLst>
                  <a:ext uri="{FF2B5EF4-FFF2-40B4-BE49-F238E27FC236}">
                    <a16:creationId xmlns:a16="http://schemas.microsoft.com/office/drawing/2014/main" id="{892072C5-EFDC-BF8F-5FF4-90ED48601C2F}"/>
                  </a:ext>
                </a:extLst>
              </p:cNvPr>
              <p:cNvSpPr/>
              <p:nvPr/>
            </p:nvSpPr>
            <p:spPr bwMode="auto">
              <a:xfrm>
                <a:off x="989083" y="2769740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1C1D9B22-F84B-76EC-EAD6-E8E51C8A99B2}"/>
                </a:ext>
              </a:extLst>
            </p:cNvPr>
            <p:cNvGrpSpPr/>
            <p:nvPr/>
          </p:nvGrpSpPr>
          <p:grpSpPr>
            <a:xfrm>
              <a:off x="0" y="2994757"/>
              <a:ext cx="1647336" cy="64803"/>
              <a:chOff x="0" y="2143857"/>
              <a:chExt cx="1647336" cy="64803"/>
            </a:xfrm>
            <a:grpFill/>
          </p:grpSpPr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F7544CC5-44C3-3B85-469B-EC335C813333}"/>
                  </a:ext>
                </a:extLst>
              </p:cNvPr>
              <p:cNvSpPr/>
              <p:nvPr/>
            </p:nvSpPr>
            <p:spPr bwMode="auto">
              <a:xfrm rot="5400000">
                <a:off x="1582533" y="2143857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5" name="Oval 24">
                <a:extLst>
                  <a:ext uri="{FF2B5EF4-FFF2-40B4-BE49-F238E27FC236}">
                    <a16:creationId xmlns:a16="http://schemas.microsoft.com/office/drawing/2014/main" id="{38D28A50-3AFC-B551-9745-3C2A16D8F6DA}"/>
                  </a:ext>
                </a:extLst>
              </p:cNvPr>
              <p:cNvSpPr/>
              <p:nvPr/>
            </p:nvSpPr>
            <p:spPr bwMode="auto">
              <a:xfrm rot="5400000">
                <a:off x="1384717" y="2143857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A2C9A610-2142-CAC9-B135-417591FE0CE7}"/>
                  </a:ext>
                </a:extLst>
              </p:cNvPr>
              <p:cNvSpPr/>
              <p:nvPr/>
            </p:nvSpPr>
            <p:spPr bwMode="auto">
              <a:xfrm rot="5400000">
                <a:off x="1186900" y="2143857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7" name="Oval 26">
                <a:extLst>
                  <a:ext uri="{FF2B5EF4-FFF2-40B4-BE49-F238E27FC236}">
                    <a16:creationId xmlns:a16="http://schemas.microsoft.com/office/drawing/2014/main" id="{7232838E-BCBA-A6CC-9F23-4EBF3D2FFD61}"/>
                  </a:ext>
                </a:extLst>
              </p:cNvPr>
              <p:cNvSpPr/>
              <p:nvPr/>
            </p:nvSpPr>
            <p:spPr bwMode="auto">
              <a:xfrm>
                <a:off x="593450" y="2143857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8" name="Oval 27">
                <a:extLst>
                  <a:ext uri="{FF2B5EF4-FFF2-40B4-BE49-F238E27FC236}">
                    <a16:creationId xmlns:a16="http://schemas.microsoft.com/office/drawing/2014/main" id="{0C6883B0-59EF-596C-A3F3-94671C4E4082}"/>
                  </a:ext>
                </a:extLst>
              </p:cNvPr>
              <p:cNvSpPr/>
              <p:nvPr/>
            </p:nvSpPr>
            <p:spPr bwMode="auto">
              <a:xfrm rot="5400000">
                <a:off x="395633" y="2143857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9" name="Oval 28">
                <a:extLst>
                  <a:ext uri="{FF2B5EF4-FFF2-40B4-BE49-F238E27FC236}">
                    <a16:creationId xmlns:a16="http://schemas.microsoft.com/office/drawing/2014/main" id="{A5978B37-DDC4-4B1C-987A-E4C3539B68CE}"/>
                  </a:ext>
                </a:extLst>
              </p:cNvPr>
              <p:cNvSpPr/>
              <p:nvPr/>
            </p:nvSpPr>
            <p:spPr bwMode="auto">
              <a:xfrm rot="5400000">
                <a:off x="197817" y="2143857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0" name="Oval 29">
                <a:extLst>
                  <a:ext uri="{FF2B5EF4-FFF2-40B4-BE49-F238E27FC236}">
                    <a16:creationId xmlns:a16="http://schemas.microsoft.com/office/drawing/2014/main" id="{70D680B7-0E1F-1FA3-7E94-93B924F96FF8}"/>
                  </a:ext>
                </a:extLst>
              </p:cNvPr>
              <p:cNvSpPr/>
              <p:nvPr/>
            </p:nvSpPr>
            <p:spPr bwMode="auto">
              <a:xfrm rot="5400000">
                <a:off x="0" y="2143857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1" name="Oval 30">
                <a:extLst>
                  <a:ext uri="{FF2B5EF4-FFF2-40B4-BE49-F238E27FC236}">
                    <a16:creationId xmlns:a16="http://schemas.microsoft.com/office/drawing/2014/main" id="{76895536-276A-D448-DA48-E142A73E6D29}"/>
                  </a:ext>
                </a:extLst>
              </p:cNvPr>
              <p:cNvSpPr/>
              <p:nvPr/>
            </p:nvSpPr>
            <p:spPr bwMode="auto">
              <a:xfrm>
                <a:off x="791267" y="2143857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2" name="Oval 31">
                <a:extLst>
                  <a:ext uri="{FF2B5EF4-FFF2-40B4-BE49-F238E27FC236}">
                    <a16:creationId xmlns:a16="http://schemas.microsoft.com/office/drawing/2014/main" id="{ECD4F65B-6DC0-8341-E2DD-9326858C8588}"/>
                  </a:ext>
                </a:extLst>
              </p:cNvPr>
              <p:cNvSpPr/>
              <p:nvPr/>
            </p:nvSpPr>
            <p:spPr bwMode="auto">
              <a:xfrm>
                <a:off x="989083" y="2143857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7EFACC46-D7C6-A9C9-A713-51BBDF6E0826}"/>
              </a:ext>
            </a:extLst>
          </p:cNvPr>
          <p:cNvGrpSpPr/>
          <p:nvPr userDrawn="1"/>
        </p:nvGrpSpPr>
        <p:grpSpPr>
          <a:xfrm>
            <a:off x="10348517" y="5559865"/>
            <a:ext cx="1843479" cy="1298140"/>
            <a:chOff x="10348517" y="5559865"/>
            <a:chExt cx="1843479" cy="1298140"/>
          </a:xfrm>
        </p:grpSpPr>
        <p:grpSp>
          <p:nvGrpSpPr>
            <p:cNvPr id="70" name="Graphic 8">
              <a:extLst>
                <a:ext uri="{FF2B5EF4-FFF2-40B4-BE49-F238E27FC236}">
                  <a16:creationId xmlns:a16="http://schemas.microsoft.com/office/drawing/2014/main" id="{352583EF-A44C-30BC-DF51-A58388043305}"/>
                </a:ext>
              </a:extLst>
            </p:cNvPr>
            <p:cNvGrpSpPr/>
            <p:nvPr/>
          </p:nvGrpSpPr>
          <p:grpSpPr>
            <a:xfrm flipH="1">
              <a:off x="10348517" y="5687417"/>
              <a:ext cx="1563963" cy="1170588"/>
              <a:chOff x="5302292" y="8602600"/>
              <a:chExt cx="1381243" cy="1033826"/>
            </a:xfrm>
          </p:grpSpPr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275B7312-75C1-319A-B5F7-65094F88892C}"/>
                  </a:ext>
                </a:extLst>
              </p:cNvPr>
              <p:cNvSpPr/>
              <p:nvPr/>
            </p:nvSpPr>
            <p:spPr>
              <a:xfrm>
                <a:off x="6012986" y="8960641"/>
                <a:ext cx="670549" cy="675785"/>
              </a:xfrm>
              <a:custGeom>
                <a:avLst/>
                <a:gdLst>
                  <a:gd name="connsiteX0" fmla="*/ 1290709 w 1290709"/>
                  <a:gd name="connsiteY0" fmla="*/ 0 h 1300786"/>
                  <a:gd name="connsiteX1" fmla="*/ 0 w 1290709"/>
                  <a:gd name="connsiteY1" fmla="*/ 1300786 h 13007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90709" h="1300786">
                    <a:moveTo>
                      <a:pt x="1290709" y="0"/>
                    </a:moveTo>
                    <a:lnTo>
                      <a:pt x="0" y="1300786"/>
                    </a:lnTo>
                  </a:path>
                </a:pathLst>
              </a:custGeom>
              <a:ln>
                <a:solidFill>
                  <a:schemeClr val="bg2"/>
                </a:solidFill>
              </a:ln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BA8C487D-BDBE-F196-E82A-BEF7FD134ED6}"/>
                  </a:ext>
                </a:extLst>
              </p:cNvPr>
              <p:cNvSpPr/>
              <p:nvPr/>
            </p:nvSpPr>
            <p:spPr>
              <a:xfrm>
                <a:off x="5776035" y="8841293"/>
                <a:ext cx="789064" cy="795131"/>
              </a:xfrm>
              <a:custGeom>
                <a:avLst/>
                <a:gdLst>
                  <a:gd name="connsiteX0" fmla="*/ 1290860 w 1290860"/>
                  <a:gd name="connsiteY0" fmla="*/ 0 h 1300786"/>
                  <a:gd name="connsiteX1" fmla="*/ 0 w 1290860"/>
                  <a:gd name="connsiteY1" fmla="*/ 1300786 h 13007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90860" h="1300786">
                    <a:moveTo>
                      <a:pt x="1290860" y="0"/>
                    </a:moveTo>
                    <a:lnTo>
                      <a:pt x="0" y="1300786"/>
                    </a:lnTo>
                  </a:path>
                </a:pathLst>
              </a:custGeom>
              <a:ln>
                <a:solidFill>
                  <a:schemeClr val="bg2"/>
                </a:solidFill>
              </a:ln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3813152B-3F53-FB86-B069-1A6D1F434A56}"/>
                  </a:ext>
                </a:extLst>
              </p:cNvPr>
              <p:cNvSpPr/>
              <p:nvPr/>
            </p:nvSpPr>
            <p:spPr>
              <a:xfrm>
                <a:off x="5539166" y="8721948"/>
                <a:ext cx="907497" cy="914475"/>
              </a:xfrm>
              <a:custGeom>
                <a:avLst/>
                <a:gdLst>
                  <a:gd name="connsiteX0" fmla="*/ 1290861 w 1290860"/>
                  <a:gd name="connsiteY0" fmla="*/ 0 h 1300786"/>
                  <a:gd name="connsiteX1" fmla="*/ 0 w 1290860"/>
                  <a:gd name="connsiteY1" fmla="*/ 1300786 h 13007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90860" h="1300786">
                    <a:moveTo>
                      <a:pt x="1290861" y="0"/>
                    </a:moveTo>
                    <a:lnTo>
                      <a:pt x="0" y="1300786"/>
                    </a:lnTo>
                  </a:path>
                </a:pathLst>
              </a:custGeom>
              <a:ln>
                <a:solidFill>
                  <a:schemeClr val="bg2"/>
                </a:solidFill>
              </a:ln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BC916D3A-E314-69C1-0E7E-EC479B137F8A}"/>
                  </a:ext>
                </a:extLst>
              </p:cNvPr>
              <p:cNvSpPr/>
              <p:nvPr/>
            </p:nvSpPr>
            <p:spPr>
              <a:xfrm>
                <a:off x="5302292" y="8602600"/>
                <a:ext cx="1025935" cy="1033824"/>
              </a:xfrm>
              <a:custGeom>
                <a:avLst/>
                <a:gdLst>
                  <a:gd name="connsiteX0" fmla="*/ 1290860 w 1290860"/>
                  <a:gd name="connsiteY0" fmla="*/ 0 h 1300786"/>
                  <a:gd name="connsiteX1" fmla="*/ 0 w 1290860"/>
                  <a:gd name="connsiteY1" fmla="*/ 1300786 h 13007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90860" h="1300786">
                    <a:moveTo>
                      <a:pt x="1290860" y="0"/>
                    </a:moveTo>
                    <a:lnTo>
                      <a:pt x="0" y="1300786"/>
                    </a:lnTo>
                  </a:path>
                </a:pathLst>
              </a:custGeom>
              <a:ln>
                <a:solidFill>
                  <a:schemeClr val="bg2"/>
                </a:solidFill>
              </a:ln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grpSp>
          <p:nvGrpSpPr>
            <p:cNvPr id="71" name="Graphic 8">
              <a:extLst>
                <a:ext uri="{FF2B5EF4-FFF2-40B4-BE49-F238E27FC236}">
                  <a16:creationId xmlns:a16="http://schemas.microsoft.com/office/drawing/2014/main" id="{10392A2F-ABC4-CCDE-715B-1A1C9DD77AA2}"/>
                </a:ext>
              </a:extLst>
            </p:cNvPr>
            <p:cNvGrpSpPr/>
            <p:nvPr/>
          </p:nvGrpSpPr>
          <p:grpSpPr>
            <a:xfrm flipH="1">
              <a:off x="11280562" y="5559865"/>
              <a:ext cx="911434" cy="1298132"/>
              <a:chOff x="5055426" y="8489952"/>
              <a:chExt cx="804949" cy="1146469"/>
            </a:xfrm>
          </p:grpSpPr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DA1BE768-C446-2BBC-8B4B-82BB8537E644}"/>
                  </a:ext>
                </a:extLst>
              </p:cNvPr>
              <p:cNvSpPr/>
              <p:nvPr/>
            </p:nvSpPr>
            <p:spPr>
              <a:xfrm>
                <a:off x="5078021" y="8848144"/>
                <a:ext cx="782354" cy="788277"/>
              </a:xfrm>
              <a:custGeom>
                <a:avLst/>
                <a:gdLst>
                  <a:gd name="connsiteX0" fmla="*/ 1290861 w 1290860"/>
                  <a:gd name="connsiteY0" fmla="*/ 0 h 1300634"/>
                  <a:gd name="connsiteX1" fmla="*/ 0 w 1290860"/>
                  <a:gd name="connsiteY1" fmla="*/ 1300634 h 13006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90860" h="1300634">
                    <a:moveTo>
                      <a:pt x="1290861" y="0"/>
                    </a:moveTo>
                    <a:lnTo>
                      <a:pt x="0" y="1300634"/>
                    </a:lnTo>
                  </a:path>
                </a:pathLst>
              </a:custGeom>
              <a:ln>
                <a:solidFill>
                  <a:schemeClr val="bg2"/>
                </a:solidFill>
              </a:ln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B6B75C75-110C-F534-F18D-2EC1E6583E06}"/>
                  </a:ext>
                </a:extLst>
              </p:cNvPr>
              <p:cNvSpPr/>
              <p:nvPr/>
            </p:nvSpPr>
            <p:spPr>
              <a:xfrm>
                <a:off x="5055426" y="8728797"/>
                <a:ext cx="686515" cy="691712"/>
              </a:xfrm>
              <a:custGeom>
                <a:avLst/>
                <a:gdLst>
                  <a:gd name="connsiteX0" fmla="*/ 1290860 w 1290860"/>
                  <a:gd name="connsiteY0" fmla="*/ 0 h 1300634"/>
                  <a:gd name="connsiteX1" fmla="*/ 0 w 1290860"/>
                  <a:gd name="connsiteY1" fmla="*/ 1300634 h 13006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90860" h="1300634">
                    <a:moveTo>
                      <a:pt x="1290860" y="0"/>
                    </a:moveTo>
                    <a:lnTo>
                      <a:pt x="0" y="1300634"/>
                    </a:lnTo>
                  </a:path>
                </a:pathLst>
              </a:custGeom>
              <a:ln>
                <a:solidFill>
                  <a:schemeClr val="bg2"/>
                </a:solidFill>
              </a:ln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21F3A462-2CFA-EC34-F2E5-2DD79D1BA341}"/>
                  </a:ext>
                </a:extLst>
              </p:cNvPr>
              <p:cNvSpPr/>
              <p:nvPr/>
            </p:nvSpPr>
            <p:spPr>
              <a:xfrm>
                <a:off x="5055426" y="8609299"/>
                <a:ext cx="568078" cy="572447"/>
              </a:xfrm>
              <a:custGeom>
                <a:avLst/>
                <a:gdLst>
                  <a:gd name="connsiteX0" fmla="*/ 1290861 w 1290860"/>
                  <a:gd name="connsiteY0" fmla="*/ 0 h 1300786"/>
                  <a:gd name="connsiteX1" fmla="*/ 0 w 1290860"/>
                  <a:gd name="connsiteY1" fmla="*/ 1300786 h 13007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90860" h="1300786">
                    <a:moveTo>
                      <a:pt x="1290861" y="0"/>
                    </a:moveTo>
                    <a:lnTo>
                      <a:pt x="0" y="1300786"/>
                    </a:lnTo>
                  </a:path>
                </a:pathLst>
              </a:custGeom>
              <a:ln>
                <a:solidFill>
                  <a:schemeClr val="bg2"/>
                </a:solidFill>
              </a:ln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96FD0968-77A6-E12D-A940-20167CABAB77}"/>
                  </a:ext>
                </a:extLst>
              </p:cNvPr>
              <p:cNvSpPr/>
              <p:nvPr/>
            </p:nvSpPr>
            <p:spPr>
              <a:xfrm>
                <a:off x="5055426" y="8489952"/>
                <a:ext cx="449490" cy="453000"/>
              </a:xfrm>
              <a:custGeom>
                <a:avLst/>
                <a:gdLst>
                  <a:gd name="connsiteX0" fmla="*/ 1290709 w 1290709"/>
                  <a:gd name="connsiteY0" fmla="*/ 0 h 1300786"/>
                  <a:gd name="connsiteX1" fmla="*/ 0 w 1290709"/>
                  <a:gd name="connsiteY1" fmla="*/ 1300787 h 13007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90709" h="1300786">
                    <a:moveTo>
                      <a:pt x="1290709" y="0"/>
                    </a:moveTo>
                    <a:lnTo>
                      <a:pt x="0" y="1300787"/>
                    </a:lnTo>
                  </a:path>
                </a:pathLst>
              </a:custGeom>
              <a:ln>
                <a:solidFill>
                  <a:schemeClr val="bg2"/>
                </a:solidFill>
              </a:ln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</p:grpSp>
      <p:sp>
        <p:nvSpPr>
          <p:cNvPr id="80" name="TextBox 79">
            <a:extLst>
              <a:ext uri="{FF2B5EF4-FFF2-40B4-BE49-F238E27FC236}">
                <a16:creationId xmlns:a16="http://schemas.microsoft.com/office/drawing/2014/main" id="{CF4122C2-0364-1B55-B2B7-9EFB1BF42341}"/>
              </a:ext>
            </a:extLst>
          </p:cNvPr>
          <p:cNvSpPr txBox="1"/>
          <p:nvPr userDrawn="1"/>
        </p:nvSpPr>
        <p:spPr>
          <a:xfrm>
            <a:off x="361661" y="3013502"/>
            <a:ext cx="3130970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5400" b="1">
                <a:solidFill>
                  <a:schemeClr val="tx2"/>
                </a:solidFill>
                <a:latin typeface="+mj-lt"/>
              </a:rPr>
              <a:t>Agenda</a:t>
            </a:r>
          </a:p>
        </p:txBody>
      </p:sp>
      <p:sp>
        <p:nvSpPr>
          <p:cNvPr id="88" name="Text Placeholder 2">
            <a:extLst>
              <a:ext uri="{FF2B5EF4-FFF2-40B4-BE49-F238E27FC236}">
                <a16:creationId xmlns:a16="http://schemas.microsoft.com/office/drawing/2014/main" id="{80CA7126-A722-4A6D-94E4-86D5D8B0DAC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656602" y="1399251"/>
            <a:ext cx="6070600" cy="276999"/>
          </a:xfrm>
        </p:spPr>
        <p:txBody>
          <a:bodyPr/>
          <a:lstStyle>
            <a:lvl1pPr marL="0" indent="0">
              <a:buNone/>
              <a:defRPr sz="18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9" name="Text Placeholder 2">
            <a:extLst>
              <a:ext uri="{FF2B5EF4-FFF2-40B4-BE49-F238E27FC236}">
                <a16:creationId xmlns:a16="http://schemas.microsoft.com/office/drawing/2014/main" id="{C91922D3-B3BD-6E24-7894-81A764EE13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656602" y="2689079"/>
            <a:ext cx="6070600" cy="307777"/>
          </a:xfrm>
        </p:spPr>
        <p:txBody>
          <a:bodyPr/>
          <a:lstStyle>
            <a:lvl1pPr marL="0" indent="0">
              <a:buNone/>
              <a:defRPr sz="20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0" name="Text Placeholder 2">
            <a:extLst>
              <a:ext uri="{FF2B5EF4-FFF2-40B4-BE49-F238E27FC236}">
                <a16:creationId xmlns:a16="http://schemas.microsoft.com/office/drawing/2014/main" id="{D0BA5C99-C35F-4CB1-F304-4E0A03ADA13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656602" y="4009685"/>
            <a:ext cx="6070600" cy="276999"/>
          </a:xfrm>
        </p:spPr>
        <p:txBody>
          <a:bodyPr/>
          <a:lstStyle>
            <a:lvl1pPr marL="0" indent="0">
              <a:buNone/>
              <a:defRPr sz="18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1" name="Text Placeholder 2">
            <a:extLst>
              <a:ext uri="{FF2B5EF4-FFF2-40B4-BE49-F238E27FC236}">
                <a16:creationId xmlns:a16="http://schemas.microsoft.com/office/drawing/2014/main" id="{01D53BFC-2D97-154F-8FFE-EE1BE62B544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56602" y="5299514"/>
            <a:ext cx="6070600" cy="276999"/>
          </a:xfrm>
        </p:spPr>
        <p:txBody>
          <a:bodyPr/>
          <a:lstStyle>
            <a:lvl1pPr marL="0" indent="0">
              <a:buNone/>
              <a:defRPr sz="18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39770576"/>
      </p:ext>
    </p:extLst>
  </p:cSld>
  <p:clrMapOvr>
    <a:masterClrMapping/>
  </p:clrMapOvr>
  <p:transition>
    <p:fad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: Shape 1">
            <a:extLst>
              <a:ext uri="{FF2B5EF4-FFF2-40B4-BE49-F238E27FC236}">
                <a16:creationId xmlns:a16="http://schemas.microsoft.com/office/drawing/2014/main" id="{906ECE1D-8677-BBB5-4B8C-8B79C77928E7}"/>
              </a:ext>
            </a:extLst>
          </p:cNvPr>
          <p:cNvSpPr/>
          <p:nvPr userDrawn="1"/>
        </p:nvSpPr>
        <p:spPr>
          <a:xfrm>
            <a:off x="531361" y="4955412"/>
            <a:ext cx="1462540" cy="1390022"/>
          </a:xfrm>
          <a:custGeom>
            <a:avLst/>
            <a:gdLst>
              <a:gd name="connsiteX0" fmla="*/ 1182547 w 1182546"/>
              <a:gd name="connsiteY0" fmla="*/ 595820 h 1191639"/>
              <a:gd name="connsiteX1" fmla="*/ 591273 w 1182546"/>
              <a:gd name="connsiteY1" fmla="*/ 1191640 h 1191639"/>
              <a:gd name="connsiteX2" fmla="*/ 0 w 1182546"/>
              <a:gd name="connsiteY2" fmla="*/ 595820 h 1191639"/>
              <a:gd name="connsiteX3" fmla="*/ 591273 w 1182546"/>
              <a:gd name="connsiteY3" fmla="*/ 0 h 1191639"/>
              <a:gd name="connsiteX4" fmla="*/ 1182547 w 1182546"/>
              <a:gd name="connsiteY4" fmla="*/ 595820 h 11916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2546" h="1191639">
                <a:moveTo>
                  <a:pt x="1182547" y="595820"/>
                </a:moveTo>
                <a:cubicBezTo>
                  <a:pt x="1182547" y="924882"/>
                  <a:pt x="917825" y="1191640"/>
                  <a:pt x="591273" y="1191640"/>
                </a:cubicBezTo>
                <a:cubicBezTo>
                  <a:pt x="264721" y="1191640"/>
                  <a:pt x="0" y="924882"/>
                  <a:pt x="0" y="595820"/>
                </a:cubicBezTo>
                <a:cubicBezTo>
                  <a:pt x="0" y="266758"/>
                  <a:pt x="264721" y="0"/>
                  <a:pt x="591273" y="0"/>
                </a:cubicBezTo>
                <a:cubicBezTo>
                  <a:pt x="917825" y="0"/>
                  <a:pt x="1182547" y="266758"/>
                  <a:pt x="1182547" y="595820"/>
                </a:cubicBezTo>
                <a:close/>
              </a:path>
            </a:pathLst>
          </a:custGeom>
          <a:pattFill prst="wdDnDiag">
            <a:fgClr>
              <a:schemeClr val="tx2"/>
            </a:fgClr>
            <a:bgClr>
              <a:schemeClr val="bg1"/>
            </a:bgClr>
          </a:pattFill>
          <a:ln w="1440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B1BB3C6A-CD88-BA7F-FDD5-766DB2850DCF}"/>
              </a:ext>
            </a:extLst>
          </p:cNvPr>
          <p:cNvSpPr/>
          <p:nvPr userDrawn="1"/>
        </p:nvSpPr>
        <p:spPr>
          <a:xfrm flipV="1">
            <a:off x="1" y="2085662"/>
            <a:ext cx="12191998" cy="3282750"/>
          </a:xfrm>
          <a:custGeom>
            <a:avLst/>
            <a:gdLst>
              <a:gd name="connsiteX0" fmla="*/ 225390 w 12191998"/>
              <a:gd name="connsiteY0" fmla="*/ 3282750 h 3282750"/>
              <a:gd name="connsiteX1" fmla="*/ 9880096 w 12191998"/>
              <a:gd name="connsiteY1" fmla="*/ 3282750 h 3282750"/>
              <a:gd name="connsiteX2" fmla="*/ 10320199 w 12191998"/>
              <a:gd name="connsiteY2" fmla="*/ 3100060 h 3282750"/>
              <a:gd name="connsiteX3" fmla="*/ 12191998 w 12191998"/>
              <a:gd name="connsiteY3" fmla="*/ 1221634 h 3282750"/>
              <a:gd name="connsiteX4" fmla="*/ 12191998 w 12191998"/>
              <a:gd name="connsiteY4" fmla="*/ 1523 h 3282750"/>
              <a:gd name="connsiteX5" fmla="*/ 11409355 w 12191998"/>
              <a:gd name="connsiteY5" fmla="*/ 1523 h 3282750"/>
              <a:gd name="connsiteX6" fmla="*/ 11410872 w 12191998"/>
              <a:gd name="connsiteY6" fmla="*/ 0 h 3282750"/>
              <a:gd name="connsiteX7" fmla="*/ 9138442 w 12191998"/>
              <a:gd name="connsiteY7" fmla="*/ 0 h 3282750"/>
              <a:gd name="connsiteX8" fmla="*/ 6866012 w 12191998"/>
              <a:gd name="connsiteY8" fmla="*/ 0 h 3282750"/>
              <a:gd name="connsiteX9" fmla="*/ 5045748 w 12191998"/>
              <a:gd name="connsiteY9" fmla="*/ 0 h 3282750"/>
              <a:gd name="connsiteX10" fmla="*/ 4593580 w 12191998"/>
              <a:gd name="connsiteY10" fmla="*/ 0 h 3282750"/>
              <a:gd name="connsiteX11" fmla="*/ 2773318 w 12191998"/>
              <a:gd name="connsiteY11" fmla="*/ 0 h 3282750"/>
              <a:gd name="connsiteX12" fmla="*/ 500887 w 12191998"/>
              <a:gd name="connsiteY12" fmla="*/ 0 h 3282750"/>
              <a:gd name="connsiteX13" fmla="*/ 0 w 12191998"/>
              <a:gd name="connsiteY13" fmla="*/ 0 h 3282750"/>
              <a:gd name="connsiteX14" fmla="*/ 0 w 12191998"/>
              <a:gd name="connsiteY14" fmla="*/ 3282749 h 3282750"/>
              <a:gd name="connsiteX15" fmla="*/ 225390 w 12191998"/>
              <a:gd name="connsiteY15" fmla="*/ 3282749 h 3282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1998" h="3282750">
                <a:moveTo>
                  <a:pt x="225390" y="3282750"/>
                </a:moveTo>
                <a:lnTo>
                  <a:pt x="9880096" y="3282750"/>
                </a:lnTo>
                <a:cubicBezTo>
                  <a:pt x="10045266" y="3282750"/>
                  <a:pt x="10203546" y="3217012"/>
                  <a:pt x="10320199" y="3100060"/>
                </a:cubicBezTo>
                <a:lnTo>
                  <a:pt x="12191998" y="1221634"/>
                </a:lnTo>
                <a:lnTo>
                  <a:pt x="12191998" y="1523"/>
                </a:lnTo>
                <a:lnTo>
                  <a:pt x="11409355" y="1523"/>
                </a:lnTo>
                <a:lnTo>
                  <a:pt x="11410872" y="0"/>
                </a:lnTo>
                <a:lnTo>
                  <a:pt x="9138442" y="0"/>
                </a:lnTo>
                <a:lnTo>
                  <a:pt x="6866012" y="0"/>
                </a:lnTo>
                <a:lnTo>
                  <a:pt x="5045748" y="0"/>
                </a:lnTo>
                <a:lnTo>
                  <a:pt x="4593580" y="0"/>
                </a:lnTo>
                <a:lnTo>
                  <a:pt x="2773318" y="0"/>
                </a:lnTo>
                <a:lnTo>
                  <a:pt x="500887" y="0"/>
                </a:lnTo>
                <a:lnTo>
                  <a:pt x="0" y="0"/>
                </a:lnTo>
                <a:lnTo>
                  <a:pt x="0" y="3282749"/>
                </a:lnTo>
                <a:lnTo>
                  <a:pt x="225390" y="328274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4405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DF69AE36-ABC0-A0B5-13F2-73AFBA4E6484}"/>
              </a:ext>
            </a:extLst>
          </p:cNvPr>
          <p:cNvSpPr/>
          <p:nvPr userDrawn="1"/>
        </p:nvSpPr>
        <p:spPr>
          <a:xfrm flipV="1">
            <a:off x="7329714" y="0"/>
            <a:ext cx="4862286" cy="3709134"/>
          </a:xfrm>
          <a:custGeom>
            <a:avLst/>
            <a:gdLst>
              <a:gd name="connsiteX0" fmla="*/ 5285805 w 5285804"/>
              <a:gd name="connsiteY0" fmla="*/ 0 h 4032209"/>
              <a:gd name="connsiteX1" fmla="*/ 5285805 w 5285804"/>
              <a:gd name="connsiteY1" fmla="*/ 4032209 h 4032209"/>
              <a:gd name="connsiteX2" fmla="*/ 0 w 5285804"/>
              <a:gd name="connsiteY2" fmla="*/ 4032209 h 4032209"/>
              <a:gd name="connsiteX3" fmla="*/ 0 w 5285804"/>
              <a:gd name="connsiteY3" fmla="*/ 3667624 h 4032209"/>
              <a:gd name="connsiteX4" fmla="*/ 1241008 w 5285804"/>
              <a:gd name="connsiteY4" fmla="*/ 2150979 h 4032209"/>
              <a:gd name="connsiteX5" fmla="*/ 1533020 w 5285804"/>
              <a:gd name="connsiteY5" fmla="*/ 2122817 h 4032209"/>
              <a:gd name="connsiteX6" fmla="*/ 2777955 w 5285804"/>
              <a:gd name="connsiteY6" fmla="*/ 2122817 h 4032209"/>
              <a:gd name="connsiteX7" fmla="*/ 3592354 w 5285804"/>
              <a:gd name="connsiteY7" fmla="*/ 1773606 h 4032209"/>
              <a:gd name="connsiteX8" fmla="*/ 4093289 w 5285804"/>
              <a:gd name="connsiteY8" fmla="*/ 1249029 h 4032209"/>
              <a:gd name="connsiteX9" fmla="*/ 4216408 w 5285804"/>
              <a:gd name="connsiteY9" fmla="*/ 1120092 h 4032209"/>
              <a:gd name="connsiteX10" fmla="*/ 5285503 w 5285804"/>
              <a:gd name="connsiteY10" fmla="*/ 305 h 4032209"/>
              <a:gd name="connsiteX11" fmla="*/ 5285805 w 5285804"/>
              <a:gd name="connsiteY11" fmla="*/ 0 h 40322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285804" h="4032209">
                <a:moveTo>
                  <a:pt x="5285805" y="0"/>
                </a:moveTo>
                <a:lnTo>
                  <a:pt x="5285805" y="4032209"/>
                </a:lnTo>
                <a:lnTo>
                  <a:pt x="0" y="4032209"/>
                </a:lnTo>
                <a:lnTo>
                  <a:pt x="0" y="3667624"/>
                </a:lnTo>
                <a:cubicBezTo>
                  <a:pt x="0" y="2915010"/>
                  <a:pt x="534019" y="2288288"/>
                  <a:pt x="1241008" y="2150979"/>
                </a:cubicBezTo>
                <a:cubicBezTo>
                  <a:pt x="1335576" y="2132407"/>
                  <a:pt x="1433165" y="2122817"/>
                  <a:pt x="1533020" y="2122817"/>
                </a:cubicBezTo>
                <a:lnTo>
                  <a:pt x="2777955" y="2122817"/>
                </a:lnTo>
                <a:cubicBezTo>
                  <a:pt x="3085224" y="2122817"/>
                  <a:pt x="3379199" y="1996772"/>
                  <a:pt x="3592354" y="1773606"/>
                </a:cubicBezTo>
                <a:lnTo>
                  <a:pt x="4093289" y="1249029"/>
                </a:lnTo>
                <a:lnTo>
                  <a:pt x="4216408" y="1120092"/>
                </a:lnTo>
                <a:lnTo>
                  <a:pt x="5285503" y="305"/>
                </a:lnTo>
                <a:lnTo>
                  <a:pt x="5285805" y="0"/>
                </a:lnTo>
                <a:close/>
              </a:path>
            </a:pathLst>
          </a:custGeom>
          <a:solidFill>
            <a:schemeClr val="bg2">
              <a:lumMod val="20000"/>
              <a:lumOff val="80000"/>
              <a:alpha val="30000"/>
            </a:schemeClr>
          </a:solidFill>
          <a:ln w="1440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D0F9DFA-B0C9-1937-80E5-EA456BAF951E}"/>
              </a:ext>
            </a:extLst>
          </p:cNvPr>
          <p:cNvGrpSpPr/>
          <p:nvPr userDrawn="1"/>
        </p:nvGrpSpPr>
        <p:grpSpPr>
          <a:xfrm>
            <a:off x="10348517" y="5559865"/>
            <a:ext cx="1843479" cy="1298140"/>
            <a:chOff x="10348517" y="5559865"/>
            <a:chExt cx="1843479" cy="1298140"/>
          </a:xfrm>
        </p:grpSpPr>
        <p:grpSp>
          <p:nvGrpSpPr>
            <p:cNvPr id="10" name="Graphic 8">
              <a:extLst>
                <a:ext uri="{FF2B5EF4-FFF2-40B4-BE49-F238E27FC236}">
                  <a16:creationId xmlns:a16="http://schemas.microsoft.com/office/drawing/2014/main" id="{18E258A2-A83D-6978-F256-633D89BA78CE}"/>
                </a:ext>
              </a:extLst>
            </p:cNvPr>
            <p:cNvGrpSpPr/>
            <p:nvPr/>
          </p:nvGrpSpPr>
          <p:grpSpPr>
            <a:xfrm flipH="1">
              <a:off x="10348517" y="5687417"/>
              <a:ext cx="1563963" cy="1170588"/>
              <a:chOff x="5302292" y="8602600"/>
              <a:chExt cx="1381243" cy="1033826"/>
            </a:xfrm>
          </p:grpSpPr>
          <p:sp>
            <p:nvSpPr>
              <p:cNvPr id="16" name="Freeform: Shape 15">
                <a:extLst>
                  <a:ext uri="{FF2B5EF4-FFF2-40B4-BE49-F238E27FC236}">
                    <a16:creationId xmlns:a16="http://schemas.microsoft.com/office/drawing/2014/main" id="{8A533A25-F914-A9A5-D84A-ABC9EEC08341}"/>
                  </a:ext>
                </a:extLst>
              </p:cNvPr>
              <p:cNvSpPr/>
              <p:nvPr/>
            </p:nvSpPr>
            <p:spPr>
              <a:xfrm>
                <a:off x="6012986" y="8960641"/>
                <a:ext cx="670549" cy="675785"/>
              </a:xfrm>
              <a:custGeom>
                <a:avLst/>
                <a:gdLst>
                  <a:gd name="connsiteX0" fmla="*/ 1290709 w 1290709"/>
                  <a:gd name="connsiteY0" fmla="*/ 0 h 1300786"/>
                  <a:gd name="connsiteX1" fmla="*/ 0 w 1290709"/>
                  <a:gd name="connsiteY1" fmla="*/ 1300786 h 13007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90709" h="1300786">
                    <a:moveTo>
                      <a:pt x="1290709" y="0"/>
                    </a:moveTo>
                    <a:lnTo>
                      <a:pt x="0" y="1300786"/>
                    </a:lnTo>
                  </a:path>
                </a:pathLst>
              </a:custGeom>
              <a:ln w="12700" cap="flat">
                <a:solidFill>
                  <a:schemeClr val="bg1">
                    <a:lumMod val="85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2ECA051C-090C-899C-CBE2-FAE5D15C197C}"/>
                  </a:ext>
                </a:extLst>
              </p:cNvPr>
              <p:cNvSpPr/>
              <p:nvPr/>
            </p:nvSpPr>
            <p:spPr>
              <a:xfrm>
                <a:off x="5776035" y="8841293"/>
                <a:ext cx="789064" cy="795131"/>
              </a:xfrm>
              <a:custGeom>
                <a:avLst/>
                <a:gdLst>
                  <a:gd name="connsiteX0" fmla="*/ 1290860 w 1290860"/>
                  <a:gd name="connsiteY0" fmla="*/ 0 h 1300786"/>
                  <a:gd name="connsiteX1" fmla="*/ 0 w 1290860"/>
                  <a:gd name="connsiteY1" fmla="*/ 1300786 h 13007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90860" h="1300786">
                    <a:moveTo>
                      <a:pt x="1290860" y="0"/>
                    </a:moveTo>
                    <a:lnTo>
                      <a:pt x="0" y="1300786"/>
                    </a:lnTo>
                  </a:path>
                </a:pathLst>
              </a:custGeom>
              <a:ln w="12700" cap="flat">
                <a:solidFill>
                  <a:schemeClr val="bg1">
                    <a:lumMod val="85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" name="Freeform: Shape 17">
                <a:extLst>
                  <a:ext uri="{FF2B5EF4-FFF2-40B4-BE49-F238E27FC236}">
                    <a16:creationId xmlns:a16="http://schemas.microsoft.com/office/drawing/2014/main" id="{C8EE1125-D59B-5748-163B-4E0B86A09A5C}"/>
                  </a:ext>
                </a:extLst>
              </p:cNvPr>
              <p:cNvSpPr/>
              <p:nvPr/>
            </p:nvSpPr>
            <p:spPr>
              <a:xfrm>
                <a:off x="5539166" y="8721948"/>
                <a:ext cx="907497" cy="914475"/>
              </a:xfrm>
              <a:custGeom>
                <a:avLst/>
                <a:gdLst>
                  <a:gd name="connsiteX0" fmla="*/ 1290861 w 1290860"/>
                  <a:gd name="connsiteY0" fmla="*/ 0 h 1300786"/>
                  <a:gd name="connsiteX1" fmla="*/ 0 w 1290860"/>
                  <a:gd name="connsiteY1" fmla="*/ 1300786 h 13007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90860" h="1300786">
                    <a:moveTo>
                      <a:pt x="1290861" y="0"/>
                    </a:moveTo>
                    <a:lnTo>
                      <a:pt x="0" y="1300786"/>
                    </a:lnTo>
                  </a:path>
                </a:pathLst>
              </a:custGeom>
              <a:ln w="12700" cap="flat">
                <a:solidFill>
                  <a:schemeClr val="bg1">
                    <a:lumMod val="85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" name="Freeform: Shape 18">
                <a:extLst>
                  <a:ext uri="{FF2B5EF4-FFF2-40B4-BE49-F238E27FC236}">
                    <a16:creationId xmlns:a16="http://schemas.microsoft.com/office/drawing/2014/main" id="{77F66EB3-F27A-3DA9-9DAD-88A6C0178165}"/>
                  </a:ext>
                </a:extLst>
              </p:cNvPr>
              <p:cNvSpPr/>
              <p:nvPr/>
            </p:nvSpPr>
            <p:spPr>
              <a:xfrm>
                <a:off x="5302292" y="8602600"/>
                <a:ext cx="1025935" cy="1033824"/>
              </a:xfrm>
              <a:custGeom>
                <a:avLst/>
                <a:gdLst>
                  <a:gd name="connsiteX0" fmla="*/ 1290860 w 1290860"/>
                  <a:gd name="connsiteY0" fmla="*/ 0 h 1300786"/>
                  <a:gd name="connsiteX1" fmla="*/ 0 w 1290860"/>
                  <a:gd name="connsiteY1" fmla="*/ 1300786 h 13007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90860" h="1300786">
                    <a:moveTo>
                      <a:pt x="1290860" y="0"/>
                    </a:moveTo>
                    <a:lnTo>
                      <a:pt x="0" y="1300786"/>
                    </a:lnTo>
                  </a:path>
                </a:pathLst>
              </a:custGeom>
              <a:ln w="12700" cap="flat">
                <a:solidFill>
                  <a:schemeClr val="bg1">
                    <a:lumMod val="85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grpSp>
          <p:nvGrpSpPr>
            <p:cNvPr id="11" name="Graphic 8">
              <a:extLst>
                <a:ext uri="{FF2B5EF4-FFF2-40B4-BE49-F238E27FC236}">
                  <a16:creationId xmlns:a16="http://schemas.microsoft.com/office/drawing/2014/main" id="{D2F46483-8FB7-2F57-3F95-FF57C18153ED}"/>
                </a:ext>
              </a:extLst>
            </p:cNvPr>
            <p:cNvGrpSpPr/>
            <p:nvPr/>
          </p:nvGrpSpPr>
          <p:grpSpPr>
            <a:xfrm flipH="1">
              <a:off x="11280562" y="5559865"/>
              <a:ext cx="911434" cy="1298132"/>
              <a:chOff x="5055426" y="8489952"/>
              <a:chExt cx="804949" cy="1146469"/>
            </a:xfrm>
          </p:grpSpPr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2B7E7AA8-1F3D-2007-E572-37DAA0AE6FCC}"/>
                  </a:ext>
                </a:extLst>
              </p:cNvPr>
              <p:cNvSpPr/>
              <p:nvPr/>
            </p:nvSpPr>
            <p:spPr>
              <a:xfrm>
                <a:off x="5078021" y="8848144"/>
                <a:ext cx="782354" cy="788277"/>
              </a:xfrm>
              <a:custGeom>
                <a:avLst/>
                <a:gdLst>
                  <a:gd name="connsiteX0" fmla="*/ 1290861 w 1290860"/>
                  <a:gd name="connsiteY0" fmla="*/ 0 h 1300634"/>
                  <a:gd name="connsiteX1" fmla="*/ 0 w 1290860"/>
                  <a:gd name="connsiteY1" fmla="*/ 1300634 h 13006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90860" h="1300634">
                    <a:moveTo>
                      <a:pt x="1290861" y="0"/>
                    </a:moveTo>
                    <a:lnTo>
                      <a:pt x="0" y="1300634"/>
                    </a:lnTo>
                  </a:path>
                </a:pathLst>
              </a:custGeom>
              <a:ln w="12700" cap="flat">
                <a:solidFill>
                  <a:schemeClr val="bg1">
                    <a:lumMod val="85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780F600B-49DE-1101-D909-296849FE7D45}"/>
                  </a:ext>
                </a:extLst>
              </p:cNvPr>
              <p:cNvSpPr/>
              <p:nvPr/>
            </p:nvSpPr>
            <p:spPr>
              <a:xfrm>
                <a:off x="5055426" y="8728797"/>
                <a:ext cx="686515" cy="691712"/>
              </a:xfrm>
              <a:custGeom>
                <a:avLst/>
                <a:gdLst>
                  <a:gd name="connsiteX0" fmla="*/ 1290860 w 1290860"/>
                  <a:gd name="connsiteY0" fmla="*/ 0 h 1300634"/>
                  <a:gd name="connsiteX1" fmla="*/ 0 w 1290860"/>
                  <a:gd name="connsiteY1" fmla="*/ 1300634 h 13006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90860" h="1300634">
                    <a:moveTo>
                      <a:pt x="1290860" y="0"/>
                    </a:moveTo>
                    <a:lnTo>
                      <a:pt x="0" y="1300634"/>
                    </a:lnTo>
                  </a:path>
                </a:pathLst>
              </a:custGeom>
              <a:ln w="12700" cap="flat">
                <a:solidFill>
                  <a:schemeClr val="bg1">
                    <a:lumMod val="85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29E6E00F-F05F-6D76-DA36-61817B43FCB1}"/>
                  </a:ext>
                </a:extLst>
              </p:cNvPr>
              <p:cNvSpPr/>
              <p:nvPr/>
            </p:nvSpPr>
            <p:spPr>
              <a:xfrm>
                <a:off x="5055426" y="8609299"/>
                <a:ext cx="568078" cy="572447"/>
              </a:xfrm>
              <a:custGeom>
                <a:avLst/>
                <a:gdLst>
                  <a:gd name="connsiteX0" fmla="*/ 1290861 w 1290860"/>
                  <a:gd name="connsiteY0" fmla="*/ 0 h 1300786"/>
                  <a:gd name="connsiteX1" fmla="*/ 0 w 1290860"/>
                  <a:gd name="connsiteY1" fmla="*/ 1300786 h 13007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90860" h="1300786">
                    <a:moveTo>
                      <a:pt x="1290861" y="0"/>
                    </a:moveTo>
                    <a:lnTo>
                      <a:pt x="0" y="1300786"/>
                    </a:lnTo>
                  </a:path>
                </a:pathLst>
              </a:custGeom>
              <a:ln w="12700" cap="flat">
                <a:solidFill>
                  <a:schemeClr val="bg1">
                    <a:lumMod val="85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9BBB7E2B-5BA6-CD57-275B-046906683F48}"/>
                  </a:ext>
                </a:extLst>
              </p:cNvPr>
              <p:cNvSpPr/>
              <p:nvPr/>
            </p:nvSpPr>
            <p:spPr>
              <a:xfrm>
                <a:off x="5055426" y="8489952"/>
                <a:ext cx="449490" cy="453000"/>
              </a:xfrm>
              <a:custGeom>
                <a:avLst/>
                <a:gdLst>
                  <a:gd name="connsiteX0" fmla="*/ 1290709 w 1290709"/>
                  <a:gd name="connsiteY0" fmla="*/ 0 h 1300786"/>
                  <a:gd name="connsiteX1" fmla="*/ 0 w 1290709"/>
                  <a:gd name="connsiteY1" fmla="*/ 1300787 h 13007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90709" h="1300786">
                    <a:moveTo>
                      <a:pt x="1290709" y="0"/>
                    </a:moveTo>
                    <a:lnTo>
                      <a:pt x="0" y="1300787"/>
                    </a:lnTo>
                  </a:path>
                </a:pathLst>
              </a:custGeom>
              <a:ln w="12700" cap="flat">
                <a:solidFill>
                  <a:schemeClr val="bg1">
                    <a:lumMod val="85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</p:grpSp>
      <p:pic>
        <p:nvPicPr>
          <p:cNvPr id="20" name="Graphic 19">
            <a:extLst>
              <a:ext uri="{FF2B5EF4-FFF2-40B4-BE49-F238E27FC236}">
                <a16:creationId xmlns:a16="http://schemas.microsoft.com/office/drawing/2014/main" id="{91F8438C-7CCE-EA71-2D22-E0363782C13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19161" y="2357437"/>
            <a:ext cx="5866264" cy="423863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604894" y="2896041"/>
            <a:ext cx="8374006" cy="1661993"/>
          </a:xfrm>
          <a:noFill/>
        </p:spPr>
        <p:txBody>
          <a:bodyPr wrap="square" lIns="0" tIns="0" rIns="0" bIns="0" anchor="ctr" anchorCtr="0">
            <a:spAutoFit/>
          </a:bodyPr>
          <a:lstStyle>
            <a:lvl1pPr marL="0"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5400" b="0" kern="1200" cap="none" spc="-50" baseline="0" dirty="0">
                <a:ln w="3175">
                  <a:noFill/>
                </a:ln>
                <a:solidFill>
                  <a:schemeClr val="tx2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en-US"/>
              <a:t>Event name or presentation title </a:t>
            </a:r>
          </a:p>
        </p:txBody>
      </p:sp>
    </p:spTree>
    <p:extLst>
      <p:ext uri="{BB962C8B-B14F-4D97-AF65-F5344CB8AC3E}">
        <p14:creationId xmlns:p14="http://schemas.microsoft.com/office/powerpoint/2010/main" val="39948507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384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Rectangle: Rounded Corners 81">
            <a:extLst>
              <a:ext uri="{FF2B5EF4-FFF2-40B4-BE49-F238E27FC236}">
                <a16:creationId xmlns:a16="http://schemas.microsoft.com/office/drawing/2014/main" id="{29C65921-FD7F-B796-44F6-E9E410683CD9}"/>
              </a:ext>
            </a:extLst>
          </p:cNvPr>
          <p:cNvSpPr/>
          <p:nvPr userDrawn="1"/>
        </p:nvSpPr>
        <p:spPr bwMode="auto">
          <a:xfrm>
            <a:off x="0" y="2328"/>
            <a:ext cx="4025900" cy="6857997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Arrow: U-Turn 4">
            <a:extLst>
              <a:ext uri="{FF2B5EF4-FFF2-40B4-BE49-F238E27FC236}">
                <a16:creationId xmlns:a16="http://schemas.microsoft.com/office/drawing/2014/main" id="{9813402F-4AE0-5DF2-8034-09DE25CC529B}"/>
              </a:ext>
            </a:extLst>
          </p:cNvPr>
          <p:cNvSpPr/>
          <p:nvPr userDrawn="1"/>
        </p:nvSpPr>
        <p:spPr bwMode="auto">
          <a:xfrm rot="5400000">
            <a:off x="1085342" y="3174238"/>
            <a:ext cx="6390640" cy="509524"/>
          </a:xfrm>
          <a:prstGeom prst="uturnArrow">
            <a:avLst>
              <a:gd name="adj1" fmla="val 25000"/>
              <a:gd name="adj2" fmla="val 0"/>
              <a:gd name="adj3" fmla="val 25000"/>
              <a:gd name="adj4" fmla="val 10792"/>
              <a:gd name="adj5" fmla="val 100000"/>
            </a:avLst>
          </a:prstGeom>
          <a:noFill/>
          <a:ln w="6350"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02665FB2-6199-D848-B7A0-CB7398D06B75}"/>
              </a:ext>
            </a:extLst>
          </p:cNvPr>
          <p:cNvGrpSpPr/>
          <p:nvPr userDrawn="1"/>
        </p:nvGrpSpPr>
        <p:grpSpPr>
          <a:xfrm>
            <a:off x="82210" y="487355"/>
            <a:ext cx="1999622" cy="1111528"/>
            <a:chOff x="0" y="2143857"/>
            <a:chExt cx="1647336" cy="915703"/>
          </a:xfrm>
          <a:solidFill>
            <a:schemeClr val="bg2"/>
          </a:solidFill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90C3E72C-BC08-E613-5F40-3CCF61D54557}"/>
                </a:ext>
              </a:extLst>
            </p:cNvPr>
            <p:cNvGrpSpPr/>
            <p:nvPr/>
          </p:nvGrpSpPr>
          <p:grpSpPr>
            <a:xfrm>
              <a:off x="0" y="2356582"/>
              <a:ext cx="1647336" cy="64803"/>
              <a:chOff x="0" y="2352485"/>
              <a:chExt cx="1647336" cy="64803"/>
            </a:xfrm>
            <a:grpFill/>
          </p:grpSpPr>
          <p:sp>
            <p:nvSpPr>
              <p:cNvPr id="60" name="Oval 59">
                <a:extLst>
                  <a:ext uri="{FF2B5EF4-FFF2-40B4-BE49-F238E27FC236}">
                    <a16:creationId xmlns:a16="http://schemas.microsoft.com/office/drawing/2014/main" id="{A90DAD7A-43C3-0B7B-06F0-B83E4BC2982F}"/>
                  </a:ext>
                </a:extLst>
              </p:cNvPr>
              <p:cNvSpPr/>
              <p:nvPr/>
            </p:nvSpPr>
            <p:spPr bwMode="auto">
              <a:xfrm rot="5400000">
                <a:off x="1582533" y="2352485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61" name="Oval 60">
                <a:extLst>
                  <a:ext uri="{FF2B5EF4-FFF2-40B4-BE49-F238E27FC236}">
                    <a16:creationId xmlns:a16="http://schemas.microsoft.com/office/drawing/2014/main" id="{C826D7C4-3E96-7653-78A8-963550094E62}"/>
                  </a:ext>
                </a:extLst>
              </p:cNvPr>
              <p:cNvSpPr/>
              <p:nvPr/>
            </p:nvSpPr>
            <p:spPr bwMode="auto">
              <a:xfrm rot="5400000">
                <a:off x="1384717" y="2352485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62" name="Oval 61">
                <a:extLst>
                  <a:ext uri="{FF2B5EF4-FFF2-40B4-BE49-F238E27FC236}">
                    <a16:creationId xmlns:a16="http://schemas.microsoft.com/office/drawing/2014/main" id="{8B7CD4CB-B826-FC84-67D7-CBF3F39C5EAF}"/>
                  </a:ext>
                </a:extLst>
              </p:cNvPr>
              <p:cNvSpPr/>
              <p:nvPr/>
            </p:nvSpPr>
            <p:spPr bwMode="auto">
              <a:xfrm rot="5400000">
                <a:off x="1186900" y="2352485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63" name="Oval 62">
                <a:extLst>
                  <a:ext uri="{FF2B5EF4-FFF2-40B4-BE49-F238E27FC236}">
                    <a16:creationId xmlns:a16="http://schemas.microsoft.com/office/drawing/2014/main" id="{F35B59A6-6763-B8B1-90AE-7C1C223A150B}"/>
                  </a:ext>
                </a:extLst>
              </p:cNvPr>
              <p:cNvSpPr/>
              <p:nvPr/>
            </p:nvSpPr>
            <p:spPr bwMode="auto">
              <a:xfrm>
                <a:off x="593450" y="2352485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9D6474B4-6827-9BF9-FAF2-E1795B70A592}"/>
                  </a:ext>
                </a:extLst>
              </p:cNvPr>
              <p:cNvSpPr/>
              <p:nvPr/>
            </p:nvSpPr>
            <p:spPr bwMode="auto">
              <a:xfrm rot="5400000">
                <a:off x="395633" y="2352485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65" name="Oval 64">
                <a:extLst>
                  <a:ext uri="{FF2B5EF4-FFF2-40B4-BE49-F238E27FC236}">
                    <a16:creationId xmlns:a16="http://schemas.microsoft.com/office/drawing/2014/main" id="{20741D26-8134-B07C-5729-7489D8773DB2}"/>
                  </a:ext>
                </a:extLst>
              </p:cNvPr>
              <p:cNvSpPr/>
              <p:nvPr/>
            </p:nvSpPr>
            <p:spPr bwMode="auto">
              <a:xfrm rot="5400000">
                <a:off x="197817" y="2352485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66" name="Oval 65">
                <a:extLst>
                  <a:ext uri="{FF2B5EF4-FFF2-40B4-BE49-F238E27FC236}">
                    <a16:creationId xmlns:a16="http://schemas.microsoft.com/office/drawing/2014/main" id="{D63A4E95-2F66-BFE2-4B98-F21E0E241CA6}"/>
                  </a:ext>
                </a:extLst>
              </p:cNvPr>
              <p:cNvSpPr/>
              <p:nvPr/>
            </p:nvSpPr>
            <p:spPr bwMode="auto">
              <a:xfrm rot="5400000">
                <a:off x="0" y="2352485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67" name="Oval 66">
                <a:extLst>
                  <a:ext uri="{FF2B5EF4-FFF2-40B4-BE49-F238E27FC236}">
                    <a16:creationId xmlns:a16="http://schemas.microsoft.com/office/drawing/2014/main" id="{AA31585C-BEE0-6E48-7C99-D4F3E7FB0B0F}"/>
                  </a:ext>
                </a:extLst>
              </p:cNvPr>
              <p:cNvSpPr/>
              <p:nvPr/>
            </p:nvSpPr>
            <p:spPr bwMode="auto">
              <a:xfrm>
                <a:off x="791267" y="2352485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68" name="Oval 67">
                <a:extLst>
                  <a:ext uri="{FF2B5EF4-FFF2-40B4-BE49-F238E27FC236}">
                    <a16:creationId xmlns:a16="http://schemas.microsoft.com/office/drawing/2014/main" id="{3E580A55-B12F-81CE-4C39-011911B47C96}"/>
                  </a:ext>
                </a:extLst>
              </p:cNvPr>
              <p:cNvSpPr/>
              <p:nvPr/>
            </p:nvSpPr>
            <p:spPr bwMode="auto">
              <a:xfrm>
                <a:off x="989083" y="2352485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0C0FE0B3-F9C8-2DCE-1AD7-2D310541667A}"/>
                </a:ext>
              </a:extLst>
            </p:cNvPr>
            <p:cNvGrpSpPr/>
            <p:nvPr/>
          </p:nvGrpSpPr>
          <p:grpSpPr>
            <a:xfrm>
              <a:off x="0" y="2569307"/>
              <a:ext cx="1647336" cy="64804"/>
              <a:chOff x="0" y="2561113"/>
              <a:chExt cx="1647336" cy="64804"/>
            </a:xfrm>
            <a:grpFill/>
          </p:grpSpPr>
          <p:sp>
            <p:nvSpPr>
              <p:cNvPr id="51" name="Oval 50">
                <a:extLst>
                  <a:ext uri="{FF2B5EF4-FFF2-40B4-BE49-F238E27FC236}">
                    <a16:creationId xmlns:a16="http://schemas.microsoft.com/office/drawing/2014/main" id="{5F539D38-BAC6-E106-8351-378D03B95ECB}"/>
                  </a:ext>
                </a:extLst>
              </p:cNvPr>
              <p:cNvSpPr/>
              <p:nvPr/>
            </p:nvSpPr>
            <p:spPr bwMode="auto">
              <a:xfrm rot="5400000">
                <a:off x="1582533" y="2561113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2" name="Oval 51">
                <a:extLst>
                  <a:ext uri="{FF2B5EF4-FFF2-40B4-BE49-F238E27FC236}">
                    <a16:creationId xmlns:a16="http://schemas.microsoft.com/office/drawing/2014/main" id="{37CD3226-D29E-43DE-5EDC-EE4C81470C07}"/>
                  </a:ext>
                </a:extLst>
              </p:cNvPr>
              <p:cNvSpPr/>
              <p:nvPr/>
            </p:nvSpPr>
            <p:spPr bwMode="auto">
              <a:xfrm rot="5400000">
                <a:off x="1384717" y="2561113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3" name="Oval 52">
                <a:extLst>
                  <a:ext uri="{FF2B5EF4-FFF2-40B4-BE49-F238E27FC236}">
                    <a16:creationId xmlns:a16="http://schemas.microsoft.com/office/drawing/2014/main" id="{FF45FBE0-18FE-403A-20BA-C7B34EB2C81C}"/>
                  </a:ext>
                </a:extLst>
              </p:cNvPr>
              <p:cNvSpPr/>
              <p:nvPr/>
            </p:nvSpPr>
            <p:spPr bwMode="auto">
              <a:xfrm rot="5400000">
                <a:off x="1186900" y="2561113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4" name="Oval 53">
                <a:extLst>
                  <a:ext uri="{FF2B5EF4-FFF2-40B4-BE49-F238E27FC236}">
                    <a16:creationId xmlns:a16="http://schemas.microsoft.com/office/drawing/2014/main" id="{761FDE27-595C-FFC5-51E2-A1ED4B275F98}"/>
                  </a:ext>
                </a:extLst>
              </p:cNvPr>
              <p:cNvSpPr/>
              <p:nvPr/>
            </p:nvSpPr>
            <p:spPr bwMode="auto">
              <a:xfrm>
                <a:off x="593450" y="2561113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5" name="Oval 54">
                <a:extLst>
                  <a:ext uri="{FF2B5EF4-FFF2-40B4-BE49-F238E27FC236}">
                    <a16:creationId xmlns:a16="http://schemas.microsoft.com/office/drawing/2014/main" id="{E209AC06-E726-AB85-14F5-6B00239D701A}"/>
                  </a:ext>
                </a:extLst>
              </p:cNvPr>
              <p:cNvSpPr/>
              <p:nvPr/>
            </p:nvSpPr>
            <p:spPr bwMode="auto">
              <a:xfrm rot="5400000">
                <a:off x="395633" y="2561113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6" name="Oval 55">
                <a:extLst>
                  <a:ext uri="{FF2B5EF4-FFF2-40B4-BE49-F238E27FC236}">
                    <a16:creationId xmlns:a16="http://schemas.microsoft.com/office/drawing/2014/main" id="{16558105-8E50-3399-15D7-31043E9AD44E}"/>
                  </a:ext>
                </a:extLst>
              </p:cNvPr>
              <p:cNvSpPr/>
              <p:nvPr/>
            </p:nvSpPr>
            <p:spPr bwMode="auto">
              <a:xfrm rot="5400000">
                <a:off x="197817" y="2561113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7" name="Oval 56">
                <a:extLst>
                  <a:ext uri="{FF2B5EF4-FFF2-40B4-BE49-F238E27FC236}">
                    <a16:creationId xmlns:a16="http://schemas.microsoft.com/office/drawing/2014/main" id="{2AA12D00-9BAD-5E66-25AF-C256F8A82720}"/>
                  </a:ext>
                </a:extLst>
              </p:cNvPr>
              <p:cNvSpPr/>
              <p:nvPr/>
            </p:nvSpPr>
            <p:spPr bwMode="auto">
              <a:xfrm rot="5400000">
                <a:off x="0" y="2561113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8" name="Oval 57">
                <a:extLst>
                  <a:ext uri="{FF2B5EF4-FFF2-40B4-BE49-F238E27FC236}">
                    <a16:creationId xmlns:a16="http://schemas.microsoft.com/office/drawing/2014/main" id="{81E39797-6B0D-14A9-60AB-0801F02D8959}"/>
                  </a:ext>
                </a:extLst>
              </p:cNvPr>
              <p:cNvSpPr/>
              <p:nvPr/>
            </p:nvSpPr>
            <p:spPr bwMode="auto">
              <a:xfrm>
                <a:off x="791267" y="2561113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9" name="Oval 58">
                <a:extLst>
                  <a:ext uri="{FF2B5EF4-FFF2-40B4-BE49-F238E27FC236}">
                    <a16:creationId xmlns:a16="http://schemas.microsoft.com/office/drawing/2014/main" id="{513D16B7-D349-AA7B-93A4-4F2737B66013}"/>
                  </a:ext>
                </a:extLst>
              </p:cNvPr>
              <p:cNvSpPr/>
              <p:nvPr/>
            </p:nvSpPr>
            <p:spPr bwMode="auto">
              <a:xfrm>
                <a:off x="989083" y="2561114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151B41DB-F6F9-349B-2F3E-A7D471C23451}"/>
                </a:ext>
              </a:extLst>
            </p:cNvPr>
            <p:cNvGrpSpPr/>
            <p:nvPr/>
          </p:nvGrpSpPr>
          <p:grpSpPr>
            <a:xfrm>
              <a:off x="0" y="2143857"/>
              <a:ext cx="1647336" cy="64803"/>
              <a:chOff x="0" y="2143857"/>
              <a:chExt cx="1647336" cy="64803"/>
            </a:xfrm>
            <a:grpFill/>
          </p:grpSpPr>
          <p:sp>
            <p:nvSpPr>
              <p:cNvPr id="42" name="Oval 41">
                <a:extLst>
                  <a:ext uri="{FF2B5EF4-FFF2-40B4-BE49-F238E27FC236}">
                    <a16:creationId xmlns:a16="http://schemas.microsoft.com/office/drawing/2014/main" id="{E2EC5D2A-A54B-10AB-1E7F-6D4E2CB71DAD}"/>
                  </a:ext>
                </a:extLst>
              </p:cNvPr>
              <p:cNvSpPr/>
              <p:nvPr/>
            </p:nvSpPr>
            <p:spPr bwMode="auto">
              <a:xfrm rot="5400000">
                <a:off x="1582533" y="2143857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3" name="Oval 42">
                <a:extLst>
                  <a:ext uri="{FF2B5EF4-FFF2-40B4-BE49-F238E27FC236}">
                    <a16:creationId xmlns:a16="http://schemas.microsoft.com/office/drawing/2014/main" id="{F7142276-15F4-0710-1242-1121E7122CD8}"/>
                  </a:ext>
                </a:extLst>
              </p:cNvPr>
              <p:cNvSpPr/>
              <p:nvPr/>
            </p:nvSpPr>
            <p:spPr bwMode="auto">
              <a:xfrm rot="5400000">
                <a:off x="1384717" y="2143857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4" name="Oval 43">
                <a:extLst>
                  <a:ext uri="{FF2B5EF4-FFF2-40B4-BE49-F238E27FC236}">
                    <a16:creationId xmlns:a16="http://schemas.microsoft.com/office/drawing/2014/main" id="{40D36DC4-3C12-7C0F-D16A-D8703E6BDBB1}"/>
                  </a:ext>
                </a:extLst>
              </p:cNvPr>
              <p:cNvSpPr/>
              <p:nvPr/>
            </p:nvSpPr>
            <p:spPr bwMode="auto">
              <a:xfrm rot="5400000">
                <a:off x="1186900" y="2143857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5" name="Oval 44">
                <a:extLst>
                  <a:ext uri="{FF2B5EF4-FFF2-40B4-BE49-F238E27FC236}">
                    <a16:creationId xmlns:a16="http://schemas.microsoft.com/office/drawing/2014/main" id="{8ACC0488-9DB0-DA62-1B25-0127C8FE9827}"/>
                  </a:ext>
                </a:extLst>
              </p:cNvPr>
              <p:cNvSpPr/>
              <p:nvPr/>
            </p:nvSpPr>
            <p:spPr bwMode="auto">
              <a:xfrm>
                <a:off x="593450" y="2143857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6" name="Oval 45">
                <a:extLst>
                  <a:ext uri="{FF2B5EF4-FFF2-40B4-BE49-F238E27FC236}">
                    <a16:creationId xmlns:a16="http://schemas.microsoft.com/office/drawing/2014/main" id="{66B78467-3055-9EA7-0D52-D646B9BD7953}"/>
                  </a:ext>
                </a:extLst>
              </p:cNvPr>
              <p:cNvSpPr/>
              <p:nvPr/>
            </p:nvSpPr>
            <p:spPr bwMode="auto">
              <a:xfrm rot="5400000">
                <a:off x="395633" y="2143857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7" name="Oval 46">
                <a:extLst>
                  <a:ext uri="{FF2B5EF4-FFF2-40B4-BE49-F238E27FC236}">
                    <a16:creationId xmlns:a16="http://schemas.microsoft.com/office/drawing/2014/main" id="{7513A2EF-5D16-E2C7-FD52-025F7D40CF11}"/>
                  </a:ext>
                </a:extLst>
              </p:cNvPr>
              <p:cNvSpPr/>
              <p:nvPr/>
            </p:nvSpPr>
            <p:spPr bwMode="auto">
              <a:xfrm rot="5400000">
                <a:off x="197817" y="2143857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8" name="Oval 47">
                <a:extLst>
                  <a:ext uri="{FF2B5EF4-FFF2-40B4-BE49-F238E27FC236}">
                    <a16:creationId xmlns:a16="http://schemas.microsoft.com/office/drawing/2014/main" id="{684A6D68-14DB-96DF-A697-DA0D78888DA2}"/>
                  </a:ext>
                </a:extLst>
              </p:cNvPr>
              <p:cNvSpPr/>
              <p:nvPr/>
            </p:nvSpPr>
            <p:spPr bwMode="auto">
              <a:xfrm rot="5400000">
                <a:off x="0" y="2143857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9" name="Oval 48">
                <a:extLst>
                  <a:ext uri="{FF2B5EF4-FFF2-40B4-BE49-F238E27FC236}">
                    <a16:creationId xmlns:a16="http://schemas.microsoft.com/office/drawing/2014/main" id="{B7386B6C-CA37-6018-FD08-8A8E49F5C3C1}"/>
                  </a:ext>
                </a:extLst>
              </p:cNvPr>
              <p:cNvSpPr/>
              <p:nvPr/>
            </p:nvSpPr>
            <p:spPr bwMode="auto">
              <a:xfrm>
                <a:off x="791267" y="2143857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6AC8E9AC-E8EE-0CD7-248D-ACA0A76B920F}"/>
                  </a:ext>
                </a:extLst>
              </p:cNvPr>
              <p:cNvSpPr/>
              <p:nvPr/>
            </p:nvSpPr>
            <p:spPr bwMode="auto">
              <a:xfrm>
                <a:off x="989083" y="2143857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86033F52-E3A6-1680-DC0D-D620CD1DA149}"/>
                </a:ext>
              </a:extLst>
            </p:cNvPr>
            <p:cNvGrpSpPr/>
            <p:nvPr/>
          </p:nvGrpSpPr>
          <p:grpSpPr>
            <a:xfrm>
              <a:off x="0" y="2782032"/>
              <a:ext cx="1647336" cy="64803"/>
              <a:chOff x="0" y="2769740"/>
              <a:chExt cx="1647336" cy="64803"/>
            </a:xfrm>
            <a:grpFill/>
          </p:grpSpPr>
          <p:sp>
            <p:nvSpPr>
              <p:cNvPr id="33" name="Oval 32">
                <a:extLst>
                  <a:ext uri="{FF2B5EF4-FFF2-40B4-BE49-F238E27FC236}">
                    <a16:creationId xmlns:a16="http://schemas.microsoft.com/office/drawing/2014/main" id="{751A4015-A7FF-D134-974D-1EB42EF2821A}"/>
                  </a:ext>
                </a:extLst>
              </p:cNvPr>
              <p:cNvSpPr/>
              <p:nvPr/>
            </p:nvSpPr>
            <p:spPr bwMode="auto">
              <a:xfrm rot="5400000">
                <a:off x="1582533" y="2769740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4" name="Oval 33">
                <a:extLst>
                  <a:ext uri="{FF2B5EF4-FFF2-40B4-BE49-F238E27FC236}">
                    <a16:creationId xmlns:a16="http://schemas.microsoft.com/office/drawing/2014/main" id="{4FA86999-E837-FCDB-A569-94D7AC160918}"/>
                  </a:ext>
                </a:extLst>
              </p:cNvPr>
              <p:cNvSpPr/>
              <p:nvPr/>
            </p:nvSpPr>
            <p:spPr bwMode="auto">
              <a:xfrm rot="5400000">
                <a:off x="1384717" y="2769740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5" name="Oval 34">
                <a:extLst>
                  <a:ext uri="{FF2B5EF4-FFF2-40B4-BE49-F238E27FC236}">
                    <a16:creationId xmlns:a16="http://schemas.microsoft.com/office/drawing/2014/main" id="{E2DC6340-3A97-7491-6E84-4D8D919FA7AA}"/>
                  </a:ext>
                </a:extLst>
              </p:cNvPr>
              <p:cNvSpPr/>
              <p:nvPr/>
            </p:nvSpPr>
            <p:spPr bwMode="auto">
              <a:xfrm rot="5400000">
                <a:off x="1186900" y="2769740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6" name="Oval 35">
                <a:extLst>
                  <a:ext uri="{FF2B5EF4-FFF2-40B4-BE49-F238E27FC236}">
                    <a16:creationId xmlns:a16="http://schemas.microsoft.com/office/drawing/2014/main" id="{CC5E774E-5267-777B-E099-4AA24D882CCB}"/>
                  </a:ext>
                </a:extLst>
              </p:cNvPr>
              <p:cNvSpPr/>
              <p:nvPr/>
            </p:nvSpPr>
            <p:spPr bwMode="auto">
              <a:xfrm>
                <a:off x="593450" y="2769740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7" name="Oval 36">
                <a:extLst>
                  <a:ext uri="{FF2B5EF4-FFF2-40B4-BE49-F238E27FC236}">
                    <a16:creationId xmlns:a16="http://schemas.microsoft.com/office/drawing/2014/main" id="{066CC9F6-B651-F2D5-C726-DBB970B82C48}"/>
                  </a:ext>
                </a:extLst>
              </p:cNvPr>
              <p:cNvSpPr/>
              <p:nvPr/>
            </p:nvSpPr>
            <p:spPr bwMode="auto">
              <a:xfrm rot="5400000">
                <a:off x="395633" y="2769740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8" name="Oval 37">
                <a:extLst>
                  <a:ext uri="{FF2B5EF4-FFF2-40B4-BE49-F238E27FC236}">
                    <a16:creationId xmlns:a16="http://schemas.microsoft.com/office/drawing/2014/main" id="{DEB603B9-F1AD-A280-D081-930CA5045ED3}"/>
                  </a:ext>
                </a:extLst>
              </p:cNvPr>
              <p:cNvSpPr/>
              <p:nvPr/>
            </p:nvSpPr>
            <p:spPr bwMode="auto">
              <a:xfrm rot="5400000">
                <a:off x="197817" y="2769740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9" name="Oval 38">
                <a:extLst>
                  <a:ext uri="{FF2B5EF4-FFF2-40B4-BE49-F238E27FC236}">
                    <a16:creationId xmlns:a16="http://schemas.microsoft.com/office/drawing/2014/main" id="{37A75424-081A-21D0-FD3F-24A0F7B93067}"/>
                  </a:ext>
                </a:extLst>
              </p:cNvPr>
              <p:cNvSpPr/>
              <p:nvPr/>
            </p:nvSpPr>
            <p:spPr bwMode="auto">
              <a:xfrm rot="5400000">
                <a:off x="0" y="2769740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0" name="Oval 39">
                <a:extLst>
                  <a:ext uri="{FF2B5EF4-FFF2-40B4-BE49-F238E27FC236}">
                    <a16:creationId xmlns:a16="http://schemas.microsoft.com/office/drawing/2014/main" id="{F54AD13A-8999-2AD7-ACB0-8A7885185A56}"/>
                  </a:ext>
                </a:extLst>
              </p:cNvPr>
              <p:cNvSpPr/>
              <p:nvPr/>
            </p:nvSpPr>
            <p:spPr bwMode="auto">
              <a:xfrm>
                <a:off x="791267" y="2769740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1" name="Oval 40">
                <a:extLst>
                  <a:ext uri="{FF2B5EF4-FFF2-40B4-BE49-F238E27FC236}">
                    <a16:creationId xmlns:a16="http://schemas.microsoft.com/office/drawing/2014/main" id="{892072C5-EFDC-BF8F-5FF4-90ED48601C2F}"/>
                  </a:ext>
                </a:extLst>
              </p:cNvPr>
              <p:cNvSpPr/>
              <p:nvPr/>
            </p:nvSpPr>
            <p:spPr bwMode="auto">
              <a:xfrm>
                <a:off x="989083" y="2769740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1C1D9B22-F84B-76EC-EAD6-E8E51C8A99B2}"/>
                </a:ext>
              </a:extLst>
            </p:cNvPr>
            <p:cNvGrpSpPr/>
            <p:nvPr/>
          </p:nvGrpSpPr>
          <p:grpSpPr>
            <a:xfrm>
              <a:off x="0" y="2994757"/>
              <a:ext cx="1647336" cy="64803"/>
              <a:chOff x="0" y="2143857"/>
              <a:chExt cx="1647336" cy="64803"/>
            </a:xfrm>
            <a:grpFill/>
          </p:grpSpPr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F7544CC5-44C3-3B85-469B-EC335C813333}"/>
                  </a:ext>
                </a:extLst>
              </p:cNvPr>
              <p:cNvSpPr/>
              <p:nvPr/>
            </p:nvSpPr>
            <p:spPr bwMode="auto">
              <a:xfrm rot="5400000">
                <a:off x="1582533" y="2143857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5" name="Oval 24">
                <a:extLst>
                  <a:ext uri="{FF2B5EF4-FFF2-40B4-BE49-F238E27FC236}">
                    <a16:creationId xmlns:a16="http://schemas.microsoft.com/office/drawing/2014/main" id="{38D28A50-3AFC-B551-9745-3C2A16D8F6DA}"/>
                  </a:ext>
                </a:extLst>
              </p:cNvPr>
              <p:cNvSpPr/>
              <p:nvPr/>
            </p:nvSpPr>
            <p:spPr bwMode="auto">
              <a:xfrm rot="5400000">
                <a:off x="1384717" y="2143857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A2C9A610-2142-CAC9-B135-417591FE0CE7}"/>
                  </a:ext>
                </a:extLst>
              </p:cNvPr>
              <p:cNvSpPr/>
              <p:nvPr/>
            </p:nvSpPr>
            <p:spPr bwMode="auto">
              <a:xfrm rot="5400000">
                <a:off x="1186900" y="2143857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7" name="Oval 26">
                <a:extLst>
                  <a:ext uri="{FF2B5EF4-FFF2-40B4-BE49-F238E27FC236}">
                    <a16:creationId xmlns:a16="http://schemas.microsoft.com/office/drawing/2014/main" id="{7232838E-BCBA-A6CC-9F23-4EBF3D2FFD61}"/>
                  </a:ext>
                </a:extLst>
              </p:cNvPr>
              <p:cNvSpPr/>
              <p:nvPr/>
            </p:nvSpPr>
            <p:spPr bwMode="auto">
              <a:xfrm>
                <a:off x="593450" y="2143857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8" name="Oval 27">
                <a:extLst>
                  <a:ext uri="{FF2B5EF4-FFF2-40B4-BE49-F238E27FC236}">
                    <a16:creationId xmlns:a16="http://schemas.microsoft.com/office/drawing/2014/main" id="{0C6883B0-59EF-596C-A3F3-94671C4E4082}"/>
                  </a:ext>
                </a:extLst>
              </p:cNvPr>
              <p:cNvSpPr/>
              <p:nvPr/>
            </p:nvSpPr>
            <p:spPr bwMode="auto">
              <a:xfrm rot="5400000">
                <a:off x="395633" y="2143857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9" name="Oval 28">
                <a:extLst>
                  <a:ext uri="{FF2B5EF4-FFF2-40B4-BE49-F238E27FC236}">
                    <a16:creationId xmlns:a16="http://schemas.microsoft.com/office/drawing/2014/main" id="{A5978B37-DDC4-4B1C-987A-E4C3539B68CE}"/>
                  </a:ext>
                </a:extLst>
              </p:cNvPr>
              <p:cNvSpPr/>
              <p:nvPr/>
            </p:nvSpPr>
            <p:spPr bwMode="auto">
              <a:xfrm rot="5400000">
                <a:off x="197817" y="2143857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0" name="Oval 29">
                <a:extLst>
                  <a:ext uri="{FF2B5EF4-FFF2-40B4-BE49-F238E27FC236}">
                    <a16:creationId xmlns:a16="http://schemas.microsoft.com/office/drawing/2014/main" id="{70D680B7-0E1F-1FA3-7E94-93B924F96FF8}"/>
                  </a:ext>
                </a:extLst>
              </p:cNvPr>
              <p:cNvSpPr/>
              <p:nvPr/>
            </p:nvSpPr>
            <p:spPr bwMode="auto">
              <a:xfrm rot="5400000">
                <a:off x="0" y="2143857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1" name="Oval 30">
                <a:extLst>
                  <a:ext uri="{FF2B5EF4-FFF2-40B4-BE49-F238E27FC236}">
                    <a16:creationId xmlns:a16="http://schemas.microsoft.com/office/drawing/2014/main" id="{76895536-276A-D448-DA48-E142A73E6D29}"/>
                  </a:ext>
                </a:extLst>
              </p:cNvPr>
              <p:cNvSpPr/>
              <p:nvPr/>
            </p:nvSpPr>
            <p:spPr bwMode="auto">
              <a:xfrm>
                <a:off x="791267" y="2143857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2" name="Oval 31">
                <a:extLst>
                  <a:ext uri="{FF2B5EF4-FFF2-40B4-BE49-F238E27FC236}">
                    <a16:creationId xmlns:a16="http://schemas.microsoft.com/office/drawing/2014/main" id="{ECD4F65B-6DC0-8341-E2DD-9326858C8588}"/>
                  </a:ext>
                </a:extLst>
              </p:cNvPr>
              <p:cNvSpPr/>
              <p:nvPr/>
            </p:nvSpPr>
            <p:spPr bwMode="auto">
              <a:xfrm>
                <a:off x="989083" y="2143857"/>
                <a:ext cx="64803" cy="64803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7EFACC46-D7C6-A9C9-A713-51BBDF6E0826}"/>
              </a:ext>
            </a:extLst>
          </p:cNvPr>
          <p:cNvGrpSpPr/>
          <p:nvPr userDrawn="1"/>
        </p:nvGrpSpPr>
        <p:grpSpPr>
          <a:xfrm>
            <a:off x="10348517" y="5559865"/>
            <a:ext cx="1843479" cy="1298140"/>
            <a:chOff x="10348517" y="5559865"/>
            <a:chExt cx="1843479" cy="1298140"/>
          </a:xfrm>
        </p:grpSpPr>
        <p:grpSp>
          <p:nvGrpSpPr>
            <p:cNvPr id="70" name="Graphic 8">
              <a:extLst>
                <a:ext uri="{FF2B5EF4-FFF2-40B4-BE49-F238E27FC236}">
                  <a16:creationId xmlns:a16="http://schemas.microsoft.com/office/drawing/2014/main" id="{352583EF-A44C-30BC-DF51-A58388043305}"/>
                </a:ext>
              </a:extLst>
            </p:cNvPr>
            <p:cNvGrpSpPr/>
            <p:nvPr/>
          </p:nvGrpSpPr>
          <p:grpSpPr>
            <a:xfrm flipH="1">
              <a:off x="10348517" y="5687417"/>
              <a:ext cx="1563963" cy="1170588"/>
              <a:chOff x="5302292" y="8602600"/>
              <a:chExt cx="1381243" cy="1033826"/>
            </a:xfrm>
          </p:grpSpPr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275B7312-75C1-319A-B5F7-65094F88892C}"/>
                  </a:ext>
                </a:extLst>
              </p:cNvPr>
              <p:cNvSpPr/>
              <p:nvPr/>
            </p:nvSpPr>
            <p:spPr>
              <a:xfrm>
                <a:off x="6012986" y="8960641"/>
                <a:ext cx="670549" cy="675785"/>
              </a:xfrm>
              <a:custGeom>
                <a:avLst/>
                <a:gdLst>
                  <a:gd name="connsiteX0" fmla="*/ 1290709 w 1290709"/>
                  <a:gd name="connsiteY0" fmla="*/ 0 h 1300786"/>
                  <a:gd name="connsiteX1" fmla="*/ 0 w 1290709"/>
                  <a:gd name="connsiteY1" fmla="*/ 1300786 h 13007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90709" h="1300786">
                    <a:moveTo>
                      <a:pt x="1290709" y="0"/>
                    </a:moveTo>
                    <a:lnTo>
                      <a:pt x="0" y="1300786"/>
                    </a:lnTo>
                  </a:path>
                </a:pathLst>
              </a:custGeom>
              <a:ln>
                <a:solidFill>
                  <a:schemeClr val="bg2"/>
                </a:solidFill>
              </a:ln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BA8C487D-BDBE-F196-E82A-BEF7FD134ED6}"/>
                  </a:ext>
                </a:extLst>
              </p:cNvPr>
              <p:cNvSpPr/>
              <p:nvPr/>
            </p:nvSpPr>
            <p:spPr>
              <a:xfrm>
                <a:off x="5776035" y="8841293"/>
                <a:ext cx="789064" cy="795131"/>
              </a:xfrm>
              <a:custGeom>
                <a:avLst/>
                <a:gdLst>
                  <a:gd name="connsiteX0" fmla="*/ 1290860 w 1290860"/>
                  <a:gd name="connsiteY0" fmla="*/ 0 h 1300786"/>
                  <a:gd name="connsiteX1" fmla="*/ 0 w 1290860"/>
                  <a:gd name="connsiteY1" fmla="*/ 1300786 h 13007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90860" h="1300786">
                    <a:moveTo>
                      <a:pt x="1290860" y="0"/>
                    </a:moveTo>
                    <a:lnTo>
                      <a:pt x="0" y="1300786"/>
                    </a:lnTo>
                  </a:path>
                </a:pathLst>
              </a:custGeom>
              <a:ln>
                <a:solidFill>
                  <a:schemeClr val="bg2"/>
                </a:solidFill>
              </a:ln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3813152B-3F53-FB86-B069-1A6D1F434A56}"/>
                  </a:ext>
                </a:extLst>
              </p:cNvPr>
              <p:cNvSpPr/>
              <p:nvPr/>
            </p:nvSpPr>
            <p:spPr>
              <a:xfrm>
                <a:off x="5539166" y="8721948"/>
                <a:ext cx="907497" cy="914475"/>
              </a:xfrm>
              <a:custGeom>
                <a:avLst/>
                <a:gdLst>
                  <a:gd name="connsiteX0" fmla="*/ 1290861 w 1290860"/>
                  <a:gd name="connsiteY0" fmla="*/ 0 h 1300786"/>
                  <a:gd name="connsiteX1" fmla="*/ 0 w 1290860"/>
                  <a:gd name="connsiteY1" fmla="*/ 1300786 h 13007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90860" h="1300786">
                    <a:moveTo>
                      <a:pt x="1290861" y="0"/>
                    </a:moveTo>
                    <a:lnTo>
                      <a:pt x="0" y="1300786"/>
                    </a:lnTo>
                  </a:path>
                </a:pathLst>
              </a:custGeom>
              <a:ln>
                <a:solidFill>
                  <a:schemeClr val="bg2"/>
                </a:solidFill>
              </a:ln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BC916D3A-E314-69C1-0E7E-EC479B137F8A}"/>
                  </a:ext>
                </a:extLst>
              </p:cNvPr>
              <p:cNvSpPr/>
              <p:nvPr/>
            </p:nvSpPr>
            <p:spPr>
              <a:xfrm>
                <a:off x="5302292" y="8602600"/>
                <a:ext cx="1025935" cy="1033824"/>
              </a:xfrm>
              <a:custGeom>
                <a:avLst/>
                <a:gdLst>
                  <a:gd name="connsiteX0" fmla="*/ 1290860 w 1290860"/>
                  <a:gd name="connsiteY0" fmla="*/ 0 h 1300786"/>
                  <a:gd name="connsiteX1" fmla="*/ 0 w 1290860"/>
                  <a:gd name="connsiteY1" fmla="*/ 1300786 h 13007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90860" h="1300786">
                    <a:moveTo>
                      <a:pt x="1290860" y="0"/>
                    </a:moveTo>
                    <a:lnTo>
                      <a:pt x="0" y="1300786"/>
                    </a:lnTo>
                  </a:path>
                </a:pathLst>
              </a:custGeom>
              <a:ln>
                <a:solidFill>
                  <a:schemeClr val="bg2"/>
                </a:solidFill>
              </a:ln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grpSp>
          <p:nvGrpSpPr>
            <p:cNvPr id="71" name="Graphic 8">
              <a:extLst>
                <a:ext uri="{FF2B5EF4-FFF2-40B4-BE49-F238E27FC236}">
                  <a16:creationId xmlns:a16="http://schemas.microsoft.com/office/drawing/2014/main" id="{10392A2F-ABC4-CCDE-715B-1A1C9DD77AA2}"/>
                </a:ext>
              </a:extLst>
            </p:cNvPr>
            <p:cNvGrpSpPr/>
            <p:nvPr/>
          </p:nvGrpSpPr>
          <p:grpSpPr>
            <a:xfrm flipH="1">
              <a:off x="11280562" y="5559865"/>
              <a:ext cx="911434" cy="1298132"/>
              <a:chOff x="5055426" y="8489952"/>
              <a:chExt cx="804949" cy="1146469"/>
            </a:xfrm>
          </p:grpSpPr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DA1BE768-C446-2BBC-8B4B-82BB8537E644}"/>
                  </a:ext>
                </a:extLst>
              </p:cNvPr>
              <p:cNvSpPr/>
              <p:nvPr/>
            </p:nvSpPr>
            <p:spPr>
              <a:xfrm>
                <a:off x="5078021" y="8848144"/>
                <a:ext cx="782354" cy="788277"/>
              </a:xfrm>
              <a:custGeom>
                <a:avLst/>
                <a:gdLst>
                  <a:gd name="connsiteX0" fmla="*/ 1290861 w 1290860"/>
                  <a:gd name="connsiteY0" fmla="*/ 0 h 1300634"/>
                  <a:gd name="connsiteX1" fmla="*/ 0 w 1290860"/>
                  <a:gd name="connsiteY1" fmla="*/ 1300634 h 13006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90860" h="1300634">
                    <a:moveTo>
                      <a:pt x="1290861" y="0"/>
                    </a:moveTo>
                    <a:lnTo>
                      <a:pt x="0" y="1300634"/>
                    </a:lnTo>
                  </a:path>
                </a:pathLst>
              </a:custGeom>
              <a:ln>
                <a:solidFill>
                  <a:schemeClr val="bg2"/>
                </a:solidFill>
              </a:ln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B6B75C75-110C-F534-F18D-2EC1E6583E06}"/>
                  </a:ext>
                </a:extLst>
              </p:cNvPr>
              <p:cNvSpPr/>
              <p:nvPr/>
            </p:nvSpPr>
            <p:spPr>
              <a:xfrm>
                <a:off x="5055426" y="8728797"/>
                <a:ext cx="686515" cy="691712"/>
              </a:xfrm>
              <a:custGeom>
                <a:avLst/>
                <a:gdLst>
                  <a:gd name="connsiteX0" fmla="*/ 1290860 w 1290860"/>
                  <a:gd name="connsiteY0" fmla="*/ 0 h 1300634"/>
                  <a:gd name="connsiteX1" fmla="*/ 0 w 1290860"/>
                  <a:gd name="connsiteY1" fmla="*/ 1300634 h 13006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90860" h="1300634">
                    <a:moveTo>
                      <a:pt x="1290860" y="0"/>
                    </a:moveTo>
                    <a:lnTo>
                      <a:pt x="0" y="1300634"/>
                    </a:lnTo>
                  </a:path>
                </a:pathLst>
              </a:custGeom>
              <a:ln>
                <a:solidFill>
                  <a:schemeClr val="bg2"/>
                </a:solidFill>
              </a:ln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21F3A462-2CFA-EC34-F2E5-2DD79D1BA341}"/>
                  </a:ext>
                </a:extLst>
              </p:cNvPr>
              <p:cNvSpPr/>
              <p:nvPr/>
            </p:nvSpPr>
            <p:spPr>
              <a:xfrm>
                <a:off x="5055426" y="8609299"/>
                <a:ext cx="568078" cy="572447"/>
              </a:xfrm>
              <a:custGeom>
                <a:avLst/>
                <a:gdLst>
                  <a:gd name="connsiteX0" fmla="*/ 1290861 w 1290860"/>
                  <a:gd name="connsiteY0" fmla="*/ 0 h 1300786"/>
                  <a:gd name="connsiteX1" fmla="*/ 0 w 1290860"/>
                  <a:gd name="connsiteY1" fmla="*/ 1300786 h 13007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90860" h="1300786">
                    <a:moveTo>
                      <a:pt x="1290861" y="0"/>
                    </a:moveTo>
                    <a:lnTo>
                      <a:pt x="0" y="1300786"/>
                    </a:lnTo>
                  </a:path>
                </a:pathLst>
              </a:custGeom>
              <a:ln>
                <a:solidFill>
                  <a:schemeClr val="bg2"/>
                </a:solidFill>
              </a:ln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96FD0968-77A6-E12D-A940-20167CABAB77}"/>
                  </a:ext>
                </a:extLst>
              </p:cNvPr>
              <p:cNvSpPr/>
              <p:nvPr/>
            </p:nvSpPr>
            <p:spPr>
              <a:xfrm>
                <a:off x="5055426" y="8489952"/>
                <a:ext cx="449490" cy="453000"/>
              </a:xfrm>
              <a:custGeom>
                <a:avLst/>
                <a:gdLst>
                  <a:gd name="connsiteX0" fmla="*/ 1290709 w 1290709"/>
                  <a:gd name="connsiteY0" fmla="*/ 0 h 1300786"/>
                  <a:gd name="connsiteX1" fmla="*/ 0 w 1290709"/>
                  <a:gd name="connsiteY1" fmla="*/ 1300787 h 13007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90709" h="1300786">
                    <a:moveTo>
                      <a:pt x="1290709" y="0"/>
                    </a:moveTo>
                    <a:lnTo>
                      <a:pt x="0" y="1300787"/>
                    </a:lnTo>
                  </a:path>
                </a:pathLst>
              </a:custGeom>
              <a:ln>
                <a:solidFill>
                  <a:schemeClr val="bg2"/>
                </a:solidFill>
              </a:ln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</p:grpSp>
      <p:sp>
        <p:nvSpPr>
          <p:cNvPr id="80" name="TextBox 79">
            <a:extLst>
              <a:ext uri="{FF2B5EF4-FFF2-40B4-BE49-F238E27FC236}">
                <a16:creationId xmlns:a16="http://schemas.microsoft.com/office/drawing/2014/main" id="{CF4122C2-0364-1B55-B2B7-9EFB1BF42341}"/>
              </a:ext>
            </a:extLst>
          </p:cNvPr>
          <p:cNvSpPr txBox="1"/>
          <p:nvPr userDrawn="1"/>
        </p:nvSpPr>
        <p:spPr>
          <a:xfrm>
            <a:off x="361661" y="3013502"/>
            <a:ext cx="3130970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5400" b="1">
                <a:solidFill>
                  <a:schemeClr val="tx2"/>
                </a:solidFill>
                <a:latin typeface="+mj-lt"/>
              </a:rPr>
              <a:t>Agenda</a:t>
            </a:r>
          </a:p>
        </p:txBody>
      </p:sp>
      <p:sp>
        <p:nvSpPr>
          <p:cNvPr id="88" name="Text Placeholder 2">
            <a:extLst>
              <a:ext uri="{FF2B5EF4-FFF2-40B4-BE49-F238E27FC236}">
                <a16:creationId xmlns:a16="http://schemas.microsoft.com/office/drawing/2014/main" id="{80CA7126-A722-4A6D-94E4-86D5D8B0DAC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656602" y="1399251"/>
            <a:ext cx="6070600" cy="276999"/>
          </a:xfrm>
        </p:spPr>
        <p:txBody>
          <a:bodyPr/>
          <a:lstStyle>
            <a:lvl1pPr marL="0" indent="0">
              <a:buNone/>
              <a:defRPr sz="18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9" name="Text Placeholder 2">
            <a:extLst>
              <a:ext uri="{FF2B5EF4-FFF2-40B4-BE49-F238E27FC236}">
                <a16:creationId xmlns:a16="http://schemas.microsoft.com/office/drawing/2014/main" id="{C91922D3-B3BD-6E24-7894-81A764EE13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656602" y="2689079"/>
            <a:ext cx="6070600" cy="307777"/>
          </a:xfrm>
        </p:spPr>
        <p:txBody>
          <a:bodyPr/>
          <a:lstStyle>
            <a:lvl1pPr marL="0" indent="0">
              <a:buNone/>
              <a:defRPr sz="20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0" name="Text Placeholder 2">
            <a:extLst>
              <a:ext uri="{FF2B5EF4-FFF2-40B4-BE49-F238E27FC236}">
                <a16:creationId xmlns:a16="http://schemas.microsoft.com/office/drawing/2014/main" id="{D0BA5C99-C35F-4CB1-F304-4E0A03ADA13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656602" y="4009685"/>
            <a:ext cx="6070600" cy="276999"/>
          </a:xfrm>
        </p:spPr>
        <p:txBody>
          <a:bodyPr/>
          <a:lstStyle>
            <a:lvl1pPr marL="0" indent="0">
              <a:buNone/>
              <a:defRPr sz="18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1" name="Text Placeholder 2">
            <a:extLst>
              <a:ext uri="{FF2B5EF4-FFF2-40B4-BE49-F238E27FC236}">
                <a16:creationId xmlns:a16="http://schemas.microsoft.com/office/drawing/2014/main" id="{01D53BFC-2D97-154F-8FFE-EE1BE62B544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56602" y="5299514"/>
            <a:ext cx="6070600" cy="276999"/>
          </a:xfrm>
        </p:spPr>
        <p:txBody>
          <a:bodyPr/>
          <a:lstStyle>
            <a:lvl1pPr marL="0" indent="0">
              <a:buNone/>
              <a:defRPr sz="18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6709286"/>
      </p:ext>
    </p:extLst>
  </p:cSld>
  <p:clrMapOvr>
    <a:masterClrMapping/>
  </p:clrMapOvr>
  <p:transition>
    <p:fade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8A212C2-8B30-4835-8711-AA981B6CFBE1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84200" y="1435100"/>
            <a:ext cx="11018838" cy="48339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F9662A5-6E2F-47B0-9B6E-E87983D375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A3A3A3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393057395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AAD849-7CFE-4AF7-A7C5-6BBD50C88C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4518189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8" orient="horz" pos="864">
          <p15:clr>
            <a:srgbClr val="5ACBF0"/>
          </p15:clr>
        </p15:guide>
        <p15:guide id="29" orient="horz" pos="1272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Content with Subhea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C2759870-0BEA-44DC-A414-1C70D04E35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1436688"/>
            <a:ext cx="5219700" cy="430887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BFEF95FA-F121-4653-B60A-0D068C34546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88963" y="2081212"/>
            <a:ext cx="5214937" cy="4187825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C327262A-D327-4189-AD22-BAD67CF4AB7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97625" y="1436688"/>
            <a:ext cx="5219700" cy="430887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14">
            <a:extLst>
              <a:ext uri="{FF2B5EF4-FFF2-40B4-BE49-F238E27FC236}">
                <a16:creationId xmlns:a16="http://schemas.microsoft.com/office/drawing/2014/main" id="{47F8EAA9-0E64-4589-A234-BC31685BE7D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394451" y="2081212"/>
            <a:ext cx="5214937" cy="4187825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07CBEB8-AFEF-362F-CB36-DC00FA4C6C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195114857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311">
          <p15:clr>
            <a:srgbClr val="5ACBF0"/>
          </p15:clr>
        </p15:guide>
        <p15:guide id="4" pos="3656">
          <p15:clr>
            <a:srgbClr val="5ACBF0"/>
          </p15:clr>
        </p15:guide>
        <p15:guide id="5" pos="4024">
          <p15:clr>
            <a:srgbClr val="5ACBF0"/>
          </p15:clr>
        </p15:guide>
        <p15:guide id="7" orient="horz" pos="905">
          <p15:clr>
            <a:srgbClr val="5ACBF0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AAD849-7CFE-4AF7-A7C5-6BBD50C88C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A3286333-C615-9496-3ADE-88D5520AD5B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84200" y="6460362"/>
            <a:ext cx="11027664" cy="138499"/>
          </a:xfrm>
        </p:spPr>
        <p:txBody>
          <a:bodyPr anchor="b"/>
          <a:lstStyle>
            <a:lvl1pPr marL="0" indent="0">
              <a:buNone/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</p:spTree>
    <p:extLst>
      <p:ext uri="{BB962C8B-B14F-4D97-AF65-F5344CB8AC3E}">
        <p14:creationId xmlns:p14="http://schemas.microsoft.com/office/powerpoint/2010/main" val="424300156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8" orient="horz" pos="864">
          <p15:clr>
            <a:srgbClr val="5ACBF0"/>
          </p15:clr>
        </p15:guide>
        <p15:guide id="29" orient="horz" pos="1272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log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AAD849-7CFE-4AF7-A7C5-6BBD50C88C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0049257" cy="5539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7" name="Picture Placeholder 56">
            <a:extLst>
              <a:ext uri="{FF2B5EF4-FFF2-40B4-BE49-F238E27FC236}">
                <a16:creationId xmlns:a16="http://schemas.microsoft.com/office/drawing/2014/main" id="{E260874D-C856-B7DE-F08E-FC4D3EF7BCE2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10916944" y="293237"/>
            <a:ext cx="927394" cy="927392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 marL="0" indent="0" algn="ctr">
              <a:buNone/>
              <a:defRPr sz="1600">
                <a:latin typeface="+mj-lt"/>
              </a:defRPr>
            </a:lvl1pPr>
          </a:lstStyle>
          <a:p>
            <a:r>
              <a:rPr lang="en-US"/>
              <a:t>Image</a:t>
            </a:r>
          </a:p>
        </p:txBody>
      </p:sp>
    </p:spTree>
    <p:extLst>
      <p:ext uri="{BB962C8B-B14F-4D97-AF65-F5344CB8AC3E}">
        <p14:creationId xmlns:p14="http://schemas.microsoft.com/office/powerpoint/2010/main" val="216528238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9" orient="horz" pos="1272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9782175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 Bullet with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260F77E-464D-46F7-A8F8-6F281DAB0C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CB20F198-3776-433D-85A8-C2B6AC6235F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5217" y="1438275"/>
            <a:ext cx="3264408" cy="677108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97BC59AA-6CF8-4091-8008-21AA9AD8E8B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85217" y="2390775"/>
            <a:ext cx="3264408" cy="1760482"/>
          </a:xfrm>
        </p:spPr>
        <p:txBody>
          <a:bodyPr wrap="square">
            <a:spAutoFit/>
          </a:bodyPr>
          <a:lstStyle>
            <a:lvl1pPr marL="176213" indent="-176213">
              <a:defRPr lang="en-US" sz="2000" dirty="0"/>
            </a:lvl1pPr>
            <a:lvl2pPr marL="322263" indent="-150813">
              <a:defRPr lang="en-US" sz="1800" dirty="0"/>
            </a:lvl2pPr>
            <a:lvl3pPr marL="466725" indent="-138113">
              <a:defRPr lang="en-US" dirty="0"/>
            </a:lvl3pPr>
            <a:lvl4pPr marL="595313" indent="-128588">
              <a:defRPr lang="en-US" dirty="0"/>
            </a:lvl4pPr>
            <a:lvl5pPr marL="731838" indent="-1222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BECED387-BA3E-49B2-8F1E-0E371E09E0A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463796" y="1438275"/>
            <a:ext cx="3264408" cy="677108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6B26A1CD-81F9-4C2F-896F-E69757C6658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463796" y="2384135"/>
            <a:ext cx="3264408" cy="1760482"/>
          </a:xfrm>
        </p:spPr>
        <p:txBody>
          <a:bodyPr wrap="square">
            <a:spAutoFit/>
          </a:bodyPr>
          <a:lstStyle>
            <a:lvl1pPr marL="176213" indent="-176213">
              <a:defRPr lang="en-US" sz="2000" dirty="0"/>
            </a:lvl1pPr>
            <a:lvl2pPr marL="398463" indent="-169863">
              <a:defRPr lang="en-US" sz="1800" dirty="0"/>
            </a:lvl2pPr>
            <a:lvl3pPr marL="555625" indent="-157163">
              <a:defRPr lang="en-US" dirty="0"/>
            </a:lvl3pPr>
            <a:lvl4pPr marL="685800" indent="-136525">
              <a:defRPr lang="en-US" dirty="0"/>
            </a:lvl4pPr>
            <a:lvl5pPr marL="800100" indent="-111125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11">
            <a:extLst>
              <a:ext uri="{FF2B5EF4-FFF2-40B4-BE49-F238E27FC236}">
                <a16:creationId xmlns:a16="http://schemas.microsoft.com/office/drawing/2014/main" id="{79263A4B-A9A8-4CE5-96A8-6F6EC365E5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342375" y="1438275"/>
            <a:ext cx="3264408" cy="677108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2205743D-F71A-4647-9BE4-2900BDA2582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342375" y="2390775"/>
            <a:ext cx="3264408" cy="1760482"/>
          </a:xfrm>
        </p:spPr>
        <p:txBody>
          <a:bodyPr wrap="square">
            <a:spAutoFit/>
          </a:bodyPr>
          <a:lstStyle>
            <a:lvl1pPr marL="176213" indent="-176213">
              <a:defRPr lang="en-US" sz="2000" dirty="0"/>
            </a:lvl1pPr>
            <a:lvl2pPr marL="398463" indent="-169863">
              <a:defRPr lang="en-US" sz="1800" dirty="0"/>
            </a:lvl2pPr>
            <a:lvl3pPr marL="555625" indent="-157163">
              <a:defRPr lang="en-US" dirty="0"/>
            </a:lvl3pPr>
            <a:lvl4pPr marL="685800" indent="-136525">
              <a:defRPr lang="en-US" dirty="0"/>
            </a:lvl4pPr>
            <a:lvl5pPr marL="800100" indent="-111125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7950489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1506">
          <p15:clr>
            <a:srgbClr val="5ACBF0"/>
          </p15:clr>
        </p15:guide>
        <p15:guide id="4" orient="horz" pos="90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2430">
          <p15:clr>
            <a:srgbClr val="5ACBF0"/>
          </p15:clr>
        </p15:guide>
        <p15:guide id="7" pos="2811">
          <p15:clr>
            <a:srgbClr val="5ACBF0"/>
          </p15:clr>
        </p15:guide>
        <p15:guide id="8" pos="4871">
          <p15:clr>
            <a:srgbClr val="5ACBF0"/>
          </p15:clr>
        </p15:guide>
        <p15:guide id="9" pos="5251">
          <p15:clr>
            <a:srgbClr val="5ACBF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lumn Bullet with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7A434B7-D4B9-4D45-A31C-F0CC4D2279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11">
            <a:extLst>
              <a:ext uri="{FF2B5EF4-FFF2-40B4-BE49-F238E27FC236}">
                <a16:creationId xmlns:a16="http://schemas.microsoft.com/office/drawing/2014/main" id="{92783506-927E-48F7-8EFC-36257F3E281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1438275"/>
            <a:ext cx="2532063" cy="61555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FB6093D3-3EDF-4A80-8450-C5EBB199077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84200" y="2283115"/>
            <a:ext cx="2532063" cy="1698927"/>
          </a:xfrm>
        </p:spPr>
        <p:txBody>
          <a:bodyPr wrap="square">
            <a:spAutoFit/>
          </a:bodyPr>
          <a:lstStyle>
            <a:lvl1pPr marL="141288" indent="-141288">
              <a:defRPr lang="en-US" sz="1800" dirty="0"/>
            </a:lvl1pPr>
            <a:lvl2pPr marL="285750" indent="-125413">
              <a:defRPr lang="en-US" sz="1600" dirty="0"/>
            </a:lvl2pPr>
            <a:lvl3pPr marL="438150" indent="-133350">
              <a:defRPr lang="en-US" dirty="0"/>
            </a:lvl3pPr>
            <a:lvl4pPr marL="566738" indent="-114300">
              <a:defRPr lang="en-US" dirty="0"/>
            </a:lvl4pPr>
            <a:lvl5pPr marL="685800" indent="-1095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11">
            <a:extLst>
              <a:ext uri="{FF2B5EF4-FFF2-40B4-BE49-F238E27FC236}">
                <a16:creationId xmlns:a16="http://schemas.microsoft.com/office/drawing/2014/main" id="{438D2C80-6884-451D-8D7D-B69022CCC5C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13125" y="1438275"/>
            <a:ext cx="2533650" cy="61555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7614A884-0AD6-4A85-A432-2B13E7464DA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413125" y="2276475"/>
            <a:ext cx="2532063" cy="1698927"/>
          </a:xfrm>
        </p:spPr>
        <p:txBody>
          <a:bodyPr wrap="square">
            <a:spAutoFit/>
          </a:bodyPr>
          <a:lstStyle>
            <a:lvl1pPr marL="141288" indent="-141288">
              <a:defRPr lang="en-US" sz="1800" dirty="0"/>
            </a:lvl1pPr>
            <a:lvl2pPr marL="285750" indent="-125413">
              <a:defRPr lang="en-US" sz="1600" dirty="0"/>
            </a:lvl2pPr>
            <a:lvl3pPr marL="438150" indent="-133350">
              <a:defRPr lang="en-US" dirty="0"/>
            </a:lvl3pPr>
            <a:lvl4pPr marL="566738" indent="-114300">
              <a:defRPr lang="en-US" dirty="0"/>
            </a:lvl4pPr>
            <a:lvl5pPr marL="685800" indent="-1095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1">
            <a:extLst>
              <a:ext uri="{FF2B5EF4-FFF2-40B4-BE49-F238E27FC236}">
                <a16:creationId xmlns:a16="http://schemas.microsoft.com/office/drawing/2014/main" id="{7D8FFDED-9FE5-4D94-8EB0-7D645C10FBF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4208" y="1438275"/>
            <a:ext cx="2532063" cy="61555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D429D954-9297-44FA-B7BD-56586012419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44208" y="2283115"/>
            <a:ext cx="2532063" cy="1698927"/>
          </a:xfrm>
        </p:spPr>
        <p:txBody>
          <a:bodyPr wrap="square">
            <a:spAutoFit/>
          </a:bodyPr>
          <a:lstStyle>
            <a:lvl1pPr marL="141288" indent="-141288">
              <a:defRPr lang="en-US" sz="1800" dirty="0"/>
            </a:lvl1pPr>
            <a:lvl2pPr marL="285750" indent="-125413">
              <a:defRPr lang="en-US" sz="1600" dirty="0"/>
            </a:lvl2pPr>
            <a:lvl3pPr marL="438150" indent="-133350">
              <a:defRPr lang="en-US" dirty="0"/>
            </a:lvl3pPr>
            <a:lvl4pPr marL="566738" indent="-114300">
              <a:defRPr lang="en-US" dirty="0"/>
            </a:lvl4pPr>
            <a:lvl5pPr marL="685800" indent="-1095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Text Placeholder 11">
            <a:extLst>
              <a:ext uri="{FF2B5EF4-FFF2-40B4-BE49-F238E27FC236}">
                <a16:creationId xmlns:a16="http://schemas.microsoft.com/office/drawing/2014/main" id="{04D43B0D-50F8-4F63-AFA3-34A46F42E81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073133" y="1438275"/>
            <a:ext cx="2533650" cy="61555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804CEFDA-6A6F-42D3-B65C-4BE1054C905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073133" y="2276475"/>
            <a:ext cx="2532063" cy="1698927"/>
          </a:xfrm>
        </p:spPr>
        <p:txBody>
          <a:bodyPr wrap="square">
            <a:spAutoFit/>
          </a:bodyPr>
          <a:lstStyle>
            <a:lvl1pPr marL="141288" indent="-141288">
              <a:defRPr lang="en-US" sz="1800" dirty="0"/>
            </a:lvl1pPr>
            <a:lvl2pPr marL="285750" indent="-125413">
              <a:defRPr lang="en-US" sz="1600" dirty="0"/>
            </a:lvl2pPr>
            <a:lvl3pPr marL="438150" indent="-133350">
              <a:defRPr lang="en-US" dirty="0"/>
            </a:lvl3pPr>
            <a:lvl4pPr marL="566738" indent="-114300">
              <a:defRPr lang="en-US" dirty="0"/>
            </a:lvl4pPr>
            <a:lvl5pPr marL="685800" indent="-1095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1933387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4" orient="horz" pos="90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1963">
          <p15:clr>
            <a:srgbClr val="5ACBF0"/>
          </p15:clr>
        </p15:guide>
        <p15:guide id="7" pos="2150">
          <p15:clr>
            <a:srgbClr val="5ACBF0"/>
          </p15:clr>
        </p15:guide>
        <p15:guide id="8" pos="3746">
          <p15:clr>
            <a:srgbClr val="5ACBF0"/>
          </p15:clr>
        </p15:guide>
        <p15:guide id="9" pos="3934">
          <p15:clr>
            <a:srgbClr val="5ACBF0"/>
          </p15:clr>
        </p15:guide>
        <p15:guide id="10" pos="5530">
          <p15:clr>
            <a:srgbClr val="5ACBF0"/>
          </p15:clr>
        </p15:guide>
        <p15:guide id="11" pos="5716">
          <p15:clr>
            <a:srgbClr val="5ACBF0"/>
          </p15:clr>
        </p15:guide>
        <p15:guide id="12" orient="horz" pos="1436">
          <p15:clr>
            <a:srgbClr val="5ACBF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ve Column Bullet with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7A434B7-D4B9-4D45-A31C-F0CC4D2279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11">
            <a:extLst>
              <a:ext uri="{FF2B5EF4-FFF2-40B4-BE49-F238E27FC236}">
                <a16:creationId xmlns:a16="http://schemas.microsoft.com/office/drawing/2014/main" id="{92783506-927E-48F7-8EFC-36257F3E28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4200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FB6093D3-3EDF-4A80-8450-C5EBB199077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84200" y="228311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11">
            <a:extLst>
              <a:ext uri="{FF2B5EF4-FFF2-40B4-BE49-F238E27FC236}">
                <a16:creationId xmlns:a16="http://schemas.microsoft.com/office/drawing/2014/main" id="{438D2C80-6884-451D-8D7D-B69022CCC5C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49007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7614A884-0AD6-4A85-A432-2B13E7464DA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849007" y="227647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1">
            <a:extLst>
              <a:ext uri="{FF2B5EF4-FFF2-40B4-BE49-F238E27FC236}">
                <a16:creationId xmlns:a16="http://schemas.microsoft.com/office/drawing/2014/main" id="{7D8FFDED-9FE5-4D94-8EB0-7D645C10FBF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3814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D429D954-9297-44FA-B7BD-56586012419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113814" y="228311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Text Placeholder 11">
            <a:extLst>
              <a:ext uri="{FF2B5EF4-FFF2-40B4-BE49-F238E27FC236}">
                <a16:creationId xmlns:a16="http://schemas.microsoft.com/office/drawing/2014/main" id="{04D43B0D-50F8-4F63-AFA3-34A46F42E81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378621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804CEFDA-6A6F-42D3-B65C-4BE1054C905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378621" y="227647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540485AC-5036-400C-92C3-D3E9EC0252B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643428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F90290A2-7689-4DF5-971A-36C2D917341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43428" y="227647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9119782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4" orient="horz" pos="90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1610">
          <p15:clr>
            <a:srgbClr val="5ACBF0"/>
          </p15:clr>
        </p15:guide>
        <p15:guide id="7" pos="1795">
          <p15:clr>
            <a:srgbClr val="5ACBF0"/>
          </p15:clr>
        </p15:guide>
        <p15:guide id="8" pos="3035">
          <p15:clr>
            <a:srgbClr val="5ACBF0"/>
          </p15:clr>
        </p15:guide>
        <p15:guide id="9" pos="3221">
          <p15:clr>
            <a:srgbClr val="5ACBF0"/>
          </p15:clr>
        </p15:guide>
        <p15:guide id="10" pos="4461">
          <p15:clr>
            <a:srgbClr val="5ACBF0"/>
          </p15:clr>
        </p15:guide>
        <p15:guide id="11" pos="5890">
          <p15:clr>
            <a:srgbClr val="5ACBF0"/>
          </p15:clr>
        </p15:guide>
        <p15:guide id="12" orient="horz" pos="1436">
          <p15:clr>
            <a:srgbClr val="5ACBF0"/>
          </p15:clr>
        </p15:guide>
        <p15:guide id="13" pos="4646">
          <p15:clr>
            <a:srgbClr val="5ACBF0"/>
          </p15:clr>
        </p15:guide>
        <p15:guide id="14" pos="6072">
          <p15:clr>
            <a:srgbClr val="5ACBF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AAD849-7CFE-4AF7-A7C5-6BBD50C88C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1246402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left s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AAD849-7CFE-4AF7-A7C5-6BBD50C88C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4" y="2875002"/>
            <a:ext cx="4127692" cy="1107996"/>
          </a:xfrm>
        </p:spPr>
        <p:txBody>
          <a:bodyPr wrap="square" anchor="ctr">
            <a:sp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3114515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30" orient="horz" pos="288">
          <p15:clr>
            <a:srgbClr val="5ACBF0"/>
          </p15:clr>
        </p15:guide>
        <p15:guide id="32" orient="horz" pos="2160">
          <p15:clr>
            <a:srgbClr val="5ACBF0"/>
          </p15:clr>
        </p15:guide>
        <p15:guide id="33" pos="2976">
          <p15:clr>
            <a:srgbClr val="5ACBF0"/>
          </p15:clr>
        </p15:guide>
        <p15:guide id="34" pos="3336">
          <p15:clr>
            <a:srgbClr val="5ACBF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4923082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52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  <p15:guide id="31" pos="3840">
          <p15:clr>
            <a:srgbClr val="5ACBF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 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E5C076-3B78-4451-8068-576892A08E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5216" y="2309812"/>
            <a:ext cx="3182027" cy="3959225"/>
          </a:xfrm>
        </p:spPr>
        <p:txBody>
          <a:bodyPr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7E9DBFD9-3E1E-4F19-AF15-56780F9C792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56100" y="2309812"/>
            <a:ext cx="7253288" cy="3959223"/>
          </a:xfrm>
        </p:spPr>
        <p:txBody>
          <a:bodyPr anchor="t"/>
          <a:lstStyle>
            <a:lvl1pPr marL="231775" indent="-231775">
              <a:spcAft>
                <a:spcPts val="600"/>
              </a:spcAft>
              <a:buFont typeface="Wingdings" panose="05000000000000000000" pitchFamily="2" charset="2"/>
              <a:buChar char=""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35867F2-3994-4092-B53B-5792FEE698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585216" y="2019300"/>
            <a:ext cx="3182112" cy="0"/>
          </a:xfrm>
          <a:prstGeom prst="line">
            <a:avLst/>
          </a:prstGeom>
          <a:ln w="28575">
            <a:solidFill>
              <a:schemeClr val="accent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49D8AF80-CAD5-4055-80AD-0B31EBCB52A9}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F1A9F7D-F14E-4BCE-9EB4-D9EF47B678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354523" y="2019300"/>
            <a:ext cx="7254865" cy="0"/>
          </a:xfrm>
          <a:prstGeom prst="line">
            <a:avLst/>
          </a:prstGeom>
          <a:ln w="19050">
            <a:solidFill>
              <a:schemeClr val="tx1">
                <a:alpha val="30000"/>
              </a:schemeClr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0569733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3" pos="2744">
          <p15:clr>
            <a:srgbClr val="5ACBF0"/>
          </p15:clr>
        </p15:guide>
        <p15:guide id="29" orient="horz" pos="1272">
          <p15:clr>
            <a:srgbClr val="5ACBF0"/>
          </p15:clr>
        </p15:guide>
        <p15:guide id="30" pos="2376">
          <p15:clr>
            <a:srgbClr val="5ACBF0"/>
          </p15:clr>
        </p15:guide>
        <p15:guide id="32" orient="horz" pos="1455">
          <p15:clr>
            <a:srgbClr val="5ACBF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 side by s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E5C076-3B78-4451-8068-576892A08E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585788"/>
            <a:ext cx="3182027" cy="5683250"/>
          </a:xfrm>
        </p:spPr>
        <p:txBody>
          <a:bodyPr anchor="ctr"/>
          <a:lstStyle>
            <a:lvl1pPr>
              <a:defRPr/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015781-2431-48C9-AEF1-52FBD41AF3F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941888" y="585788"/>
            <a:ext cx="6667500" cy="5683249"/>
          </a:xfrm>
        </p:spPr>
        <p:txBody>
          <a:bodyPr anchor="ctr"/>
          <a:lstStyle>
            <a:lvl1pPr marL="231775" indent="-231775">
              <a:spcAft>
                <a:spcPts val="600"/>
              </a:spcAft>
              <a:buFont typeface="Wingdings" panose="05000000000000000000" pitchFamily="2" charset="2"/>
              <a:buChar char=""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35867F2-3994-4092-B53B-5792FEE698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4356100" y="2578100"/>
            <a:ext cx="0" cy="1701800"/>
          </a:xfrm>
          <a:prstGeom prst="line">
            <a:avLst/>
          </a:prstGeom>
          <a:ln w="28575">
            <a:solidFill>
              <a:schemeClr val="accent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A1DC2181-37AB-40A3-B61C-1DE7DBB57D63}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370041934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3" pos="2744">
          <p15:clr>
            <a:srgbClr val="5ACBF0"/>
          </p15:clr>
        </p15:guide>
        <p15:guide id="29" orient="horz" pos="2160">
          <p15:clr>
            <a:srgbClr val="5ACBF0"/>
          </p15:clr>
        </p15:guide>
        <p15:guide id="30" pos="2376">
          <p15:clr>
            <a:srgbClr val="5ACBF0"/>
          </p15:clr>
        </p15:guide>
        <p15:guide id="31" pos="3113">
          <p15:clr>
            <a:srgbClr val="5ACBF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close-up of several cubes&#10;&#10;AI-generated content may be incorrect.">
            <a:extLst>
              <a:ext uri="{FF2B5EF4-FFF2-40B4-BE49-F238E27FC236}">
                <a16:creationId xmlns:a16="http://schemas.microsoft.com/office/drawing/2014/main" id="{8129A2C3-CEC4-826D-AA26-68D2F3D9FD6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MS logo white - EMF" descr="Microsoft logo white text version">
            <a:extLst>
              <a:ext uri="{FF2B5EF4-FFF2-40B4-BE49-F238E27FC236}">
                <a16:creationId xmlns:a16="http://schemas.microsoft.com/office/drawing/2014/main" id="{EB5EB062-3EB9-AE51-7945-D4F3E1AA0D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584200" y="2425781"/>
            <a:ext cx="5577840" cy="1107996"/>
          </a:xfrm>
          <a:noFill/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4000" b="0" kern="1200" cap="none" spc="-50" baseline="0" dirty="0">
                <a:ln w="3175">
                  <a:noFill/>
                </a:ln>
                <a:solidFill>
                  <a:srgbClr val="FAE4A2"/>
                </a:solidFill>
                <a:effectLst/>
                <a:latin typeface="Segoe Sans Display Semibold" pitchFamily="2" charset="0"/>
                <a:ea typeface="+mn-ea"/>
                <a:cs typeface="Segoe Sans Display Semibold" pitchFamily="2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84200" y="3962400"/>
            <a:ext cx="5577840" cy="276999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lang="en-US" sz="1800" kern="1200" spc="0" baseline="0" dirty="0">
                <a:solidFill>
                  <a:schemeClr val="tx1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Speaker name or subtitle text</a:t>
            </a:r>
          </a:p>
        </p:txBody>
      </p:sp>
    </p:spTree>
    <p:extLst>
      <p:ext uri="{BB962C8B-B14F-4D97-AF65-F5344CB8AC3E}">
        <p14:creationId xmlns:p14="http://schemas.microsoft.com/office/powerpoint/2010/main" val="3849565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44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0636FE-845C-418D-82A1-1DA6DB73D7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82D46E0-16CE-40B0-8623-F82D5D41095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0" y="1436688"/>
            <a:ext cx="12192000" cy="5421312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44977AB6-1D7E-4858-A2EA-BF86577C39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436688"/>
            <a:ext cx="3788358" cy="446148"/>
          </a:xfrm>
          <a:gradFill flip="none" rotWithShape="1">
            <a:gsLst>
              <a:gs pos="0">
                <a:srgbClr val="000000"/>
              </a:gs>
              <a:gs pos="92000">
                <a:srgbClr val="000000"/>
              </a:gs>
              <a:gs pos="92000">
                <a:schemeClr val="accent1"/>
              </a:gs>
            </a:gsLst>
            <a:lin ang="16200000" scaled="1"/>
            <a:tileRect/>
          </a:gradFill>
        </p:spPr>
        <p:txBody>
          <a:bodyPr lIns="585216" tIns="91440" bIns="45720"/>
          <a:lstStyle>
            <a:lvl1pPr marL="0" indent="0">
              <a:buNone/>
              <a:defRPr sz="1999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nter title</a:t>
            </a:r>
          </a:p>
        </p:txBody>
      </p:sp>
      <p:sp>
        <p:nvSpPr>
          <p:cNvPr id="5" name="Text Placeholder 4" descr="This layout should only be used for developer code. The font used is a monospace font which is ideal for showing code.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3" y="2099310"/>
            <a:ext cx="11018520" cy="369332"/>
          </a:xfrm>
        </p:spPr>
        <p:txBody>
          <a:bodyPr/>
          <a:lstStyle>
            <a:lvl1pPr marL="0" indent="0">
              <a:buNone/>
              <a:tabLst/>
              <a:defRPr sz="240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tabLst>
                <a:tab pos="344488" algn="l"/>
              </a:tabLst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tabLst>
                <a:tab pos="569913" algn="l"/>
              </a:tabLst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tabLst>
                <a:tab pos="800100" algn="l"/>
              </a:tabLst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tabLst>
                <a:tab pos="1028700" algn="l"/>
              </a:tabLst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6150449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32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de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1845FFD-6B9A-4013-932A-5E4D7E849D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7B17F8BB-3610-1A4F-9E76-B12E706A55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390" y="1230681"/>
            <a:ext cx="11018520" cy="369332"/>
          </a:xfrm>
        </p:spPr>
        <p:txBody>
          <a:bodyPr wrap="square">
            <a:spAutoFit/>
          </a:bodyPr>
          <a:lstStyle>
            <a:lvl1pPr marL="0" indent="0">
              <a:spcBef>
                <a:spcPts val="60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  <a:lvl2pPr marL="228531" indent="0">
              <a:buNone/>
              <a:defRPr sz="2400">
                <a:solidFill>
                  <a:srgbClr val="2F2F2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457063" indent="0">
              <a:buNone/>
              <a:defRPr/>
            </a:lvl3pPr>
            <a:lvl4pPr marL="685594" indent="0">
              <a:buNone/>
              <a:defRPr/>
            </a:lvl4pPr>
            <a:lvl5pPr marL="914126" indent="0">
              <a:buNone/>
              <a:defRPr/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1EBE70E-6A93-4EB4-A189-6F9DE42CEE1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0" y="2827138"/>
            <a:ext cx="12192000" cy="4030862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0E9A2E28-037B-FA4D-ADDC-1AFA11D65CB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2827138"/>
            <a:ext cx="3788358" cy="446148"/>
          </a:xfrm>
          <a:gradFill flip="none" rotWithShape="1">
            <a:gsLst>
              <a:gs pos="0">
                <a:srgbClr val="000000"/>
              </a:gs>
              <a:gs pos="92000">
                <a:srgbClr val="000000"/>
              </a:gs>
              <a:gs pos="92000">
                <a:schemeClr val="accent1"/>
              </a:gs>
            </a:gsLst>
            <a:lin ang="16200000" scaled="1"/>
            <a:tileRect/>
          </a:gradFill>
        </p:spPr>
        <p:txBody>
          <a:bodyPr lIns="585216" tIns="91440" bIns="45720"/>
          <a:lstStyle>
            <a:lvl1pPr marL="0" indent="0">
              <a:buNone/>
              <a:defRPr sz="1999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nter title</a:t>
            </a:r>
          </a:p>
        </p:txBody>
      </p:sp>
      <p:sp>
        <p:nvSpPr>
          <p:cNvPr id="13" name="Text Placeholder 4" descr="This layout should only be used for developer code. The font used is a monospace font which is ideal for showing code.">
            <a:extLst>
              <a:ext uri="{FF2B5EF4-FFF2-40B4-BE49-F238E27FC236}">
                <a16:creationId xmlns:a16="http://schemas.microsoft.com/office/drawing/2014/main" id="{47501FD0-A948-CC48-8B11-3BD4F2AE4E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6389" y="3491219"/>
            <a:ext cx="11018520" cy="369332"/>
          </a:xfrm>
        </p:spPr>
        <p:txBody>
          <a:bodyPr/>
          <a:lstStyle>
            <a:lvl1pPr marL="0" indent="0">
              <a:buNone/>
              <a:tabLst/>
              <a:defRPr sz="240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49" indent="0">
              <a:buNone/>
              <a:defRPr sz="23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32" indent="0">
              <a:buNone/>
              <a:defRPr sz="19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319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682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or paste code</a:t>
            </a:r>
          </a:p>
        </p:txBody>
      </p:sp>
    </p:spTree>
    <p:extLst>
      <p:ext uri="{BB962C8B-B14F-4D97-AF65-F5344CB8AC3E}">
        <p14:creationId xmlns:p14="http://schemas.microsoft.com/office/powerpoint/2010/main" val="363278262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4" orient="horz" pos="1776">
          <p15:clr>
            <a:srgbClr val="5ACBF0"/>
          </p15:clr>
        </p15:guide>
        <p15:guide id="5" orient="horz" pos="2197">
          <p15:clr>
            <a:srgbClr val="5ACBF0"/>
          </p15:clr>
        </p15:guide>
        <p15:guide id="6" orient="horz" pos="773">
          <p15:clr>
            <a:srgbClr val="5ACBF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de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1EBE70E-6A93-4EB4-A189-6F9DE42CEE1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0" y="0"/>
            <a:ext cx="12192000" cy="4030862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1845FFD-6B9A-4013-932A-5E4D7E849D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224580"/>
            <a:ext cx="11018520" cy="492443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0E9A2E28-037B-FA4D-ADDC-1AFA11D65CB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3788358" cy="446148"/>
          </a:xfrm>
          <a:gradFill flip="none" rotWithShape="1">
            <a:gsLst>
              <a:gs pos="0">
                <a:srgbClr val="000000"/>
              </a:gs>
              <a:gs pos="92000">
                <a:srgbClr val="000000"/>
              </a:gs>
              <a:gs pos="92000">
                <a:schemeClr val="accent1"/>
              </a:gs>
            </a:gsLst>
            <a:lin ang="16200000" scaled="1"/>
            <a:tileRect/>
          </a:gradFill>
        </p:spPr>
        <p:txBody>
          <a:bodyPr lIns="585216" tIns="91440" bIns="45720"/>
          <a:lstStyle>
            <a:lvl1pPr marL="0" indent="0">
              <a:buNone/>
              <a:defRPr sz="1999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nter title</a:t>
            </a:r>
          </a:p>
        </p:txBody>
      </p:sp>
      <p:sp>
        <p:nvSpPr>
          <p:cNvPr id="13" name="Text Placeholder 4" descr="This layout should only be used for developer code. The font used is a monospace font which is ideal for showing code.">
            <a:extLst>
              <a:ext uri="{FF2B5EF4-FFF2-40B4-BE49-F238E27FC236}">
                <a16:creationId xmlns:a16="http://schemas.microsoft.com/office/drawing/2014/main" id="{47501FD0-A948-CC48-8B11-3BD4F2AE4E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6389" y="660508"/>
            <a:ext cx="11018520" cy="369332"/>
          </a:xfrm>
        </p:spPr>
        <p:txBody>
          <a:bodyPr/>
          <a:lstStyle>
            <a:lvl1pPr marL="0" indent="0">
              <a:buNone/>
              <a:tabLst/>
              <a:defRPr sz="240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49" indent="0">
              <a:buNone/>
              <a:defRPr sz="23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32" indent="0">
              <a:buNone/>
              <a:defRPr sz="19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319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682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or paste cod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7B17F8BB-3610-1A4F-9E76-B12E706A55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1152" y="4996505"/>
            <a:ext cx="11018520" cy="369332"/>
          </a:xfrm>
        </p:spPr>
        <p:txBody>
          <a:bodyPr wrap="square">
            <a:spAutoFit/>
          </a:bodyPr>
          <a:lstStyle>
            <a:lvl1pPr marL="0" indent="0">
              <a:spcBef>
                <a:spcPts val="60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  <a:lvl2pPr marL="228531" indent="0">
              <a:buNone/>
              <a:defRPr sz="2400">
                <a:solidFill>
                  <a:srgbClr val="2F2F2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457063" indent="0">
              <a:buNone/>
              <a:defRPr/>
            </a:lvl3pPr>
            <a:lvl4pPr marL="685594" indent="0">
              <a:buNone/>
              <a:defRPr/>
            </a:lvl4pPr>
            <a:lvl5pPr marL="914126" indent="0">
              <a:buNone/>
              <a:defRPr/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88110009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4" orient="horz" pos="2661">
          <p15:clr>
            <a:srgbClr val="5ACBF0"/>
          </p15:clr>
        </p15:guide>
        <p15:guide id="5" orient="horz" pos="3147">
          <p15:clr>
            <a:srgbClr val="5ACBF0"/>
          </p15:clr>
        </p15:guide>
        <p15:guide id="6" orient="horz" pos="419">
          <p15:clr>
            <a:srgbClr val="5ACBF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de Right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82BB27-7DA5-4478-8C18-C1FFEE20AA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457200"/>
            <a:ext cx="4040887" cy="492443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2BB818A5-4223-0847-B6E2-655C7DC7B6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8965" y="1338139"/>
            <a:ext cx="4040185" cy="369332"/>
          </a:xfr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2400" b="0" i="0" baseline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100000"/>
              </a:lnSpc>
              <a:spcBef>
                <a:spcPts val="60"/>
              </a:spcBef>
              <a:spcAft>
                <a:spcPts val="60"/>
              </a:spcAft>
              <a:buNone/>
              <a:defRPr sz="2400" b="0" i="0">
                <a:solidFill>
                  <a:srgbClr val="2F2F2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457063" indent="0">
              <a:buNone/>
              <a:defRPr/>
            </a:lvl3pPr>
            <a:lvl4pPr marL="685594" indent="0">
              <a:buNone/>
              <a:defRPr/>
            </a:lvl4pPr>
            <a:lvl5pPr marL="914126" indent="0">
              <a:buNone/>
              <a:defRPr/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316165A-5926-4F59-B348-996936FBB5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5205984" y="0"/>
            <a:ext cx="6986016" cy="6858000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0D599919-A8E3-4D2B-86CF-50C6704F17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11763" y="0"/>
            <a:ext cx="3788358" cy="492314"/>
          </a:xfrm>
          <a:gradFill flip="none" rotWithShape="1">
            <a:gsLst>
              <a:gs pos="0">
                <a:srgbClr val="000000"/>
              </a:gs>
              <a:gs pos="99000">
                <a:srgbClr val="000000"/>
              </a:gs>
              <a:gs pos="99000">
                <a:schemeClr val="accent1"/>
              </a:gs>
            </a:gsLst>
            <a:lin ang="10800000" scaled="1"/>
            <a:tileRect/>
          </a:gradFill>
        </p:spPr>
        <p:txBody>
          <a:bodyPr lIns="585216" tIns="91440" bIns="91440"/>
          <a:lstStyle>
            <a:lvl1pPr marL="0" indent="0">
              <a:buNone/>
              <a:defRPr sz="1999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nter title</a:t>
            </a:r>
          </a:p>
        </p:txBody>
      </p:sp>
      <p:sp>
        <p:nvSpPr>
          <p:cNvPr id="13" name="Text Placeholder 4" descr="This layout should only be used for developer code. The font used is a monospace font which is ideal for showing code.">
            <a:extLst>
              <a:ext uri="{FF2B5EF4-FFF2-40B4-BE49-F238E27FC236}">
                <a16:creationId xmlns:a16="http://schemas.microsoft.com/office/drawing/2014/main" id="{47501FD0-A948-CC48-8B11-3BD4F2AE4E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00725" y="709187"/>
            <a:ext cx="5801961" cy="369332"/>
          </a:xfrm>
        </p:spPr>
        <p:txBody>
          <a:bodyPr/>
          <a:lstStyle>
            <a:lvl1pPr marL="0" indent="0">
              <a:buNone/>
              <a:tabLst/>
              <a:defRPr sz="2400">
                <a:solidFill>
                  <a:srgbClr val="2F2F2F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49" indent="0">
              <a:buNone/>
              <a:defRPr sz="23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32" indent="0">
              <a:buNone/>
              <a:defRPr sz="19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319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682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or paste code</a:t>
            </a:r>
          </a:p>
        </p:txBody>
      </p:sp>
    </p:spTree>
    <p:extLst>
      <p:ext uri="{BB962C8B-B14F-4D97-AF65-F5344CB8AC3E}">
        <p14:creationId xmlns:p14="http://schemas.microsoft.com/office/powerpoint/2010/main" val="337216025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445">
          <p15:clr>
            <a:srgbClr val="5ACBF0"/>
          </p15:clr>
        </p15:guide>
        <p15:guide id="4" orient="horz" pos="843">
          <p15:clr>
            <a:srgbClr val="5ACBF0"/>
          </p15:clr>
        </p15:guide>
        <p15:guide id="7" pos="3283">
          <p15:clr>
            <a:srgbClr val="5ACBF0"/>
          </p15:clr>
        </p15:guide>
        <p15:guide id="8" pos="3654">
          <p15:clr>
            <a:srgbClr val="5ACBF0"/>
          </p15:clr>
        </p15:guide>
        <p15:guide id="9" pos="2916">
          <p15:clr>
            <a:srgbClr val="5ACBF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de Left s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2316165A-5926-4F59-B348-996936FBB5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-2" y="0"/>
            <a:ext cx="6986016" cy="6858000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BB14A7D-C409-4A7C-9D82-A2E5DBB8AB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575549" y="457200"/>
            <a:ext cx="4031233" cy="492443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0D599919-A8E3-4D2B-86CF-50C6704F17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-1" y="0"/>
            <a:ext cx="3788358" cy="492314"/>
          </a:xfrm>
          <a:gradFill flip="none" rotWithShape="1">
            <a:gsLst>
              <a:gs pos="0">
                <a:srgbClr val="000000"/>
              </a:gs>
              <a:gs pos="99000">
                <a:srgbClr val="000000"/>
              </a:gs>
              <a:gs pos="99000">
                <a:schemeClr val="accent1"/>
              </a:gs>
            </a:gsLst>
            <a:lin ang="10800000" scaled="1"/>
            <a:tileRect/>
          </a:gradFill>
        </p:spPr>
        <p:txBody>
          <a:bodyPr lIns="585216" tIns="91440" bIns="91440"/>
          <a:lstStyle>
            <a:lvl1pPr marL="0" indent="0">
              <a:buNone/>
              <a:defRPr sz="1999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nter title</a:t>
            </a:r>
          </a:p>
        </p:txBody>
      </p:sp>
      <p:sp>
        <p:nvSpPr>
          <p:cNvPr id="13" name="Text Placeholder 4" descr="This layout should only be used for developer code. The font used is a monospace font which is ideal for showing code.">
            <a:extLst>
              <a:ext uri="{FF2B5EF4-FFF2-40B4-BE49-F238E27FC236}">
                <a16:creationId xmlns:a16="http://schemas.microsoft.com/office/drawing/2014/main" id="{47501FD0-A948-CC48-8B11-3BD4F2AE4E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4199" y="706011"/>
            <a:ext cx="5819775" cy="369332"/>
          </a:xfrm>
        </p:spPr>
        <p:txBody>
          <a:bodyPr/>
          <a:lstStyle>
            <a:lvl1pPr marL="0" indent="0">
              <a:buNone/>
              <a:defRPr sz="2400">
                <a:solidFill>
                  <a:srgbClr val="2F2F2F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49" indent="0">
              <a:buNone/>
              <a:defRPr sz="23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32" indent="0">
              <a:buNone/>
              <a:defRPr sz="19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319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682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or paste cod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2BB818A5-4223-0847-B6E2-655C7DC7B6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575550" y="1336675"/>
            <a:ext cx="4033838" cy="369332"/>
          </a:xfr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2400" b="0" i="0" baseline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100000"/>
              </a:lnSpc>
              <a:spcBef>
                <a:spcPts val="60"/>
              </a:spcBef>
              <a:spcAft>
                <a:spcPts val="60"/>
              </a:spcAft>
              <a:buNone/>
              <a:defRPr sz="2400" b="0" i="0">
                <a:solidFill>
                  <a:srgbClr val="2F2F2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457063" indent="0">
              <a:buNone/>
              <a:defRPr/>
            </a:lvl3pPr>
            <a:lvl4pPr marL="685594" indent="0">
              <a:buNone/>
              <a:defRPr/>
            </a:lvl4pPr>
            <a:lvl5pPr marL="914126" indent="0">
              <a:buNone/>
              <a:defRPr/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51152551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436">
          <p15:clr>
            <a:srgbClr val="5ACBF0"/>
          </p15:clr>
        </p15:guide>
        <p15:guide id="4" orient="horz" pos="839">
          <p15:clr>
            <a:srgbClr val="5ACBF0"/>
          </p15:clr>
        </p15:guide>
        <p15:guide id="6" pos="4402">
          <p15:clr>
            <a:srgbClr val="5ACBF0"/>
          </p15:clr>
        </p15:guide>
        <p15:guide id="7" pos="4034">
          <p15:clr>
            <a:srgbClr val="5ACBF0"/>
          </p15:clr>
        </p15:guide>
        <p15:guide id="8" pos="4772">
          <p15:clr>
            <a:srgbClr val="5ACBF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 slide">
    <p:bg>
      <p:bgPr>
        <a:solidFill>
          <a:srgbClr val="2A446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group of colorful hexagons&#10;&#10;AI-generated content may be incorrect.">
            <a:extLst>
              <a:ext uri="{FF2B5EF4-FFF2-40B4-BE49-F238E27FC236}">
                <a16:creationId xmlns:a16="http://schemas.microsoft.com/office/drawing/2014/main" id="{8A919DF2-8E23-FA31-B6DE-AC81C61AA2F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2977823"/>
            <a:ext cx="6217920" cy="5539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0" kern="1200" cap="none" spc="-50" baseline="0" dirty="0">
                <a:ln w="3175">
                  <a:noFill/>
                </a:ln>
                <a:solidFill>
                  <a:srgbClr val="FAE4A2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6217920" cy="246221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spc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068891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2977823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0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9144000" cy="246221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spc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2521998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">
    <p:bg>
      <p:bgPr>
        <a:solidFill>
          <a:srgbClr val="2A446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blurry image of a light&#10;&#10;AI-generated content may be incorrect.">
            <a:extLst>
              <a:ext uri="{FF2B5EF4-FFF2-40B4-BE49-F238E27FC236}">
                <a16:creationId xmlns:a16="http://schemas.microsoft.com/office/drawing/2014/main" id="{1B0C208C-22E3-C652-34E5-E589C7AE100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2980408"/>
            <a:ext cx="6675120" cy="5539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0" kern="1200" cap="none" spc="-50" baseline="0" dirty="0">
                <a:ln w="3175">
                  <a:noFill/>
                </a:ln>
                <a:solidFill>
                  <a:srgbClr val="FAE4A2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42226904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2980408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0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913119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133837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61">
          <p15:clr>
            <a:srgbClr val="A4A3A4"/>
          </p15:clr>
        </p15:guide>
        <p15:guide id="15" pos="3348">
          <p15:clr>
            <a:srgbClr val="A4A3A4"/>
          </p15:clr>
        </p15:guide>
        <p15:guide id="16" pos="3754">
          <p15:clr>
            <a:srgbClr val="A4A3A4"/>
          </p15:clr>
        </p15:guide>
        <p15:guide id="17" pos="3931">
          <p15:clr>
            <a:srgbClr val="A4A3A4"/>
          </p15:clr>
        </p15:guide>
        <p15:guide id="18" pos="4342">
          <p15:clr>
            <a:srgbClr val="A4A3A4"/>
          </p15:clr>
        </p15:guide>
        <p15:guide id="19" pos="4531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alk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MS logo gray - EMF" descr="Microsoft logo, gray text version">
            <a:extLst>
              <a:ext uri="{FF2B5EF4-FFF2-40B4-BE49-F238E27FC236}">
                <a16:creationId xmlns:a16="http://schemas.microsoft.com/office/drawing/2014/main" id="{F37CD61D-D807-6B33-7D19-B0A417D0600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grpSp>
        <p:nvGrpSpPr>
          <p:cNvPr id="36" name="Graphic 2">
            <a:extLst>
              <a:ext uri="{FF2B5EF4-FFF2-40B4-BE49-F238E27FC236}">
                <a16:creationId xmlns:a16="http://schemas.microsoft.com/office/drawing/2014/main" id="{2CEDC8E3-F79A-A940-C6AC-B9837D04111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80571" y="2667276"/>
            <a:ext cx="3365939" cy="1508760"/>
            <a:chOff x="4778216" y="2874073"/>
            <a:chExt cx="2635376" cy="1181290"/>
          </a:xfrm>
          <a:gradFill>
            <a:gsLst>
              <a:gs pos="0">
                <a:srgbClr val="4A3474"/>
              </a:gs>
              <a:gs pos="34000">
                <a:srgbClr val="6C2773"/>
              </a:gs>
              <a:gs pos="69000">
                <a:srgbClr val="98309C"/>
              </a:gs>
            </a:gsLst>
            <a:lin ang="2700000" scaled="1"/>
          </a:gradFill>
        </p:grpSpPr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51526743-42F2-6769-B999-79E26E1B1B48}"/>
                </a:ext>
              </a:extLst>
            </p:cNvPr>
            <p:cNvSpPr/>
            <p:nvPr/>
          </p:nvSpPr>
          <p:spPr>
            <a:xfrm>
              <a:off x="4778216" y="2905696"/>
              <a:ext cx="467391" cy="432339"/>
            </a:xfrm>
            <a:custGeom>
              <a:avLst/>
              <a:gdLst>
                <a:gd name="connsiteX0" fmla="*/ 467392 w 467391"/>
                <a:gd name="connsiteY0" fmla="*/ 432340 h 432339"/>
                <a:gd name="connsiteX1" fmla="*/ 394145 w 467391"/>
                <a:gd name="connsiteY1" fmla="*/ 432340 h 432339"/>
                <a:gd name="connsiteX2" fmla="*/ 394145 w 467391"/>
                <a:gd name="connsiteY2" fmla="*/ 158020 h 432339"/>
                <a:gd name="connsiteX3" fmla="*/ 394621 w 467391"/>
                <a:gd name="connsiteY3" fmla="*/ 124968 h 432339"/>
                <a:gd name="connsiteX4" fmla="*/ 395383 w 467391"/>
                <a:gd name="connsiteY4" fmla="*/ 88964 h 432339"/>
                <a:gd name="connsiteX5" fmla="*/ 393573 w 467391"/>
                <a:gd name="connsiteY5" fmla="*/ 88964 h 432339"/>
                <a:gd name="connsiteX6" fmla="*/ 388430 w 467391"/>
                <a:gd name="connsiteY6" fmla="*/ 104775 h 432339"/>
                <a:gd name="connsiteX7" fmla="*/ 383000 w 467391"/>
                <a:gd name="connsiteY7" fmla="*/ 119062 h 432339"/>
                <a:gd name="connsiteX8" fmla="*/ 258509 w 467391"/>
                <a:gd name="connsiteY8" fmla="*/ 432340 h 432339"/>
                <a:gd name="connsiteX9" fmla="*/ 206312 w 467391"/>
                <a:gd name="connsiteY9" fmla="*/ 432340 h 432339"/>
                <a:gd name="connsiteX10" fmla="*/ 80867 w 467391"/>
                <a:gd name="connsiteY10" fmla="*/ 121825 h 432339"/>
                <a:gd name="connsiteX11" fmla="*/ 75914 w 467391"/>
                <a:gd name="connsiteY11" fmla="*/ 107823 h 432339"/>
                <a:gd name="connsiteX12" fmla="*/ 69437 w 467391"/>
                <a:gd name="connsiteY12" fmla="*/ 88964 h 432339"/>
                <a:gd name="connsiteX13" fmla="*/ 67628 w 467391"/>
                <a:gd name="connsiteY13" fmla="*/ 88964 h 432339"/>
                <a:gd name="connsiteX14" fmla="*/ 68485 w 467391"/>
                <a:gd name="connsiteY14" fmla="*/ 126778 h 432339"/>
                <a:gd name="connsiteX15" fmla="*/ 68771 w 467391"/>
                <a:gd name="connsiteY15" fmla="*/ 167926 h 432339"/>
                <a:gd name="connsiteX16" fmla="*/ 68771 w 467391"/>
                <a:gd name="connsiteY16" fmla="*/ 432340 h 432339"/>
                <a:gd name="connsiteX17" fmla="*/ 0 w 467391"/>
                <a:gd name="connsiteY17" fmla="*/ 432340 h 432339"/>
                <a:gd name="connsiteX18" fmla="*/ 0 w 467391"/>
                <a:gd name="connsiteY18" fmla="*/ 0 h 432339"/>
                <a:gd name="connsiteX19" fmla="*/ 105251 w 467391"/>
                <a:gd name="connsiteY19" fmla="*/ 0 h 432339"/>
                <a:gd name="connsiteX20" fmla="*/ 215932 w 467391"/>
                <a:gd name="connsiteY20" fmla="*/ 278892 h 432339"/>
                <a:gd name="connsiteX21" fmla="*/ 226028 w 467391"/>
                <a:gd name="connsiteY21" fmla="*/ 304991 h 432339"/>
                <a:gd name="connsiteX22" fmla="*/ 233458 w 467391"/>
                <a:gd name="connsiteY22" fmla="*/ 328612 h 432339"/>
                <a:gd name="connsiteX23" fmla="*/ 235267 w 467391"/>
                <a:gd name="connsiteY23" fmla="*/ 328612 h 432339"/>
                <a:gd name="connsiteX24" fmla="*/ 245078 w 467391"/>
                <a:gd name="connsiteY24" fmla="*/ 302419 h 432339"/>
                <a:gd name="connsiteX25" fmla="*/ 254317 w 467391"/>
                <a:gd name="connsiteY25" fmla="*/ 278035 h 432339"/>
                <a:gd name="connsiteX26" fmla="*/ 366427 w 467391"/>
                <a:gd name="connsiteY26" fmla="*/ 95 h 432339"/>
                <a:gd name="connsiteX27" fmla="*/ 467392 w 467391"/>
                <a:gd name="connsiteY27" fmla="*/ 95 h 432339"/>
                <a:gd name="connsiteX28" fmla="*/ 467392 w 467391"/>
                <a:gd name="connsiteY28" fmla="*/ 432340 h 432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467391" h="432339">
                  <a:moveTo>
                    <a:pt x="467392" y="432340"/>
                  </a:moveTo>
                  <a:lnTo>
                    <a:pt x="394145" y="432340"/>
                  </a:lnTo>
                  <a:lnTo>
                    <a:pt x="394145" y="158020"/>
                  </a:lnTo>
                  <a:cubicBezTo>
                    <a:pt x="394145" y="146590"/>
                    <a:pt x="394335" y="135541"/>
                    <a:pt x="394621" y="124968"/>
                  </a:cubicBezTo>
                  <a:cubicBezTo>
                    <a:pt x="394907" y="114395"/>
                    <a:pt x="395192" y="102394"/>
                    <a:pt x="395383" y="88964"/>
                  </a:cubicBezTo>
                  <a:lnTo>
                    <a:pt x="393573" y="88964"/>
                  </a:lnTo>
                  <a:cubicBezTo>
                    <a:pt x="391763" y="94964"/>
                    <a:pt x="390049" y="100298"/>
                    <a:pt x="388430" y="104775"/>
                  </a:cubicBezTo>
                  <a:cubicBezTo>
                    <a:pt x="386810" y="109252"/>
                    <a:pt x="385001" y="114109"/>
                    <a:pt x="383000" y="119062"/>
                  </a:cubicBezTo>
                  <a:lnTo>
                    <a:pt x="258509" y="432340"/>
                  </a:lnTo>
                  <a:lnTo>
                    <a:pt x="206312" y="432340"/>
                  </a:lnTo>
                  <a:lnTo>
                    <a:pt x="80867" y="121825"/>
                  </a:lnTo>
                  <a:cubicBezTo>
                    <a:pt x="79248" y="117157"/>
                    <a:pt x="77629" y="112490"/>
                    <a:pt x="75914" y="107823"/>
                  </a:cubicBezTo>
                  <a:cubicBezTo>
                    <a:pt x="74200" y="103061"/>
                    <a:pt x="72009" y="96774"/>
                    <a:pt x="69437" y="88964"/>
                  </a:cubicBezTo>
                  <a:lnTo>
                    <a:pt x="67628" y="88964"/>
                  </a:lnTo>
                  <a:cubicBezTo>
                    <a:pt x="68009" y="101441"/>
                    <a:pt x="68294" y="114014"/>
                    <a:pt x="68485" y="126778"/>
                  </a:cubicBezTo>
                  <a:cubicBezTo>
                    <a:pt x="68675" y="139541"/>
                    <a:pt x="68771" y="153257"/>
                    <a:pt x="68771" y="167926"/>
                  </a:cubicBezTo>
                  <a:lnTo>
                    <a:pt x="68771" y="432340"/>
                  </a:lnTo>
                  <a:lnTo>
                    <a:pt x="0" y="432340"/>
                  </a:lnTo>
                  <a:lnTo>
                    <a:pt x="0" y="0"/>
                  </a:lnTo>
                  <a:lnTo>
                    <a:pt x="105251" y="0"/>
                  </a:lnTo>
                  <a:lnTo>
                    <a:pt x="215932" y="278892"/>
                  </a:lnTo>
                  <a:cubicBezTo>
                    <a:pt x="220123" y="289179"/>
                    <a:pt x="223552" y="297847"/>
                    <a:pt x="226028" y="304991"/>
                  </a:cubicBezTo>
                  <a:cubicBezTo>
                    <a:pt x="228505" y="312134"/>
                    <a:pt x="230981" y="320040"/>
                    <a:pt x="233458" y="328612"/>
                  </a:cubicBezTo>
                  <a:lnTo>
                    <a:pt x="235267" y="328612"/>
                  </a:lnTo>
                  <a:cubicBezTo>
                    <a:pt x="238887" y="318992"/>
                    <a:pt x="242126" y="310229"/>
                    <a:pt x="245078" y="302419"/>
                  </a:cubicBezTo>
                  <a:cubicBezTo>
                    <a:pt x="248031" y="294608"/>
                    <a:pt x="251079" y="286417"/>
                    <a:pt x="254317" y="278035"/>
                  </a:cubicBezTo>
                  <a:lnTo>
                    <a:pt x="366427" y="95"/>
                  </a:lnTo>
                  <a:lnTo>
                    <a:pt x="467392" y="95"/>
                  </a:lnTo>
                  <a:lnTo>
                    <a:pt x="467392" y="43234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B780BBB3-359A-1126-4C18-B2A2A6BB56AC}"/>
                </a:ext>
              </a:extLst>
            </p:cNvPr>
            <p:cNvSpPr/>
            <p:nvPr/>
          </p:nvSpPr>
          <p:spPr>
            <a:xfrm>
              <a:off x="5311139" y="2885503"/>
              <a:ext cx="89344" cy="452532"/>
            </a:xfrm>
            <a:custGeom>
              <a:avLst/>
              <a:gdLst>
                <a:gd name="connsiteX0" fmla="*/ 44387 w 89344"/>
                <a:gd name="connsiteY0" fmla="*/ 86297 h 452532"/>
                <a:gd name="connsiteX1" fmla="*/ 12383 w 89344"/>
                <a:gd name="connsiteY1" fmla="*/ 73438 h 452532"/>
                <a:gd name="connsiteX2" fmla="*/ 0 w 89344"/>
                <a:gd name="connsiteY2" fmla="*/ 42863 h 452532"/>
                <a:gd name="connsiteX3" fmla="*/ 12383 w 89344"/>
                <a:gd name="connsiteY3" fmla="*/ 12383 h 452532"/>
                <a:gd name="connsiteX4" fmla="*/ 44387 w 89344"/>
                <a:gd name="connsiteY4" fmla="*/ 0 h 452532"/>
                <a:gd name="connsiteX5" fmla="*/ 76962 w 89344"/>
                <a:gd name="connsiteY5" fmla="*/ 12383 h 452532"/>
                <a:gd name="connsiteX6" fmla="*/ 89345 w 89344"/>
                <a:gd name="connsiteY6" fmla="*/ 43148 h 452532"/>
                <a:gd name="connsiteX7" fmla="*/ 76962 w 89344"/>
                <a:gd name="connsiteY7" fmla="*/ 73914 h 452532"/>
                <a:gd name="connsiteX8" fmla="*/ 44387 w 89344"/>
                <a:gd name="connsiteY8" fmla="*/ 86297 h 452532"/>
                <a:gd name="connsiteX9" fmla="*/ 80296 w 89344"/>
                <a:gd name="connsiteY9" fmla="*/ 452533 h 452532"/>
                <a:gd name="connsiteX10" fmla="*/ 8287 w 89344"/>
                <a:gd name="connsiteY10" fmla="*/ 452533 h 452532"/>
                <a:gd name="connsiteX11" fmla="*/ 8287 w 89344"/>
                <a:gd name="connsiteY11" fmla="*/ 143828 h 452532"/>
                <a:gd name="connsiteX12" fmla="*/ 80296 w 89344"/>
                <a:gd name="connsiteY12" fmla="*/ 143828 h 452532"/>
                <a:gd name="connsiteX13" fmla="*/ 80296 w 89344"/>
                <a:gd name="connsiteY13" fmla="*/ 452533 h 4525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9344" h="452532">
                  <a:moveTo>
                    <a:pt x="44387" y="86297"/>
                  </a:moveTo>
                  <a:cubicBezTo>
                    <a:pt x="31337" y="86297"/>
                    <a:pt x="20669" y="82010"/>
                    <a:pt x="12383" y="73438"/>
                  </a:cubicBezTo>
                  <a:cubicBezTo>
                    <a:pt x="4096" y="64865"/>
                    <a:pt x="0" y="54674"/>
                    <a:pt x="0" y="42863"/>
                  </a:cubicBezTo>
                  <a:cubicBezTo>
                    <a:pt x="0" y="30766"/>
                    <a:pt x="4096" y="20669"/>
                    <a:pt x="12383" y="12383"/>
                  </a:cubicBezTo>
                  <a:cubicBezTo>
                    <a:pt x="20574" y="4191"/>
                    <a:pt x="31242" y="0"/>
                    <a:pt x="44387" y="0"/>
                  </a:cubicBezTo>
                  <a:cubicBezTo>
                    <a:pt x="57817" y="0"/>
                    <a:pt x="68675" y="4096"/>
                    <a:pt x="76962" y="12383"/>
                  </a:cubicBezTo>
                  <a:cubicBezTo>
                    <a:pt x="85154" y="20669"/>
                    <a:pt x="89345" y="30861"/>
                    <a:pt x="89345" y="43148"/>
                  </a:cubicBezTo>
                  <a:cubicBezTo>
                    <a:pt x="89345" y="55435"/>
                    <a:pt x="85249" y="65627"/>
                    <a:pt x="76962" y="73914"/>
                  </a:cubicBezTo>
                  <a:cubicBezTo>
                    <a:pt x="68771" y="82106"/>
                    <a:pt x="57912" y="86297"/>
                    <a:pt x="44387" y="86297"/>
                  </a:cubicBezTo>
                  <a:close/>
                  <a:moveTo>
                    <a:pt x="80296" y="452533"/>
                  </a:moveTo>
                  <a:lnTo>
                    <a:pt x="8287" y="452533"/>
                  </a:lnTo>
                  <a:lnTo>
                    <a:pt x="8287" y="143828"/>
                  </a:lnTo>
                  <a:lnTo>
                    <a:pt x="80296" y="143828"/>
                  </a:lnTo>
                  <a:lnTo>
                    <a:pt x="80296" y="4525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147CA590-5A0E-D5C8-B711-460D83E9D195}"/>
                </a:ext>
              </a:extLst>
            </p:cNvPr>
            <p:cNvSpPr/>
            <p:nvPr/>
          </p:nvSpPr>
          <p:spPr>
            <a:xfrm>
              <a:off x="5449728" y="3022187"/>
              <a:ext cx="284035" cy="323087"/>
            </a:xfrm>
            <a:custGeom>
              <a:avLst/>
              <a:gdLst>
                <a:gd name="connsiteX0" fmla="*/ 284036 w 284035"/>
                <a:gd name="connsiteY0" fmla="*/ 257080 h 323087"/>
                <a:gd name="connsiteX1" fmla="*/ 230791 w 284035"/>
                <a:gd name="connsiteY1" fmla="*/ 306800 h 323087"/>
                <a:gd name="connsiteX2" fmla="*/ 158020 w 284035"/>
                <a:gd name="connsiteY2" fmla="*/ 323088 h 323087"/>
                <a:gd name="connsiteX3" fmla="*/ 41910 w 284035"/>
                <a:gd name="connsiteY3" fmla="*/ 280321 h 323087"/>
                <a:gd name="connsiteX4" fmla="*/ 0 w 284035"/>
                <a:gd name="connsiteY4" fmla="*/ 166973 h 323087"/>
                <a:gd name="connsiteX5" fmla="*/ 44577 w 284035"/>
                <a:gd name="connsiteY5" fmla="*/ 44767 h 323087"/>
                <a:gd name="connsiteX6" fmla="*/ 160306 w 284035"/>
                <a:gd name="connsiteY6" fmla="*/ 0 h 323087"/>
                <a:gd name="connsiteX7" fmla="*/ 233458 w 284035"/>
                <a:gd name="connsiteY7" fmla="*/ 17335 h 323087"/>
                <a:gd name="connsiteX8" fmla="*/ 282130 w 284035"/>
                <a:gd name="connsiteY8" fmla="*/ 68390 h 323087"/>
                <a:gd name="connsiteX9" fmla="*/ 225457 w 284035"/>
                <a:gd name="connsiteY9" fmla="*/ 96393 h 323087"/>
                <a:gd name="connsiteX10" fmla="*/ 195263 w 284035"/>
                <a:gd name="connsiteY10" fmla="*/ 66865 h 323087"/>
                <a:gd name="connsiteX11" fmla="*/ 157925 w 284035"/>
                <a:gd name="connsiteY11" fmla="*/ 58102 h 323087"/>
                <a:gd name="connsiteX12" fmla="*/ 97346 w 284035"/>
                <a:gd name="connsiteY12" fmla="*/ 85534 h 323087"/>
                <a:gd name="connsiteX13" fmla="*/ 73533 w 284035"/>
                <a:gd name="connsiteY13" fmla="*/ 162115 h 323087"/>
                <a:gd name="connsiteX14" fmla="*/ 97060 w 284035"/>
                <a:gd name="connsiteY14" fmla="*/ 236887 h 323087"/>
                <a:gd name="connsiteX15" fmla="*/ 159734 w 284035"/>
                <a:gd name="connsiteY15" fmla="*/ 263081 h 323087"/>
                <a:gd name="connsiteX16" fmla="*/ 197453 w 284035"/>
                <a:gd name="connsiteY16" fmla="*/ 254508 h 323087"/>
                <a:gd name="connsiteX17" fmla="*/ 228219 w 284035"/>
                <a:gd name="connsiteY17" fmla="*/ 225742 h 323087"/>
                <a:gd name="connsiteX18" fmla="*/ 284036 w 284035"/>
                <a:gd name="connsiteY18" fmla="*/ 257080 h 323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4035" h="323087">
                  <a:moveTo>
                    <a:pt x="284036" y="257080"/>
                  </a:moveTo>
                  <a:cubicBezTo>
                    <a:pt x="270319" y="279368"/>
                    <a:pt x="252603" y="295942"/>
                    <a:pt x="230791" y="306800"/>
                  </a:cubicBezTo>
                  <a:cubicBezTo>
                    <a:pt x="208978" y="317659"/>
                    <a:pt x="184690" y="323088"/>
                    <a:pt x="158020" y="323088"/>
                  </a:cubicBezTo>
                  <a:cubicBezTo>
                    <a:pt x="108585" y="323088"/>
                    <a:pt x="69913" y="308800"/>
                    <a:pt x="41910" y="280321"/>
                  </a:cubicBezTo>
                  <a:cubicBezTo>
                    <a:pt x="14002" y="251746"/>
                    <a:pt x="0" y="214027"/>
                    <a:pt x="0" y="166973"/>
                  </a:cubicBezTo>
                  <a:cubicBezTo>
                    <a:pt x="0" y="115348"/>
                    <a:pt x="14859" y="74581"/>
                    <a:pt x="44577" y="44767"/>
                  </a:cubicBezTo>
                  <a:cubicBezTo>
                    <a:pt x="74295" y="14954"/>
                    <a:pt x="112871" y="0"/>
                    <a:pt x="160306" y="0"/>
                  </a:cubicBezTo>
                  <a:cubicBezTo>
                    <a:pt x="187452" y="0"/>
                    <a:pt x="211836" y="5810"/>
                    <a:pt x="233458" y="17335"/>
                  </a:cubicBezTo>
                  <a:cubicBezTo>
                    <a:pt x="255079" y="28861"/>
                    <a:pt x="271272" y="45910"/>
                    <a:pt x="282130" y="68390"/>
                  </a:cubicBezTo>
                  <a:lnTo>
                    <a:pt x="225457" y="96393"/>
                  </a:lnTo>
                  <a:cubicBezTo>
                    <a:pt x="216217" y="82486"/>
                    <a:pt x="206121" y="72676"/>
                    <a:pt x="195263" y="66865"/>
                  </a:cubicBezTo>
                  <a:cubicBezTo>
                    <a:pt x="184404" y="61055"/>
                    <a:pt x="171926" y="58102"/>
                    <a:pt x="157925" y="58102"/>
                  </a:cubicBezTo>
                  <a:cubicBezTo>
                    <a:pt x="133445" y="58102"/>
                    <a:pt x="113157" y="67246"/>
                    <a:pt x="97346" y="85534"/>
                  </a:cubicBezTo>
                  <a:cubicBezTo>
                    <a:pt x="81439" y="103823"/>
                    <a:pt x="73533" y="129350"/>
                    <a:pt x="73533" y="162115"/>
                  </a:cubicBezTo>
                  <a:cubicBezTo>
                    <a:pt x="73533" y="194500"/>
                    <a:pt x="81344" y="219361"/>
                    <a:pt x="97060" y="236887"/>
                  </a:cubicBezTo>
                  <a:cubicBezTo>
                    <a:pt x="112776" y="254413"/>
                    <a:pt x="133636" y="263081"/>
                    <a:pt x="159734" y="263081"/>
                  </a:cubicBezTo>
                  <a:cubicBezTo>
                    <a:pt x="173355" y="263081"/>
                    <a:pt x="185928" y="260223"/>
                    <a:pt x="197453" y="254508"/>
                  </a:cubicBezTo>
                  <a:cubicBezTo>
                    <a:pt x="208978" y="248793"/>
                    <a:pt x="219170" y="239173"/>
                    <a:pt x="228219" y="225742"/>
                  </a:cubicBezTo>
                  <a:lnTo>
                    <a:pt x="284036" y="25708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D9EDAEF5-5935-F796-91B1-BCE0D3A62ED5}"/>
                </a:ext>
              </a:extLst>
            </p:cNvPr>
            <p:cNvSpPr/>
            <p:nvPr/>
          </p:nvSpPr>
          <p:spPr>
            <a:xfrm>
              <a:off x="5790057" y="3023997"/>
              <a:ext cx="197262" cy="314134"/>
            </a:xfrm>
            <a:custGeom>
              <a:avLst/>
              <a:gdLst>
                <a:gd name="connsiteX0" fmla="*/ 177832 w 197262"/>
                <a:gd name="connsiteY0" fmla="*/ 70199 h 314134"/>
                <a:gd name="connsiteX1" fmla="*/ 160210 w 197262"/>
                <a:gd name="connsiteY1" fmla="*/ 64960 h 314134"/>
                <a:gd name="connsiteX2" fmla="*/ 141351 w 197262"/>
                <a:gd name="connsiteY2" fmla="*/ 62960 h 314134"/>
                <a:gd name="connsiteX3" fmla="*/ 91154 w 197262"/>
                <a:gd name="connsiteY3" fmla="*/ 90106 h 314134"/>
                <a:gd name="connsiteX4" fmla="*/ 72009 w 197262"/>
                <a:gd name="connsiteY4" fmla="*/ 161544 h 314134"/>
                <a:gd name="connsiteX5" fmla="*/ 72009 w 197262"/>
                <a:gd name="connsiteY5" fmla="*/ 314134 h 314134"/>
                <a:gd name="connsiteX6" fmla="*/ 0 w 197262"/>
                <a:gd name="connsiteY6" fmla="*/ 314134 h 314134"/>
                <a:gd name="connsiteX7" fmla="*/ 0 w 197262"/>
                <a:gd name="connsiteY7" fmla="*/ 5334 h 314134"/>
                <a:gd name="connsiteX8" fmla="*/ 72009 w 197262"/>
                <a:gd name="connsiteY8" fmla="*/ 5334 h 314134"/>
                <a:gd name="connsiteX9" fmla="*/ 72009 w 197262"/>
                <a:gd name="connsiteY9" fmla="*/ 61150 h 314134"/>
                <a:gd name="connsiteX10" fmla="*/ 73247 w 197262"/>
                <a:gd name="connsiteY10" fmla="*/ 61150 h 314134"/>
                <a:gd name="connsiteX11" fmla="*/ 105251 w 197262"/>
                <a:gd name="connsiteY11" fmla="*/ 15811 h 314134"/>
                <a:gd name="connsiteX12" fmla="*/ 154114 w 197262"/>
                <a:gd name="connsiteY12" fmla="*/ 0 h 314134"/>
                <a:gd name="connsiteX13" fmla="*/ 175831 w 197262"/>
                <a:gd name="connsiteY13" fmla="*/ 1810 h 314134"/>
                <a:gd name="connsiteX14" fmla="*/ 197263 w 197262"/>
                <a:gd name="connsiteY14" fmla="*/ 8763 h 314134"/>
                <a:gd name="connsiteX15" fmla="*/ 177832 w 197262"/>
                <a:gd name="connsiteY15" fmla="*/ 70199 h 314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97262" h="314134">
                  <a:moveTo>
                    <a:pt x="177832" y="70199"/>
                  </a:moveTo>
                  <a:cubicBezTo>
                    <a:pt x="172021" y="68008"/>
                    <a:pt x="166116" y="66199"/>
                    <a:pt x="160210" y="64960"/>
                  </a:cubicBezTo>
                  <a:cubicBezTo>
                    <a:pt x="154305" y="63627"/>
                    <a:pt x="148018" y="62960"/>
                    <a:pt x="141351" y="62960"/>
                  </a:cubicBezTo>
                  <a:cubicBezTo>
                    <a:pt x="120682" y="62960"/>
                    <a:pt x="103918" y="72009"/>
                    <a:pt x="91154" y="90106"/>
                  </a:cubicBezTo>
                  <a:cubicBezTo>
                    <a:pt x="78391" y="108204"/>
                    <a:pt x="72009" y="132016"/>
                    <a:pt x="72009" y="161544"/>
                  </a:cubicBezTo>
                  <a:lnTo>
                    <a:pt x="72009" y="314134"/>
                  </a:lnTo>
                  <a:lnTo>
                    <a:pt x="0" y="314134"/>
                  </a:lnTo>
                  <a:lnTo>
                    <a:pt x="0" y="5334"/>
                  </a:lnTo>
                  <a:lnTo>
                    <a:pt x="72009" y="5334"/>
                  </a:lnTo>
                  <a:lnTo>
                    <a:pt x="72009" y="61150"/>
                  </a:lnTo>
                  <a:lnTo>
                    <a:pt x="73247" y="61150"/>
                  </a:lnTo>
                  <a:cubicBezTo>
                    <a:pt x="80486" y="41434"/>
                    <a:pt x="91154" y="26289"/>
                    <a:pt x="105251" y="15811"/>
                  </a:cubicBezTo>
                  <a:cubicBezTo>
                    <a:pt x="119348" y="5239"/>
                    <a:pt x="135636" y="0"/>
                    <a:pt x="154114" y="0"/>
                  </a:cubicBezTo>
                  <a:cubicBezTo>
                    <a:pt x="161925" y="0"/>
                    <a:pt x="169164" y="571"/>
                    <a:pt x="175831" y="1810"/>
                  </a:cubicBezTo>
                  <a:cubicBezTo>
                    <a:pt x="182499" y="3048"/>
                    <a:pt x="189547" y="5334"/>
                    <a:pt x="197263" y="8763"/>
                  </a:cubicBezTo>
                  <a:lnTo>
                    <a:pt x="177832" y="7019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75DBCEB0-35A7-C16F-D1AE-2909AEA7BBF3}"/>
                </a:ext>
              </a:extLst>
            </p:cNvPr>
            <p:cNvSpPr/>
            <p:nvPr/>
          </p:nvSpPr>
          <p:spPr>
            <a:xfrm>
              <a:off x="6004274" y="3021996"/>
              <a:ext cx="322611" cy="323278"/>
            </a:xfrm>
            <a:custGeom>
              <a:avLst/>
              <a:gdLst>
                <a:gd name="connsiteX0" fmla="*/ 160020 w 322611"/>
                <a:gd name="connsiteY0" fmla="*/ 323279 h 323278"/>
                <a:gd name="connsiteX1" fmla="*/ 43244 w 322611"/>
                <a:gd name="connsiteY1" fmla="*/ 280130 h 323278"/>
                <a:gd name="connsiteX2" fmla="*/ 0 w 322611"/>
                <a:gd name="connsiteY2" fmla="*/ 164021 h 323278"/>
                <a:gd name="connsiteX3" fmla="*/ 45815 w 322611"/>
                <a:gd name="connsiteY3" fmla="*/ 45053 h 323278"/>
                <a:gd name="connsiteX4" fmla="*/ 164306 w 322611"/>
                <a:gd name="connsiteY4" fmla="*/ 0 h 323278"/>
                <a:gd name="connsiteX5" fmla="*/ 280225 w 322611"/>
                <a:gd name="connsiteY5" fmla="*/ 44291 h 323278"/>
                <a:gd name="connsiteX6" fmla="*/ 322612 w 322611"/>
                <a:gd name="connsiteY6" fmla="*/ 158877 h 323278"/>
                <a:gd name="connsiteX7" fmla="*/ 278035 w 322611"/>
                <a:gd name="connsiteY7" fmla="*/ 276892 h 323278"/>
                <a:gd name="connsiteX8" fmla="*/ 160020 w 322611"/>
                <a:gd name="connsiteY8" fmla="*/ 323279 h 323278"/>
                <a:gd name="connsiteX9" fmla="*/ 162687 w 322611"/>
                <a:gd name="connsiteY9" fmla="*/ 265081 h 323278"/>
                <a:gd name="connsiteX10" fmla="*/ 226124 w 322611"/>
                <a:gd name="connsiteY10" fmla="*/ 236696 h 323278"/>
                <a:gd name="connsiteX11" fmla="*/ 248603 w 322611"/>
                <a:gd name="connsiteY11" fmla="*/ 160687 h 323278"/>
                <a:gd name="connsiteX12" fmla="*/ 226028 w 322611"/>
                <a:gd name="connsiteY12" fmla="*/ 86487 h 323278"/>
                <a:gd name="connsiteX13" fmla="*/ 162401 w 322611"/>
                <a:gd name="connsiteY13" fmla="*/ 58484 h 323278"/>
                <a:gd name="connsiteX14" fmla="*/ 97727 w 322611"/>
                <a:gd name="connsiteY14" fmla="*/ 87440 h 323278"/>
                <a:gd name="connsiteX15" fmla="*/ 73438 w 322611"/>
                <a:gd name="connsiteY15" fmla="*/ 162497 h 323278"/>
                <a:gd name="connsiteX16" fmla="*/ 97441 w 322611"/>
                <a:gd name="connsiteY16" fmla="*/ 237554 h 323278"/>
                <a:gd name="connsiteX17" fmla="*/ 162687 w 322611"/>
                <a:gd name="connsiteY17" fmla="*/ 265081 h 3232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22611" h="323278">
                  <a:moveTo>
                    <a:pt x="160020" y="323279"/>
                  </a:moveTo>
                  <a:cubicBezTo>
                    <a:pt x="110966" y="323279"/>
                    <a:pt x="72009" y="308896"/>
                    <a:pt x="43244" y="280130"/>
                  </a:cubicBezTo>
                  <a:cubicBezTo>
                    <a:pt x="14383" y="251365"/>
                    <a:pt x="0" y="212693"/>
                    <a:pt x="0" y="164021"/>
                  </a:cubicBezTo>
                  <a:cubicBezTo>
                    <a:pt x="191" y="114776"/>
                    <a:pt x="15526" y="75152"/>
                    <a:pt x="45815" y="45053"/>
                  </a:cubicBezTo>
                  <a:cubicBezTo>
                    <a:pt x="76200" y="15050"/>
                    <a:pt x="115633" y="0"/>
                    <a:pt x="164306" y="0"/>
                  </a:cubicBezTo>
                  <a:cubicBezTo>
                    <a:pt x="213360" y="0"/>
                    <a:pt x="252032" y="14764"/>
                    <a:pt x="280225" y="44291"/>
                  </a:cubicBezTo>
                  <a:cubicBezTo>
                    <a:pt x="308420" y="73819"/>
                    <a:pt x="322612" y="112014"/>
                    <a:pt x="322612" y="158877"/>
                  </a:cubicBezTo>
                  <a:cubicBezTo>
                    <a:pt x="322612" y="206693"/>
                    <a:pt x="307753" y="246031"/>
                    <a:pt x="278035" y="276892"/>
                  </a:cubicBezTo>
                  <a:cubicBezTo>
                    <a:pt x="248126" y="307848"/>
                    <a:pt x="208883" y="323279"/>
                    <a:pt x="160020" y="323279"/>
                  </a:cubicBezTo>
                  <a:close/>
                  <a:moveTo>
                    <a:pt x="162687" y="265081"/>
                  </a:moveTo>
                  <a:cubicBezTo>
                    <a:pt x="190024" y="265081"/>
                    <a:pt x="211169" y="255651"/>
                    <a:pt x="226124" y="236696"/>
                  </a:cubicBezTo>
                  <a:cubicBezTo>
                    <a:pt x="241078" y="217837"/>
                    <a:pt x="248603" y="192500"/>
                    <a:pt x="248603" y="160687"/>
                  </a:cubicBezTo>
                  <a:cubicBezTo>
                    <a:pt x="248603" y="129921"/>
                    <a:pt x="241078" y="105251"/>
                    <a:pt x="226028" y="86487"/>
                  </a:cubicBezTo>
                  <a:cubicBezTo>
                    <a:pt x="210979" y="67818"/>
                    <a:pt x="189738" y="58484"/>
                    <a:pt x="162401" y="58484"/>
                  </a:cubicBezTo>
                  <a:cubicBezTo>
                    <a:pt x="135446" y="58484"/>
                    <a:pt x="113919" y="68104"/>
                    <a:pt x="97727" y="87440"/>
                  </a:cubicBezTo>
                  <a:cubicBezTo>
                    <a:pt x="81534" y="106775"/>
                    <a:pt x="73438" y="131731"/>
                    <a:pt x="73438" y="162497"/>
                  </a:cubicBezTo>
                  <a:cubicBezTo>
                    <a:pt x="73438" y="194215"/>
                    <a:pt x="81439" y="219266"/>
                    <a:pt x="97441" y="237554"/>
                  </a:cubicBezTo>
                  <a:cubicBezTo>
                    <a:pt x="113443" y="255937"/>
                    <a:pt x="135160" y="265081"/>
                    <a:pt x="162687" y="26508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7F5C7D3C-C100-EECA-1057-4E527B0C894E}"/>
                </a:ext>
              </a:extLst>
            </p:cNvPr>
            <p:cNvSpPr/>
            <p:nvPr/>
          </p:nvSpPr>
          <p:spPr>
            <a:xfrm>
              <a:off x="6365557" y="3022187"/>
              <a:ext cx="237934" cy="323087"/>
            </a:xfrm>
            <a:custGeom>
              <a:avLst/>
              <a:gdLst>
                <a:gd name="connsiteX0" fmla="*/ 0 w 237934"/>
                <a:gd name="connsiteY0" fmla="*/ 266414 h 323087"/>
                <a:gd name="connsiteX1" fmla="*/ 43434 w 237934"/>
                <a:gd name="connsiteY1" fmla="*/ 227552 h 323087"/>
                <a:gd name="connsiteX2" fmla="*/ 79438 w 237934"/>
                <a:gd name="connsiteY2" fmla="*/ 259366 h 323087"/>
                <a:gd name="connsiteX3" fmla="*/ 119729 w 237934"/>
                <a:gd name="connsiteY3" fmla="*/ 268891 h 323087"/>
                <a:gd name="connsiteX4" fmla="*/ 156781 w 237934"/>
                <a:gd name="connsiteY4" fmla="*/ 258794 h 323087"/>
                <a:gd name="connsiteX5" fmla="*/ 170021 w 237934"/>
                <a:gd name="connsiteY5" fmla="*/ 230315 h 323087"/>
                <a:gd name="connsiteX6" fmla="*/ 157543 w 237934"/>
                <a:gd name="connsiteY6" fmla="*/ 205169 h 323087"/>
                <a:gd name="connsiteX7" fmla="*/ 120301 w 237934"/>
                <a:gd name="connsiteY7" fmla="*/ 190500 h 323087"/>
                <a:gd name="connsiteX8" fmla="*/ 35719 w 237934"/>
                <a:gd name="connsiteY8" fmla="*/ 156019 h 323087"/>
                <a:gd name="connsiteX9" fmla="*/ 11716 w 237934"/>
                <a:gd name="connsiteY9" fmla="*/ 96774 h 323087"/>
                <a:gd name="connsiteX10" fmla="*/ 44291 w 237934"/>
                <a:gd name="connsiteY10" fmla="*/ 25813 h 323087"/>
                <a:gd name="connsiteX11" fmla="*/ 126301 w 237934"/>
                <a:gd name="connsiteY11" fmla="*/ 0 h 323087"/>
                <a:gd name="connsiteX12" fmla="*/ 185356 w 237934"/>
                <a:gd name="connsiteY12" fmla="*/ 11144 h 323087"/>
                <a:gd name="connsiteX13" fmla="*/ 230314 w 237934"/>
                <a:gd name="connsiteY13" fmla="*/ 44863 h 323087"/>
                <a:gd name="connsiteX14" fmla="*/ 188404 w 237934"/>
                <a:gd name="connsiteY14" fmla="*/ 82867 h 323087"/>
                <a:gd name="connsiteX15" fmla="*/ 159639 w 237934"/>
                <a:gd name="connsiteY15" fmla="*/ 61150 h 323087"/>
                <a:gd name="connsiteX16" fmla="*/ 124206 w 237934"/>
                <a:gd name="connsiteY16" fmla="*/ 53911 h 323087"/>
                <a:gd name="connsiteX17" fmla="*/ 90773 w 237934"/>
                <a:gd name="connsiteY17" fmla="*/ 63532 h 323087"/>
                <a:gd name="connsiteX18" fmla="*/ 79343 w 237934"/>
                <a:gd name="connsiteY18" fmla="*/ 88582 h 323087"/>
                <a:gd name="connsiteX19" fmla="*/ 91250 w 237934"/>
                <a:gd name="connsiteY19" fmla="*/ 112109 h 323087"/>
                <a:gd name="connsiteX20" fmla="*/ 136017 w 237934"/>
                <a:gd name="connsiteY20" fmla="*/ 126873 h 323087"/>
                <a:gd name="connsiteX21" fmla="*/ 212598 w 237934"/>
                <a:gd name="connsiteY21" fmla="*/ 159734 h 323087"/>
                <a:gd name="connsiteX22" fmla="*/ 237934 w 237934"/>
                <a:gd name="connsiteY22" fmla="*/ 223647 h 323087"/>
                <a:gd name="connsiteX23" fmla="*/ 205073 w 237934"/>
                <a:gd name="connsiteY23" fmla="*/ 295656 h 323087"/>
                <a:gd name="connsiteX24" fmla="*/ 119158 w 237934"/>
                <a:gd name="connsiteY24" fmla="*/ 323088 h 323087"/>
                <a:gd name="connsiteX25" fmla="*/ 48958 w 237934"/>
                <a:gd name="connsiteY25" fmla="*/ 308610 h 323087"/>
                <a:gd name="connsiteX26" fmla="*/ 0 w 237934"/>
                <a:gd name="connsiteY26" fmla="*/ 266414 h 323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37934" h="323087">
                  <a:moveTo>
                    <a:pt x="0" y="266414"/>
                  </a:moveTo>
                  <a:lnTo>
                    <a:pt x="43434" y="227552"/>
                  </a:lnTo>
                  <a:cubicBezTo>
                    <a:pt x="54673" y="242411"/>
                    <a:pt x="66675" y="252984"/>
                    <a:pt x="79438" y="259366"/>
                  </a:cubicBezTo>
                  <a:cubicBezTo>
                    <a:pt x="92202" y="265652"/>
                    <a:pt x="105632" y="268891"/>
                    <a:pt x="119729" y="268891"/>
                  </a:cubicBezTo>
                  <a:cubicBezTo>
                    <a:pt x="135636" y="268891"/>
                    <a:pt x="147923" y="265557"/>
                    <a:pt x="156781" y="258794"/>
                  </a:cubicBezTo>
                  <a:cubicBezTo>
                    <a:pt x="165640" y="252031"/>
                    <a:pt x="170021" y="242602"/>
                    <a:pt x="170021" y="230315"/>
                  </a:cubicBezTo>
                  <a:cubicBezTo>
                    <a:pt x="170021" y="220313"/>
                    <a:pt x="165830" y="211836"/>
                    <a:pt x="157543" y="205169"/>
                  </a:cubicBezTo>
                  <a:cubicBezTo>
                    <a:pt x="149162" y="198406"/>
                    <a:pt x="136779" y="193548"/>
                    <a:pt x="120301" y="190500"/>
                  </a:cubicBezTo>
                  <a:cubicBezTo>
                    <a:pt x="79915" y="183452"/>
                    <a:pt x="51721" y="171926"/>
                    <a:pt x="35719" y="156019"/>
                  </a:cubicBezTo>
                  <a:cubicBezTo>
                    <a:pt x="19717" y="140017"/>
                    <a:pt x="11716" y="120301"/>
                    <a:pt x="11716" y="96774"/>
                  </a:cubicBezTo>
                  <a:cubicBezTo>
                    <a:pt x="11716" y="66580"/>
                    <a:pt x="22574" y="42958"/>
                    <a:pt x="44291" y="25813"/>
                  </a:cubicBezTo>
                  <a:cubicBezTo>
                    <a:pt x="66008" y="8668"/>
                    <a:pt x="93345" y="0"/>
                    <a:pt x="126301" y="0"/>
                  </a:cubicBezTo>
                  <a:cubicBezTo>
                    <a:pt x="147447" y="0"/>
                    <a:pt x="167068" y="3715"/>
                    <a:pt x="185356" y="11144"/>
                  </a:cubicBezTo>
                  <a:cubicBezTo>
                    <a:pt x="203644" y="18574"/>
                    <a:pt x="218599" y="29813"/>
                    <a:pt x="230314" y="44863"/>
                  </a:cubicBezTo>
                  <a:lnTo>
                    <a:pt x="188404" y="82867"/>
                  </a:lnTo>
                  <a:cubicBezTo>
                    <a:pt x="179165" y="73247"/>
                    <a:pt x="169545" y="66008"/>
                    <a:pt x="159639" y="61150"/>
                  </a:cubicBezTo>
                  <a:cubicBezTo>
                    <a:pt x="149733" y="56293"/>
                    <a:pt x="137827" y="53911"/>
                    <a:pt x="124206" y="53911"/>
                  </a:cubicBezTo>
                  <a:cubicBezTo>
                    <a:pt x="109538" y="53911"/>
                    <a:pt x="98393" y="57150"/>
                    <a:pt x="90773" y="63532"/>
                  </a:cubicBezTo>
                  <a:cubicBezTo>
                    <a:pt x="83153" y="70009"/>
                    <a:pt x="79343" y="78296"/>
                    <a:pt x="79343" y="88582"/>
                  </a:cubicBezTo>
                  <a:cubicBezTo>
                    <a:pt x="79343" y="98679"/>
                    <a:pt x="83344" y="106490"/>
                    <a:pt x="91250" y="112109"/>
                  </a:cubicBezTo>
                  <a:cubicBezTo>
                    <a:pt x="99155" y="117729"/>
                    <a:pt x="114109" y="122682"/>
                    <a:pt x="136017" y="126873"/>
                  </a:cubicBezTo>
                  <a:cubicBezTo>
                    <a:pt x="170212" y="132683"/>
                    <a:pt x="195739" y="143637"/>
                    <a:pt x="212598" y="159734"/>
                  </a:cubicBezTo>
                  <a:cubicBezTo>
                    <a:pt x="229457" y="175831"/>
                    <a:pt x="237934" y="197072"/>
                    <a:pt x="237934" y="223647"/>
                  </a:cubicBezTo>
                  <a:cubicBezTo>
                    <a:pt x="237934" y="253365"/>
                    <a:pt x="226981" y="277368"/>
                    <a:pt x="205073" y="295656"/>
                  </a:cubicBezTo>
                  <a:cubicBezTo>
                    <a:pt x="183166" y="313944"/>
                    <a:pt x="154496" y="323088"/>
                    <a:pt x="119158" y="323088"/>
                  </a:cubicBezTo>
                  <a:cubicBezTo>
                    <a:pt x="93440" y="323088"/>
                    <a:pt x="70009" y="318230"/>
                    <a:pt x="48958" y="308610"/>
                  </a:cubicBezTo>
                  <a:cubicBezTo>
                    <a:pt x="27718" y="298990"/>
                    <a:pt x="11430" y="284893"/>
                    <a:pt x="0" y="2664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EE3DC566-37AA-2F4D-AEA4-919047494CB1}"/>
                </a:ext>
              </a:extLst>
            </p:cNvPr>
            <p:cNvSpPr/>
            <p:nvPr/>
          </p:nvSpPr>
          <p:spPr>
            <a:xfrm>
              <a:off x="6654831" y="3021996"/>
              <a:ext cx="322611" cy="323278"/>
            </a:xfrm>
            <a:custGeom>
              <a:avLst/>
              <a:gdLst>
                <a:gd name="connsiteX0" fmla="*/ 160020 w 322611"/>
                <a:gd name="connsiteY0" fmla="*/ 323279 h 323278"/>
                <a:gd name="connsiteX1" fmla="*/ 43244 w 322611"/>
                <a:gd name="connsiteY1" fmla="*/ 280130 h 323278"/>
                <a:gd name="connsiteX2" fmla="*/ 0 w 322611"/>
                <a:gd name="connsiteY2" fmla="*/ 164021 h 323278"/>
                <a:gd name="connsiteX3" fmla="*/ 45815 w 322611"/>
                <a:gd name="connsiteY3" fmla="*/ 45053 h 323278"/>
                <a:gd name="connsiteX4" fmla="*/ 164306 w 322611"/>
                <a:gd name="connsiteY4" fmla="*/ 0 h 323278"/>
                <a:gd name="connsiteX5" fmla="*/ 280225 w 322611"/>
                <a:gd name="connsiteY5" fmla="*/ 44291 h 323278"/>
                <a:gd name="connsiteX6" fmla="*/ 322612 w 322611"/>
                <a:gd name="connsiteY6" fmla="*/ 158877 h 323278"/>
                <a:gd name="connsiteX7" fmla="*/ 278035 w 322611"/>
                <a:gd name="connsiteY7" fmla="*/ 276892 h 323278"/>
                <a:gd name="connsiteX8" fmla="*/ 160020 w 322611"/>
                <a:gd name="connsiteY8" fmla="*/ 323279 h 323278"/>
                <a:gd name="connsiteX9" fmla="*/ 162782 w 322611"/>
                <a:gd name="connsiteY9" fmla="*/ 265081 h 323278"/>
                <a:gd name="connsiteX10" fmla="*/ 226219 w 322611"/>
                <a:gd name="connsiteY10" fmla="*/ 236696 h 323278"/>
                <a:gd name="connsiteX11" fmla="*/ 248698 w 322611"/>
                <a:gd name="connsiteY11" fmla="*/ 160687 h 323278"/>
                <a:gd name="connsiteX12" fmla="*/ 226124 w 322611"/>
                <a:gd name="connsiteY12" fmla="*/ 86487 h 323278"/>
                <a:gd name="connsiteX13" fmla="*/ 162496 w 322611"/>
                <a:gd name="connsiteY13" fmla="*/ 58484 h 323278"/>
                <a:gd name="connsiteX14" fmla="*/ 97822 w 322611"/>
                <a:gd name="connsiteY14" fmla="*/ 87440 h 323278"/>
                <a:gd name="connsiteX15" fmla="*/ 73533 w 322611"/>
                <a:gd name="connsiteY15" fmla="*/ 162497 h 323278"/>
                <a:gd name="connsiteX16" fmla="*/ 97536 w 322611"/>
                <a:gd name="connsiteY16" fmla="*/ 237554 h 323278"/>
                <a:gd name="connsiteX17" fmla="*/ 162782 w 322611"/>
                <a:gd name="connsiteY17" fmla="*/ 265081 h 3232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22611" h="323278">
                  <a:moveTo>
                    <a:pt x="160020" y="323279"/>
                  </a:moveTo>
                  <a:cubicBezTo>
                    <a:pt x="110966" y="323279"/>
                    <a:pt x="72009" y="308896"/>
                    <a:pt x="43244" y="280130"/>
                  </a:cubicBezTo>
                  <a:cubicBezTo>
                    <a:pt x="14383" y="251365"/>
                    <a:pt x="0" y="212693"/>
                    <a:pt x="0" y="164021"/>
                  </a:cubicBezTo>
                  <a:cubicBezTo>
                    <a:pt x="191" y="114776"/>
                    <a:pt x="15526" y="75152"/>
                    <a:pt x="45815" y="45053"/>
                  </a:cubicBezTo>
                  <a:cubicBezTo>
                    <a:pt x="76200" y="15050"/>
                    <a:pt x="115633" y="0"/>
                    <a:pt x="164306" y="0"/>
                  </a:cubicBezTo>
                  <a:cubicBezTo>
                    <a:pt x="213360" y="0"/>
                    <a:pt x="252032" y="14764"/>
                    <a:pt x="280225" y="44291"/>
                  </a:cubicBezTo>
                  <a:cubicBezTo>
                    <a:pt x="308420" y="73819"/>
                    <a:pt x="322612" y="112014"/>
                    <a:pt x="322612" y="158877"/>
                  </a:cubicBezTo>
                  <a:cubicBezTo>
                    <a:pt x="322612" y="206693"/>
                    <a:pt x="307753" y="246031"/>
                    <a:pt x="278035" y="276892"/>
                  </a:cubicBezTo>
                  <a:cubicBezTo>
                    <a:pt x="248221" y="307848"/>
                    <a:pt x="208883" y="323279"/>
                    <a:pt x="160020" y="323279"/>
                  </a:cubicBezTo>
                  <a:close/>
                  <a:moveTo>
                    <a:pt x="162782" y="265081"/>
                  </a:moveTo>
                  <a:cubicBezTo>
                    <a:pt x="190119" y="265081"/>
                    <a:pt x="211265" y="255651"/>
                    <a:pt x="226219" y="236696"/>
                  </a:cubicBezTo>
                  <a:cubicBezTo>
                    <a:pt x="241173" y="217837"/>
                    <a:pt x="248698" y="192500"/>
                    <a:pt x="248698" y="160687"/>
                  </a:cubicBezTo>
                  <a:cubicBezTo>
                    <a:pt x="248698" y="129921"/>
                    <a:pt x="241173" y="105251"/>
                    <a:pt x="226124" y="86487"/>
                  </a:cubicBezTo>
                  <a:cubicBezTo>
                    <a:pt x="211074" y="67818"/>
                    <a:pt x="189833" y="58484"/>
                    <a:pt x="162496" y="58484"/>
                  </a:cubicBezTo>
                  <a:cubicBezTo>
                    <a:pt x="135541" y="58484"/>
                    <a:pt x="114014" y="68104"/>
                    <a:pt x="97822" y="87440"/>
                  </a:cubicBezTo>
                  <a:cubicBezTo>
                    <a:pt x="81629" y="106775"/>
                    <a:pt x="73533" y="131731"/>
                    <a:pt x="73533" y="162497"/>
                  </a:cubicBezTo>
                  <a:cubicBezTo>
                    <a:pt x="73533" y="194215"/>
                    <a:pt x="81534" y="219266"/>
                    <a:pt x="97536" y="237554"/>
                  </a:cubicBezTo>
                  <a:cubicBezTo>
                    <a:pt x="113443" y="255937"/>
                    <a:pt x="135255" y="265081"/>
                    <a:pt x="162782" y="26508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0B80A6D2-628D-E41F-75FB-0132E71E93FB}"/>
                </a:ext>
              </a:extLst>
            </p:cNvPr>
            <p:cNvSpPr/>
            <p:nvPr/>
          </p:nvSpPr>
          <p:spPr>
            <a:xfrm>
              <a:off x="7005351" y="2874073"/>
              <a:ext cx="228314" cy="464057"/>
            </a:xfrm>
            <a:custGeom>
              <a:avLst/>
              <a:gdLst>
                <a:gd name="connsiteX0" fmla="*/ 198596 w 228314"/>
                <a:gd name="connsiteY0" fmla="*/ 68770 h 464057"/>
                <a:gd name="connsiteX1" fmla="*/ 182499 w 228314"/>
                <a:gd name="connsiteY1" fmla="*/ 60769 h 464057"/>
                <a:gd name="connsiteX2" fmla="*/ 164306 w 228314"/>
                <a:gd name="connsiteY2" fmla="*/ 57912 h 464057"/>
                <a:gd name="connsiteX3" fmla="*/ 134588 w 228314"/>
                <a:gd name="connsiteY3" fmla="*/ 70009 h 464057"/>
                <a:gd name="connsiteX4" fmla="*/ 124206 w 228314"/>
                <a:gd name="connsiteY4" fmla="*/ 106204 h 464057"/>
                <a:gd name="connsiteX5" fmla="*/ 124206 w 228314"/>
                <a:gd name="connsiteY5" fmla="*/ 155353 h 464057"/>
                <a:gd name="connsiteX6" fmla="*/ 195644 w 228314"/>
                <a:gd name="connsiteY6" fmla="*/ 155353 h 464057"/>
                <a:gd name="connsiteX7" fmla="*/ 195644 w 228314"/>
                <a:gd name="connsiteY7" fmla="*/ 211455 h 464057"/>
                <a:gd name="connsiteX8" fmla="*/ 124206 w 228314"/>
                <a:gd name="connsiteY8" fmla="*/ 211455 h 464057"/>
                <a:gd name="connsiteX9" fmla="*/ 124206 w 228314"/>
                <a:gd name="connsiteY9" fmla="*/ 464058 h 464057"/>
                <a:gd name="connsiteX10" fmla="*/ 52483 w 228314"/>
                <a:gd name="connsiteY10" fmla="*/ 464058 h 464057"/>
                <a:gd name="connsiteX11" fmla="*/ 52483 w 228314"/>
                <a:gd name="connsiteY11" fmla="*/ 211360 h 464057"/>
                <a:gd name="connsiteX12" fmla="*/ 0 w 228314"/>
                <a:gd name="connsiteY12" fmla="*/ 211360 h 464057"/>
                <a:gd name="connsiteX13" fmla="*/ 0 w 228314"/>
                <a:gd name="connsiteY13" fmla="*/ 155258 h 464057"/>
                <a:gd name="connsiteX14" fmla="*/ 52483 w 228314"/>
                <a:gd name="connsiteY14" fmla="*/ 155258 h 464057"/>
                <a:gd name="connsiteX15" fmla="*/ 52483 w 228314"/>
                <a:gd name="connsiteY15" fmla="*/ 105537 h 464057"/>
                <a:gd name="connsiteX16" fmla="*/ 80963 w 228314"/>
                <a:gd name="connsiteY16" fmla="*/ 28384 h 464057"/>
                <a:gd name="connsiteX17" fmla="*/ 161354 w 228314"/>
                <a:gd name="connsiteY17" fmla="*/ 0 h 464057"/>
                <a:gd name="connsiteX18" fmla="*/ 195739 w 228314"/>
                <a:gd name="connsiteY18" fmla="*/ 4096 h 464057"/>
                <a:gd name="connsiteX19" fmla="*/ 228314 w 228314"/>
                <a:gd name="connsiteY19" fmla="*/ 16573 h 464057"/>
                <a:gd name="connsiteX20" fmla="*/ 198596 w 228314"/>
                <a:gd name="connsiteY20" fmla="*/ 68770 h 464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28314" h="464057">
                  <a:moveTo>
                    <a:pt x="198596" y="68770"/>
                  </a:moveTo>
                  <a:cubicBezTo>
                    <a:pt x="193357" y="65341"/>
                    <a:pt x="188023" y="62674"/>
                    <a:pt x="182499" y="60769"/>
                  </a:cubicBezTo>
                  <a:cubicBezTo>
                    <a:pt x="176974" y="58864"/>
                    <a:pt x="170879" y="57912"/>
                    <a:pt x="164306" y="57912"/>
                  </a:cubicBezTo>
                  <a:cubicBezTo>
                    <a:pt x="151447" y="57912"/>
                    <a:pt x="141541" y="61913"/>
                    <a:pt x="134588" y="70009"/>
                  </a:cubicBezTo>
                  <a:cubicBezTo>
                    <a:pt x="127635" y="78010"/>
                    <a:pt x="124206" y="90106"/>
                    <a:pt x="124206" y="106204"/>
                  </a:cubicBezTo>
                  <a:lnTo>
                    <a:pt x="124206" y="155353"/>
                  </a:lnTo>
                  <a:lnTo>
                    <a:pt x="195644" y="155353"/>
                  </a:lnTo>
                  <a:lnTo>
                    <a:pt x="195644" y="211455"/>
                  </a:lnTo>
                  <a:lnTo>
                    <a:pt x="124206" y="211455"/>
                  </a:lnTo>
                  <a:lnTo>
                    <a:pt x="124206" y="464058"/>
                  </a:lnTo>
                  <a:lnTo>
                    <a:pt x="52483" y="464058"/>
                  </a:lnTo>
                  <a:lnTo>
                    <a:pt x="52483" y="211360"/>
                  </a:lnTo>
                  <a:lnTo>
                    <a:pt x="0" y="211360"/>
                  </a:lnTo>
                  <a:lnTo>
                    <a:pt x="0" y="155258"/>
                  </a:lnTo>
                  <a:lnTo>
                    <a:pt x="52483" y="155258"/>
                  </a:lnTo>
                  <a:lnTo>
                    <a:pt x="52483" y="105537"/>
                  </a:lnTo>
                  <a:cubicBezTo>
                    <a:pt x="52483" y="72962"/>
                    <a:pt x="62008" y="47244"/>
                    <a:pt x="80963" y="28384"/>
                  </a:cubicBezTo>
                  <a:cubicBezTo>
                    <a:pt x="99917" y="9525"/>
                    <a:pt x="126682" y="0"/>
                    <a:pt x="161354" y="0"/>
                  </a:cubicBezTo>
                  <a:cubicBezTo>
                    <a:pt x="173164" y="0"/>
                    <a:pt x="184690" y="1333"/>
                    <a:pt x="195739" y="4096"/>
                  </a:cubicBezTo>
                  <a:cubicBezTo>
                    <a:pt x="206788" y="6763"/>
                    <a:pt x="217646" y="10954"/>
                    <a:pt x="228314" y="16573"/>
                  </a:cubicBezTo>
                  <a:lnTo>
                    <a:pt x="198596" y="6877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389B5CC7-56EB-3DF9-114D-6929F8426B49}"/>
                </a:ext>
              </a:extLst>
            </p:cNvPr>
            <p:cNvSpPr/>
            <p:nvPr/>
          </p:nvSpPr>
          <p:spPr>
            <a:xfrm>
              <a:off x="7197756" y="2941034"/>
              <a:ext cx="215836" cy="404240"/>
            </a:xfrm>
            <a:custGeom>
              <a:avLst/>
              <a:gdLst>
                <a:gd name="connsiteX0" fmla="*/ 215836 w 215836"/>
                <a:gd name="connsiteY0" fmla="*/ 382524 h 404240"/>
                <a:gd name="connsiteX1" fmla="*/ 184309 w 215836"/>
                <a:gd name="connsiteY1" fmla="*/ 398335 h 404240"/>
                <a:gd name="connsiteX2" fmla="*/ 142875 w 215836"/>
                <a:gd name="connsiteY2" fmla="*/ 404241 h 404240"/>
                <a:gd name="connsiteX3" fmla="*/ 74485 w 215836"/>
                <a:gd name="connsiteY3" fmla="*/ 381000 h 404240"/>
                <a:gd name="connsiteX4" fmla="*/ 51530 w 215836"/>
                <a:gd name="connsiteY4" fmla="*/ 313182 h 404240"/>
                <a:gd name="connsiteX5" fmla="*/ 51530 w 215836"/>
                <a:gd name="connsiteY5" fmla="*/ 144399 h 404240"/>
                <a:gd name="connsiteX6" fmla="*/ 0 w 215836"/>
                <a:gd name="connsiteY6" fmla="*/ 144399 h 404240"/>
                <a:gd name="connsiteX7" fmla="*/ 0 w 215836"/>
                <a:gd name="connsiteY7" fmla="*/ 88297 h 404240"/>
                <a:gd name="connsiteX8" fmla="*/ 51530 w 215836"/>
                <a:gd name="connsiteY8" fmla="*/ 88297 h 404240"/>
                <a:gd name="connsiteX9" fmla="*/ 51530 w 215836"/>
                <a:gd name="connsiteY9" fmla="*/ 12668 h 404240"/>
                <a:gd name="connsiteX10" fmla="*/ 123539 w 215836"/>
                <a:gd name="connsiteY10" fmla="*/ 0 h 404240"/>
                <a:gd name="connsiteX11" fmla="*/ 123539 w 215836"/>
                <a:gd name="connsiteY11" fmla="*/ 88297 h 404240"/>
                <a:gd name="connsiteX12" fmla="*/ 202216 w 215836"/>
                <a:gd name="connsiteY12" fmla="*/ 88297 h 404240"/>
                <a:gd name="connsiteX13" fmla="*/ 202216 w 215836"/>
                <a:gd name="connsiteY13" fmla="*/ 144399 h 404240"/>
                <a:gd name="connsiteX14" fmla="*/ 123539 w 215836"/>
                <a:gd name="connsiteY14" fmla="*/ 144399 h 404240"/>
                <a:gd name="connsiteX15" fmla="*/ 123539 w 215836"/>
                <a:gd name="connsiteY15" fmla="*/ 302990 h 404240"/>
                <a:gd name="connsiteX16" fmla="*/ 132588 w 215836"/>
                <a:gd name="connsiteY16" fmla="*/ 336328 h 404240"/>
                <a:gd name="connsiteX17" fmla="*/ 157924 w 215836"/>
                <a:gd name="connsiteY17" fmla="*/ 346996 h 404240"/>
                <a:gd name="connsiteX18" fmla="*/ 174784 w 215836"/>
                <a:gd name="connsiteY18" fmla="*/ 343948 h 404240"/>
                <a:gd name="connsiteX19" fmla="*/ 193453 w 215836"/>
                <a:gd name="connsiteY19" fmla="*/ 333661 h 404240"/>
                <a:gd name="connsiteX20" fmla="*/ 215836 w 215836"/>
                <a:gd name="connsiteY20" fmla="*/ 382524 h 404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15836" h="404240">
                  <a:moveTo>
                    <a:pt x="215836" y="382524"/>
                  </a:moveTo>
                  <a:cubicBezTo>
                    <a:pt x="207550" y="389191"/>
                    <a:pt x="197072" y="394430"/>
                    <a:pt x="184309" y="398335"/>
                  </a:cubicBezTo>
                  <a:cubicBezTo>
                    <a:pt x="171545" y="402241"/>
                    <a:pt x="157734" y="404241"/>
                    <a:pt x="142875" y="404241"/>
                  </a:cubicBezTo>
                  <a:cubicBezTo>
                    <a:pt x="112490" y="404241"/>
                    <a:pt x="89725" y="396526"/>
                    <a:pt x="74485" y="381000"/>
                  </a:cubicBezTo>
                  <a:cubicBezTo>
                    <a:pt x="59246" y="365570"/>
                    <a:pt x="51530" y="342900"/>
                    <a:pt x="51530" y="313182"/>
                  </a:cubicBezTo>
                  <a:lnTo>
                    <a:pt x="51530" y="144399"/>
                  </a:lnTo>
                  <a:lnTo>
                    <a:pt x="0" y="144399"/>
                  </a:lnTo>
                  <a:lnTo>
                    <a:pt x="0" y="88297"/>
                  </a:lnTo>
                  <a:lnTo>
                    <a:pt x="51530" y="88297"/>
                  </a:lnTo>
                  <a:lnTo>
                    <a:pt x="51530" y="12668"/>
                  </a:lnTo>
                  <a:lnTo>
                    <a:pt x="123539" y="0"/>
                  </a:lnTo>
                  <a:lnTo>
                    <a:pt x="123539" y="88297"/>
                  </a:lnTo>
                  <a:lnTo>
                    <a:pt x="202216" y="88297"/>
                  </a:lnTo>
                  <a:lnTo>
                    <a:pt x="202216" y="144399"/>
                  </a:lnTo>
                  <a:lnTo>
                    <a:pt x="123539" y="144399"/>
                  </a:lnTo>
                  <a:lnTo>
                    <a:pt x="123539" y="302990"/>
                  </a:lnTo>
                  <a:cubicBezTo>
                    <a:pt x="123539" y="318040"/>
                    <a:pt x="126587" y="329184"/>
                    <a:pt x="132588" y="336328"/>
                  </a:cubicBezTo>
                  <a:cubicBezTo>
                    <a:pt x="138589" y="343472"/>
                    <a:pt x="147066" y="346996"/>
                    <a:pt x="157924" y="346996"/>
                  </a:cubicBezTo>
                  <a:cubicBezTo>
                    <a:pt x="163544" y="346996"/>
                    <a:pt x="169164" y="345948"/>
                    <a:pt x="174784" y="343948"/>
                  </a:cubicBezTo>
                  <a:cubicBezTo>
                    <a:pt x="180403" y="341947"/>
                    <a:pt x="186595" y="338518"/>
                    <a:pt x="193453" y="333661"/>
                  </a:cubicBezTo>
                  <a:lnTo>
                    <a:pt x="215836" y="3825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74EA045E-6D2E-78B5-E1AD-16B44289BA15}"/>
                </a:ext>
              </a:extLst>
            </p:cNvPr>
            <p:cNvSpPr/>
            <p:nvPr/>
          </p:nvSpPr>
          <p:spPr>
            <a:xfrm>
              <a:off x="4778406" y="3615785"/>
              <a:ext cx="295465" cy="432339"/>
            </a:xfrm>
            <a:custGeom>
              <a:avLst/>
              <a:gdLst>
                <a:gd name="connsiteX0" fmla="*/ 0 w 295465"/>
                <a:gd name="connsiteY0" fmla="*/ 432340 h 432339"/>
                <a:gd name="connsiteX1" fmla="*/ 0 w 295465"/>
                <a:gd name="connsiteY1" fmla="*/ 0 h 432339"/>
                <a:gd name="connsiteX2" fmla="*/ 142018 w 295465"/>
                <a:gd name="connsiteY2" fmla="*/ 0 h 432339"/>
                <a:gd name="connsiteX3" fmla="*/ 243650 w 295465"/>
                <a:gd name="connsiteY3" fmla="*/ 27908 h 432339"/>
                <a:gd name="connsiteX4" fmla="*/ 279178 w 295465"/>
                <a:gd name="connsiteY4" fmla="*/ 107633 h 432339"/>
                <a:gd name="connsiteX5" fmla="*/ 260033 w 295465"/>
                <a:gd name="connsiteY5" fmla="*/ 166116 h 432339"/>
                <a:gd name="connsiteX6" fmla="*/ 211074 w 295465"/>
                <a:gd name="connsiteY6" fmla="*/ 201644 h 432339"/>
                <a:gd name="connsiteX7" fmla="*/ 211074 w 295465"/>
                <a:gd name="connsiteY7" fmla="*/ 202883 h 432339"/>
                <a:gd name="connsiteX8" fmla="*/ 272891 w 295465"/>
                <a:gd name="connsiteY8" fmla="*/ 238125 h 432339"/>
                <a:gd name="connsiteX9" fmla="*/ 295466 w 295465"/>
                <a:gd name="connsiteY9" fmla="*/ 305657 h 432339"/>
                <a:gd name="connsiteX10" fmla="*/ 254794 w 295465"/>
                <a:gd name="connsiteY10" fmla="*/ 397764 h 432339"/>
                <a:gd name="connsiteX11" fmla="*/ 145923 w 295465"/>
                <a:gd name="connsiteY11" fmla="*/ 432245 h 432339"/>
                <a:gd name="connsiteX12" fmla="*/ 0 w 295465"/>
                <a:gd name="connsiteY12" fmla="*/ 432245 h 432339"/>
                <a:gd name="connsiteX13" fmla="*/ 73819 w 295465"/>
                <a:gd name="connsiteY13" fmla="*/ 60008 h 432339"/>
                <a:gd name="connsiteX14" fmla="*/ 73819 w 295465"/>
                <a:gd name="connsiteY14" fmla="*/ 181546 h 432339"/>
                <a:gd name="connsiteX15" fmla="*/ 123539 w 295465"/>
                <a:gd name="connsiteY15" fmla="*/ 181546 h 432339"/>
                <a:gd name="connsiteX16" fmla="*/ 180404 w 295465"/>
                <a:gd name="connsiteY16" fmla="*/ 164973 h 432339"/>
                <a:gd name="connsiteX17" fmla="*/ 201359 w 295465"/>
                <a:gd name="connsiteY17" fmla="*/ 116110 h 432339"/>
                <a:gd name="connsiteX18" fmla="*/ 183833 w 295465"/>
                <a:gd name="connsiteY18" fmla="*/ 74390 h 432339"/>
                <a:gd name="connsiteX19" fmla="*/ 133160 w 295465"/>
                <a:gd name="connsiteY19" fmla="*/ 60103 h 432339"/>
                <a:gd name="connsiteX20" fmla="*/ 73819 w 295465"/>
                <a:gd name="connsiteY20" fmla="*/ 60103 h 432339"/>
                <a:gd name="connsiteX21" fmla="*/ 73819 w 295465"/>
                <a:gd name="connsiteY21" fmla="*/ 240316 h 432339"/>
                <a:gd name="connsiteX22" fmla="*/ 73819 w 295465"/>
                <a:gd name="connsiteY22" fmla="*/ 372332 h 432339"/>
                <a:gd name="connsiteX23" fmla="*/ 135350 w 295465"/>
                <a:gd name="connsiteY23" fmla="*/ 372332 h 432339"/>
                <a:gd name="connsiteX24" fmla="*/ 196406 w 295465"/>
                <a:gd name="connsiteY24" fmla="*/ 354235 h 432339"/>
                <a:gd name="connsiteX25" fmla="*/ 217646 w 295465"/>
                <a:gd name="connsiteY25" fmla="*/ 304800 h 432339"/>
                <a:gd name="connsiteX26" fmla="*/ 195167 w 295465"/>
                <a:gd name="connsiteY26" fmla="*/ 256889 h 432339"/>
                <a:gd name="connsiteX27" fmla="*/ 129635 w 295465"/>
                <a:gd name="connsiteY27" fmla="*/ 240316 h 432339"/>
                <a:gd name="connsiteX28" fmla="*/ 73819 w 295465"/>
                <a:gd name="connsiteY28" fmla="*/ 240316 h 432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95465" h="432339">
                  <a:moveTo>
                    <a:pt x="0" y="432340"/>
                  </a:moveTo>
                  <a:lnTo>
                    <a:pt x="0" y="0"/>
                  </a:lnTo>
                  <a:lnTo>
                    <a:pt x="142018" y="0"/>
                  </a:lnTo>
                  <a:cubicBezTo>
                    <a:pt x="186023" y="0"/>
                    <a:pt x="219932" y="9334"/>
                    <a:pt x="243650" y="27908"/>
                  </a:cubicBezTo>
                  <a:cubicBezTo>
                    <a:pt x="267367" y="46482"/>
                    <a:pt x="279178" y="73057"/>
                    <a:pt x="279178" y="107633"/>
                  </a:cubicBezTo>
                  <a:cubicBezTo>
                    <a:pt x="279178" y="129730"/>
                    <a:pt x="272796" y="149257"/>
                    <a:pt x="260033" y="166116"/>
                  </a:cubicBezTo>
                  <a:cubicBezTo>
                    <a:pt x="247269" y="182975"/>
                    <a:pt x="230981" y="194882"/>
                    <a:pt x="211074" y="201644"/>
                  </a:cubicBezTo>
                  <a:lnTo>
                    <a:pt x="211074" y="202883"/>
                  </a:lnTo>
                  <a:cubicBezTo>
                    <a:pt x="237173" y="207740"/>
                    <a:pt x="257842" y="219456"/>
                    <a:pt x="272891" y="238125"/>
                  </a:cubicBezTo>
                  <a:cubicBezTo>
                    <a:pt x="287941" y="256794"/>
                    <a:pt x="295466" y="279368"/>
                    <a:pt x="295466" y="305657"/>
                  </a:cubicBezTo>
                  <a:cubicBezTo>
                    <a:pt x="295466" y="344043"/>
                    <a:pt x="281940" y="374713"/>
                    <a:pt x="254794" y="397764"/>
                  </a:cubicBezTo>
                  <a:cubicBezTo>
                    <a:pt x="227648" y="420814"/>
                    <a:pt x="191357" y="432245"/>
                    <a:pt x="145923" y="432245"/>
                  </a:cubicBezTo>
                  <a:lnTo>
                    <a:pt x="0" y="432245"/>
                  </a:lnTo>
                  <a:close/>
                  <a:moveTo>
                    <a:pt x="73819" y="60008"/>
                  </a:moveTo>
                  <a:lnTo>
                    <a:pt x="73819" y="181546"/>
                  </a:lnTo>
                  <a:lnTo>
                    <a:pt x="123539" y="181546"/>
                  </a:lnTo>
                  <a:cubicBezTo>
                    <a:pt x="147447" y="181546"/>
                    <a:pt x="166402" y="176022"/>
                    <a:pt x="180404" y="164973"/>
                  </a:cubicBezTo>
                  <a:cubicBezTo>
                    <a:pt x="194405" y="153924"/>
                    <a:pt x="201359" y="137636"/>
                    <a:pt x="201359" y="116110"/>
                  </a:cubicBezTo>
                  <a:cubicBezTo>
                    <a:pt x="201359" y="97822"/>
                    <a:pt x="195548" y="83915"/>
                    <a:pt x="183833" y="74390"/>
                  </a:cubicBezTo>
                  <a:cubicBezTo>
                    <a:pt x="172212" y="64865"/>
                    <a:pt x="155258" y="60103"/>
                    <a:pt x="133160" y="60103"/>
                  </a:cubicBezTo>
                  <a:lnTo>
                    <a:pt x="73819" y="60103"/>
                  </a:lnTo>
                  <a:close/>
                  <a:moveTo>
                    <a:pt x="73819" y="240316"/>
                  </a:moveTo>
                  <a:lnTo>
                    <a:pt x="73819" y="372332"/>
                  </a:lnTo>
                  <a:lnTo>
                    <a:pt x="135350" y="372332"/>
                  </a:lnTo>
                  <a:cubicBezTo>
                    <a:pt x="161925" y="372332"/>
                    <a:pt x="182213" y="366332"/>
                    <a:pt x="196406" y="354235"/>
                  </a:cubicBezTo>
                  <a:cubicBezTo>
                    <a:pt x="210598" y="342138"/>
                    <a:pt x="217646" y="325660"/>
                    <a:pt x="217646" y="304800"/>
                  </a:cubicBezTo>
                  <a:cubicBezTo>
                    <a:pt x="217646" y="283940"/>
                    <a:pt x="210122" y="267938"/>
                    <a:pt x="195167" y="256889"/>
                  </a:cubicBezTo>
                  <a:cubicBezTo>
                    <a:pt x="180213" y="245840"/>
                    <a:pt x="158306" y="240316"/>
                    <a:pt x="129635" y="240316"/>
                  </a:cubicBezTo>
                  <a:lnTo>
                    <a:pt x="73819" y="24031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BC47584D-E328-6A92-03A7-ECD1AB922961}"/>
                </a:ext>
              </a:extLst>
            </p:cNvPr>
            <p:cNvSpPr/>
            <p:nvPr/>
          </p:nvSpPr>
          <p:spPr>
            <a:xfrm>
              <a:off x="5127307" y="3739419"/>
              <a:ext cx="277082" cy="315944"/>
            </a:xfrm>
            <a:custGeom>
              <a:avLst/>
              <a:gdLst>
                <a:gd name="connsiteX0" fmla="*/ 277082 w 277082"/>
                <a:gd name="connsiteY0" fmla="*/ 308705 h 315944"/>
                <a:gd name="connsiteX1" fmla="*/ 205073 w 277082"/>
                <a:gd name="connsiteY1" fmla="*/ 308705 h 315944"/>
                <a:gd name="connsiteX2" fmla="*/ 205073 w 277082"/>
                <a:gd name="connsiteY2" fmla="*/ 266795 h 315944"/>
                <a:gd name="connsiteX3" fmla="*/ 203549 w 277082"/>
                <a:gd name="connsiteY3" fmla="*/ 266795 h 315944"/>
                <a:gd name="connsiteX4" fmla="*/ 162973 w 277082"/>
                <a:gd name="connsiteY4" fmla="*/ 302514 h 315944"/>
                <a:gd name="connsiteX5" fmla="*/ 109442 w 277082"/>
                <a:gd name="connsiteY5" fmla="*/ 315944 h 315944"/>
                <a:gd name="connsiteX6" fmla="*/ 27623 w 277082"/>
                <a:gd name="connsiteY6" fmla="*/ 283845 h 315944"/>
                <a:gd name="connsiteX7" fmla="*/ 0 w 277082"/>
                <a:gd name="connsiteY7" fmla="*/ 189929 h 315944"/>
                <a:gd name="connsiteX8" fmla="*/ 0 w 277082"/>
                <a:gd name="connsiteY8" fmla="*/ 0 h 315944"/>
                <a:gd name="connsiteX9" fmla="*/ 71723 w 277082"/>
                <a:gd name="connsiteY9" fmla="*/ 0 h 315944"/>
                <a:gd name="connsiteX10" fmla="*/ 71723 w 277082"/>
                <a:gd name="connsiteY10" fmla="*/ 180308 h 315944"/>
                <a:gd name="connsiteX11" fmla="*/ 86487 w 277082"/>
                <a:gd name="connsiteY11" fmla="*/ 238316 h 315944"/>
                <a:gd name="connsiteX12" fmla="*/ 132588 w 277082"/>
                <a:gd name="connsiteY12" fmla="*/ 257746 h 315944"/>
                <a:gd name="connsiteX13" fmla="*/ 184785 w 277082"/>
                <a:gd name="connsiteY13" fmla="*/ 234506 h 315944"/>
                <a:gd name="connsiteX14" fmla="*/ 204978 w 277082"/>
                <a:gd name="connsiteY14" fmla="*/ 176022 h 315944"/>
                <a:gd name="connsiteX15" fmla="*/ 204978 w 277082"/>
                <a:gd name="connsiteY15" fmla="*/ 0 h 315944"/>
                <a:gd name="connsiteX16" fmla="*/ 276987 w 277082"/>
                <a:gd name="connsiteY16" fmla="*/ 0 h 315944"/>
                <a:gd name="connsiteX17" fmla="*/ 276987 w 277082"/>
                <a:gd name="connsiteY17" fmla="*/ 308705 h 315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77082" h="315944">
                  <a:moveTo>
                    <a:pt x="277082" y="308705"/>
                  </a:moveTo>
                  <a:lnTo>
                    <a:pt x="205073" y="308705"/>
                  </a:lnTo>
                  <a:lnTo>
                    <a:pt x="205073" y="266795"/>
                  </a:lnTo>
                  <a:lnTo>
                    <a:pt x="203549" y="266795"/>
                  </a:lnTo>
                  <a:cubicBezTo>
                    <a:pt x="193739" y="281654"/>
                    <a:pt x="180213" y="293561"/>
                    <a:pt x="162973" y="302514"/>
                  </a:cubicBezTo>
                  <a:cubicBezTo>
                    <a:pt x="145828" y="311467"/>
                    <a:pt x="127921" y="315944"/>
                    <a:pt x="109442" y="315944"/>
                  </a:cubicBezTo>
                  <a:cubicBezTo>
                    <a:pt x="73247" y="315944"/>
                    <a:pt x="46006" y="305276"/>
                    <a:pt x="27623" y="283845"/>
                  </a:cubicBezTo>
                  <a:cubicBezTo>
                    <a:pt x="9239" y="262414"/>
                    <a:pt x="0" y="231172"/>
                    <a:pt x="0" y="189929"/>
                  </a:cubicBezTo>
                  <a:lnTo>
                    <a:pt x="0" y="0"/>
                  </a:lnTo>
                  <a:lnTo>
                    <a:pt x="71723" y="0"/>
                  </a:lnTo>
                  <a:lnTo>
                    <a:pt x="71723" y="180308"/>
                  </a:lnTo>
                  <a:cubicBezTo>
                    <a:pt x="71723" y="206026"/>
                    <a:pt x="76676" y="225362"/>
                    <a:pt x="86487" y="238316"/>
                  </a:cubicBezTo>
                  <a:cubicBezTo>
                    <a:pt x="96298" y="251270"/>
                    <a:pt x="111728" y="257746"/>
                    <a:pt x="132588" y="257746"/>
                  </a:cubicBezTo>
                  <a:cubicBezTo>
                    <a:pt x="153924" y="257746"/>
                    <a:pt x="171260" y="250031"/>
                    <a:pt x="184785" y="234506"/>
                  </a:cubicBezTo>
                  <a:cubicBezTo>
                    <a:pt x="198215" y="219075"/>
                    <a:pt x="204978" y="199549"/>
                    <a:pt x="204978" y="176022"/>
                  </a:cubicBezTo>
                  <a:lnTo>
                    <a:pt x="204978" y="0"/>
                  </a:lnTo>
                  <a:lnTo>
                    <a:pt x="276987" y="0"/>
                  </a:lnTo>
                  <a:lnTo>
                    <a:pt x="276987" y="3087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65D8F345-A952-EF68-4AF1-CB123287E81F}"/>
                </a:ext>
              </a:extLst>
            </p:cNvPr>
            <p:cNvSpPr/>
            <p:nvPr/>
          </p:nvSpPr>
          <p:spPr>
            <a:xfrm>
              <a:off x="5474112" y="3595497"/>
              <a:ext cx="89344" cy="452627"/>
            </a:xfrm>
            <a:custGeom>
              <a:avLst/>
              <a:gdLst>
                <a:gd name="connsiteX0" fmla="*/ 44387 w 89344"/>
                <a:gd name="connsiteY0" fmla="*/ 86296 h 452627"/>
                <a:gd name="connsiteX1" fmla="*/ 12383 w 89344"/>
                <a:gd name="connsiteY1" fmla="*/ 73438 h 452627"/>
                <a:gd name="connsiteX2" fmla="*/ 0 w 89344"/>
                <a:gd name="connsiteY2" fmla="*/ 42862 h 452627"/>
                <a:gd name="connsiteX3" fmla="*/ 12383 w 89344"/>
                <a:gd name="connsiteY3" fmla="*/ 12382 h 452627"/>
                <a:gd name="connsiteX4" fmla="*/ 44387 w 89344"/>
                <a:gd name="connsiteY4" fmla="*/ 0 h 452627"/>
                <a:gd name="connsiteX5" fmla="*/ 76962 w 89344"/>
                <a:gd name="connsiteY5" fmla="*/ 12382 h 452627"/>
                <a:gd name="connsiteX6" fmla="*/ 89344 w 89344"/>
                <a:gd name="connsiteY6" fmla="*/ 43148 h 452627"/>
                <a:gd name="connsiteX7" fmla="*/ 76962 w 89344"/>
                <a:gd name="connsiteY7" fmla="*/ 73914 h 452627"/>
                <a:gd name="connsiteX8" fmla="*/ 44387 w 89344"/>
                <a:gd name="connsiteY8" fmla="*/ 86296 h 452627"/>
                <a:gd name="connsiteX9" fmla="*/ 80296 w 89344"/>
                <a:gd name="connsiteY9" fmla="*/ 452628 h 452627"/>
                <a:gd name="connsiteX10" fmla="*/ 8287 w 89344"/>
                <a:gd name="connsiteY10" fmla="*/ 452628 h 452627"/>
                <a:gd name="connsiteX11" fmla="*/ 8287 w 89344"/>
                <a:gd name="connsiteY11" fmla="*/ 143923 h 452627"/>
                <a:gd name="connsiteX12" fmla="*/ 80296 w 89344"/>
                <a:gd name="connsiteY12" fmla="*/ 143923 h 452627"/>
                <a:gd name="connsiteX13" fmla="*/ 80296 w 89344"/>
                <a:gd name="connsiteY13" fmla="*/ 452628 h 4526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9344" h="452627">
                  <a:moveTo>
                    <a:pt x="44387" y="86296"/>
                  </a:moveTo>
                  <a:cubicBezTo>
                    <a:pt x="31337" y="86296"/>
                    <a:pt x="20669" y="82010"/>
                    <a:pt x="12383" y="73438"/>
                  </a:cubicBezTo>
                  <a:cubicBezTo>
                    <a:pt x="4191" y="64865"/>
                    <a:pt x="0" y="54673"/>
                    <a:pt x="0" y="42862"/>
                  </a:cubicBezTo>
                  <a:cubicBezTo>
                    <a:pt x="0" y="30766"/>
                    <a:pt x="4096" y="20669"/>
                    <a:pt x="12383" y="12382"/>
                  </a:cubicBezTo>
                  <a:cubicBezTo>
                    <a:pt x="20574" y="4191"/>
                    <a:pt x="31242" y="0"/>
                    <a:pt x="44387" y="0"/>
                  </a:cubicBezTo>
                  <a:cubicBezTo>
                    <a:pt x="57817" y="0"/>
                    <a:pt x="68675" y="4096"/>
                    <a:pt x="76962" y="12382"/>
                  </a:cubicBezTo>
                  <a:cubicBezTo>
                    <a:pt x="85154" y="20669"/>
                    <a:pt x="89344" y="30861"/>
                    <a:pt x="89344" y="43148"/>
                  </a:cubicBezTo>
                  <a:cubicBezTo>
                    <a:pt x="89344" y="55435"/>
                    <a:pt x="85249" y="65627"/>
                    <a:pt x="76962" y="73914"/>
                  </a:cubicBezTo>
                  <a:cubicBezTo>
                    <a:pt x="68675" y="82201"/>
                    <a:pt x="57817" y="86296"/>
                    <a:pt x="44387" y="86296"/>
                  </a:cubicBezTo>
                  <a:close/>
                  <a:moveTo>
                    <a:pt x="80296" y="452628"/>
                  </a:moveTo>
                  <a:lnTo>
                    <a:pt x="8287" y="452628"/>
                  </a:lnTo>
                  <a:lnTo>
                    <a:pt x="8287" y="143923"/>
                  </a:lnTo>
                  <a:lnTo>
                    <a:pt x="80296" y="143923"/>
                  </a:lnTo>
                  <a:lnTo>
                    <a:pt x="80296" y="45262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6B8F43B2-0451-F3C5-571C-A47C05986AFA}"/>
                </a:ext>
              </a:extLst>
            </p:cNvPr>
            <p:cNvSpPr/>
            <p:nvPr/>
          </p:nvSpPr>
          <p:spPr>
            <a:xfrm>
              <a:off x="5632608" y="3591115"/>
              <a:ext cx="72009" cy="457009"/>
            </a:xfrm>
            <a:custGeom>
              <a:avLst/>
              <a:gdLst>
                <a:gd name="connsiteX0" fmla="*/ 0 w 72009"/>
                <a:gd name="connsiteY0" fmla="*/ 457010 h 457009"/>
                <a:gd name="connsiteX1" fmla="*/ 0 w 72009"/>
                <a:gd name="connsiteY1" fmla="*/ 0 h 457009"/>
                <a:gd name="connsiteX2" fmla="*/ 72009 w 72009"/>
                <a:gd name="connsiteY2" fmla="*/ 0 h 457009"/>
                <a:gd name="connsiteX3" fmla="*/ 72009 w 72009"/>
                <a:gd name="connsiteY3" fmla="*/ 457010 h 457009"/>
                <a:gd name="connsiteX4" fmla="*/ 0 w 72009"/>
                <a:gd name="connsiteY4" fmla="*/ 457010 h 457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009" h="457009">
                  <a:moveTo>
                    <a:pt x="0" y="457010"/>
                  </a:moveTo>
                  <a:lnTo>
                    <a:pt x="0" y="0"/>
                  </a:lnTo>
                  <a:lnTo>
                    <a:pt x="72009" y="0"/>
                  </a:lnTo>
                  <a:lnTo>
                    <a:pt x="72009" y="457010"/>
                  </a:lnTo>
                  <a:lnTo>
                    <a:pt x="0" y="4570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74F83D34-D61F-49BA-2B8F-BC2E15A758E9}"/>
                </a:ext>
              </a:extLst>
            </p:cNvPr>
            <p:cNvSpPr/>
            <p:nvPr/>
          </p:nvSpPr>
          <p:spPr>
            <a:xfrm>
              <a:off x="5763006" y="3591020"/>
              <a:ext cx="307181" cy="464248"/>
            </a:xfrm>
            <a:custGeom>
              <a:avLst/>
              <a:gdLst>
                <a:gd name="connsiteX0" fmla="*/ 233934 w 307181"/>
                <a:gd name="connsiteY0" fmla="*/ 414242 h 464248"/>
                <a:gd name="connsiteX1" fmla="*/ 191548 w 307181"/>
                <a:gd name="connsiteY1" fmla="*/ 451580 h 464248"/>
                <a:gd name="connsiteX2" fmla="*/ 133255 w 307181"/>
                <a:gd name="connsiteY2" fmla="*/ 464248 h 464248"/>
                <a:gd name="connsiteX3" fmla="*/ 35719 w 307181"/>
                <a:gd name="connsiteY3" fmla="*/ 423100 h 464248"/>
                <a:gd name="connsiteX4" fmla="*/ 0 w 307181"/>
                <a:gd name="connsiteY4" fmla="*/ 309944 h 464248"/>
                <a:gd name="connsiteX5" fmla="*/ 39910 w 307181"/>
                <a:gd name="connsiteY5" fmla="*/ 186785 h 464248"/>
                <a:gd name="connsiteX6" fmla="*/ 146494 w 307181"/>
                <a:gd name="connsiteY6" fmla="*/ 141065 h 464248"/>
                <a:gd name="connsiteX7" fmla="*/ 198691 w 307181"/>
                <a:gd name="connsiteY7" fmla="*/ 152686 h 464248"/>
                <a:gd name="connsiteX8" fmla="*/ 233934 w 307181"/>
                <a:gd name="connsiteY8" fmla="*/ 181451 h 464248"/>
                <a:gd name="connsiteX9" fmla="*/ 235172 w 307181"/>
                <a:gd name="connsiteY9" fmla="*/ 181451 h 464248"/>
                <a:gd name="connsiteX10" fmla="*/ 235172 w 307181"/>
                <a:gd name="connsiteY10" fmla="*/ 0 h 464248"/>
                <a:gd name="connsiteX11" fmla="*/ 307181 w 307181"/>
                <a:gd name="connsiteY11" fmla="*/ 0 h 464248"/>
                <a:gd name="connsiteX12" fmla="*/ 307181 w 307181"/>
                <a:gd name="connsiteY12" fmla="*/ 457105 h 464248"/>
                <a:gd name="connsiteX13" fmla="*/ 235172 w 307181"/>
                <a:gd name="connsiteY13" fmla="*/ 457105 h 464248"/>
                <a:gd name="connsiteX14" fmla="*/ 235172 w 307181"/>
                <a:gd name="connsiteY14" fmla="*/ 414337 h 464248"/>
                <a:gd name="connsiteX15" fmla="*/ 233934 w 307181"/>
                <a:gd name="connsiteY15" fmla="*/ 414337 h 464248"/>
                <a:gd name="connsiteX16" fmla="*/ 73533 w 307181"/>
                <a:gd name="connsiteY16" fmla="*/ 307277 h 464248"/>
                <a:gd name="connsiteX17" fmla="*/ 94678 w 307181"/>
                <a:gd name="connsiteY17" fmla="*/ 379762 h 464248"/>
                <a:gd name="connsiteX18" fmla="*/ 152876 w 307181"/>
                <a:gd name="connsiteY18" fmla="*/ 406146 h 464248"/>
                <a:gd name="connsiteX19" fmla="*/ 213360 w 307181"/>
                <a:gd name="connsiteY19" fmla="*/ 379952 h 464248"/>
                <a:gd name="connsiteX20" fmla="*/ 236125 w 307181"/>
                <a:gd name="connsiteY20" fmla="*/ 312420 h 464248"/>
                <a:gd name="connsiteX21" fmla="*/ 236125 w 307181"/>
                <a:gd name="connsiteY21" fmla="*/ 277749 h 464248"/>
                <a:gd name="connsiteX22" fmla="*/ 214312 w 307181"/>
                <a:gd name="connsiteY22" fmla="*/ 221932 h 464248"/>
                <a:gd name="connsiteX23" fmla="*/ 157448 w 307181"/>
                <a:gd name="connsiteY23" fmla="*/ 199358 h 464248"/>
                <a:gd name="connsiteX24" fmla="*/ 96107 w 307181"/>
                <a:gd name="connsiteY24" fmla="*/ 227552 h 464248"/>
                <a:gd name="connsiteX25" fmla="*/ 73533 w 307181"/>
                <a:gd name="connsiteY25" fmla="*/ 307277 h 4642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07181" h="464248">
                  <a:moveTo>
                    <a:pt x="233934" y="414242"/>
                  </a:moveTo>
                  <a:cubicBezTo>
                    <a:pt x="222694" y="430720"/>
                    <a:pt x="208598" y="443198"/>
                    <a:pt x="191548" y="451580"/>
                  </a:cubicBezTo>
                  <a:cubicBezTo>
                    <a:pt x="174593" y="460057"/>
                    <a:pt x="155067" y="464248"/>
                    <a:pt x="133255" y="464248"/>
                  </a:cubicBezTo>
                  <a:cubicBezTo>
                    <a:pt x="92011" y="464248"/>
                    <a:pt x="59531" y="450532"/>
                    <a:pt x="35719" y="423100"/>
                  </a:cubicBezTo>
                  <a:cubicBezTo>
                    <a:pt x="11906" y="395669"/>
                    <a:pt x="0" y="357949"/>
                    <a:pt x="0" y="309944"/>
                  </a:cubicBezTo>
                  <a:cubicBezTo>
                    <a:pt x="0" y="258318"/>
                    <a:pt x="13335" y="217265"/>
                    <a:pt x="39910" y="186785"/>
                  </a:cubicBezTo>
                  <a:cubicBezTo>
                    <a:pt x="66580" y="156305"/>
                    <a:pt x="102013" y="141065"/>
                    <a:pt x="146494" y="141065"/>
                  </a:cubicBezTo>
                  <a:cubicBezTo>
                    <a:pt x="165830" y="141065"/>
                    <a:pt x="183166" y="144970"/>
                    <a:pt x="198691" y="152686"/>
                  </a:cubicBezTo>
                  <a:cubicBezTo>
                    <a:pt x="214122" y="160401"/>
                    <a:pt x="225933" y="170021"/>
                    <a:pt x="233934" y="181451"/>
                  </a:cubicBezTo>
                  <a:lnTo>
                    <a:pt x="235172" y="181451"/>
                  </a:lnTo>
                  <a:lnTo>
                    <a:pt x="235172" y="0"/>
                  </a:lnTo>
                  <a:lnTo>
                    <a:pt x="307181" y="0"/>
                  </a:lnTo>
                  <a:lnTo>
                    <a:pt x="307181" y="457105"/>
                  </a:lnTo>
                  <a:lnTo>
                    <a:pt x="235172" y="457105"/>
                  </a:lnTo>
                  <a:lnTo>
                    <a:pt x="235172" y="414337"/>
                  </a:lnTo>
                  <a:lnTo>
                    <a:pt x="233934" y="414337"/>
                  </a:lnTo>
                  <a:close/>
                  <a:moveTo>
                    <a:pt x="73533" y="307277"/>
                  </a:moveTo>
                  <a:cubicBezTo>
                    <a:pt x="73533" y="338042"/>
                    <a:pt x="80581" y="362236"/>
                    <a:pt x="94678" y="379762"/>
                  </a:cubicBezTo>
                  <a:cubicBezTo>
                    <a:pt x="108776" y="397383"/>
                    <a:pt x="128111" y="406146"/>
                    <a:pt x="152876" y="406146"/>
                  </a:cubicBezTo>
                  <a:cubicBezTo>
                    <a:pt x="178022" y="406146"/>
                    <a:pt x="198120" y="397383"/>
                    <a:pt x="213360" y="379952"/>
                  </a:cubicBezTo>
                  <a:cubicBezTo>
                    <a:pt x="228505" y="362426"/>
                    <a:pt x="236125" y="339947"/>
                    <a:pt x="236125" y="312420"/>
                  </a:cubicBezTo>
                  <a:lnTo>
                    <a:pt x="236125" y="277749"/>
                  </a:lnTo>
                  <a:cubicBezTo>
                    <a:pt x="236125" y="255651"/>
                    <a:pt x="228790" y="237077"/>
                    <a:pt x="214312" y="221932"/>
                  </a:cubicBezTo>
                  <a:cubicBezTo>
                    <a:pt x="199739" y="206883"/>
                    <a:pt x="180785" y="199358"/>
                    <a:pt x="157448" y="199358"/>
                  </a:cubicBezTo>
                  <a:cubicBezTo>
                    <a:pt x="131540" y="199358"/>
                    <a:pt x="111061" y="208788"/>
                    <a:pt x="96107" y="227552"/>
                  </a:cubicBezTo>
                  <a:cubicBezTo>
                    <a:pt x="81058" y="246316"/>
                    <a:pt x="73533" y="272891"/>
                    <a:pt x="73533" y="30727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</p:grpSp>
      <p:pic>
        <p:nvPicPr>
          <p:cNvPr id="2" name="Picture 1">
            <a:extLst>
              <a:ext uri="{FF2B5EF4-FFF2-40B4-BE49-F238E27FC236}">
                <a16:creationId xmlns:a16="http://schemas.microsoft.com/office/drawing/2014/main" id="{0855DFC2-5851-DE11-DBE1-A1BE504287E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008" y="0"/>
            <a:ext cx="12188991" cy="6858000"/>
          </a:xfrm>
          <a:prstGeom prst="rect">
            <a:avLst/>
          </a:prstGeom>
        </p:spPr>
      </p:pic>
      <p:pic>
        <p:nvPicPr>
          <p:cNvPr id="3" name="Picture 2" descr="A close up of a sign&#10;&#10;AI-generated content may be incorrect.">
            <a:extLst>
              <a:ext uri="{FF2B5EF4-FFF2-40B4-BE49-F238E27FC236}">
                <a16:creationId xmlns:a16="http://schemas.microsoft.com/office/drawing/2014/main" id="{8710AA7E-0B6F-AAC5-5D52-5EF4737A1BF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465" y="2703056"/>
            <a:ext cx="3376457" cy="1514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1005486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228430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log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 descr="This is a copyright notice that should be included on the final slide."/>
          <p:cNvSpPr txBox="1">
            <a:spLocks noChangeArrowheads="1"/>
          </p:cNvSpPr>
          <p:nvPr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>
                <a:solidFill>
                  <a:schemeClr val="tx1"/>
                </a:soli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5" name="MS logo white - EMF" descr="Microsoft logo white text version">
            <a:extLst>
              <a:ext uri="{FF2B5EF4-FFF2-40B4-BE49-F238E27FC236}">
                <a16:creationId xmlns:a16="http://schemas.microsoft.com/office/drawing/2014/main" id="{70D3778F-A717-44C8-9013-FF206B15DD6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25757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ck Note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>
            <a:spAutoFit/>
          </a:bodyPr>
          <a:lstStyle>
            <a:lvl1pPr>
              <a:defRPr sz="36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69038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solidFill>
                  <a:srgbClr val="000000"/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64980568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288">
          <p15:clr>
            <a:srgbClr val="5ACBF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st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E530C24-163F-15BF-3D01-A8CA8BF268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5226381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DB78E58A-F050-2D4C-8CDE-EE12DA3AD3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008" y="0"/>
            <a:ext cx="12188991" cy="6858000"/>
          </a:xfrm>
          <a:prstGeom prst="rect">
            <a:avLst/>
          </a:prstGeom>
        </p:spPr>
      </p:pic>
      <p:pic>
        <p:nvPicPr>
          <p:cNvPr id="5" name="Picture 4" descr="A close up of a sign&#10;&#10;AI-generated content may be incorrect.">
            <a:extLst>
              <a:ext uri="{FF2B5EF4-FFF2-40B4-BE49-F238E27FC236}">
                <a16:creationId xmlns:a16="http://schemas.microsoft.com/office/drawing/2014/main" id="{8DBF2036-0A95-6172-2982-A3932BB20C6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465" y="2703056"/>
            <a:ext cx="3376457" cy="1514143"/>
          </a:xfrm>
          <a:prstGeom prst="rect">
            <a:avLst/>
          </a:prstGeom>
        </p:spPr>
      </p:pic>
      <p:pic>
        <p:nvPicPr>
          <p:cNvPr id="7" name="MS logo white - EMF" descr="Microsoft logo white text version">
            <a:extLst>
              <a:ext uri="{FF2B5EF4-FFF2-40B4-BE49-F238E27FC236}">
                <a16:creationId xmlns:a16="http://schemas.microsoft.com/office/drawing/2014/main" id="{0F892706-E514-9308-1054-E66D5F13054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8379424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84454093-2407-868E-D935-592C706F24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008" y="0"/>
            <a:ext cx="12188991" cy="6858000"/>
          </a:xfrm>
          <a:prstGeom prst="rect">
            <a:avLst/>
          </a:prstGeom>
        </p:spPr>
      </p:pic>
      <p:pic>
        <p:nvPicPr>
          <p:cNvPr id="4" name="MS logo white - EMF" descr="Microsoft logo white text version">
            <a:extLst>
              <a:ext uri="{FF2B5EF4-FFF2-40B4-BE49-F238E27FC236}">
                <a16:creationId xmlns:a16="http://schemas.microsoft.com/office/drawing/2014/main" id="{C92DC79C-790E-8B3B-3A8A-E29B953EF5B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584200" y="2425780"/>
            <a:ext cx="5577840" cy="1107996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000" b="0" kern="1200" cap="none" spc="-50" baseline="0" dirty="0">
                <a:ln w="3175">
                  <a:noFill/>
                </a:ln>
                <a:solidFill>
                  <a:srgbClr val="FAE4A2"/>
                </a:solidFill>
                <a:effectLst/>
                <a:latin typeface="Segoe Sans Display Semibold" pitchFamily="2" charset="0"/>
                <a:ea typeface="+mn-ea"/>
                <a:cs typeface="Segoe Sans Display Semibold" pitchFamily="2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84200" y="3962400"/>
            <a:ext cx="5577840" cy="276999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800" spc="0" baseline="0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</p:spTree>
    <p:extLst>
      <p:ext uri="{BB962C8B-B14F-4D97-AF65-F5344CB8AC3E}">
        <p14:creationId xmlns:p14="http://schemas.microsoft.com/office/powerpoint/2010/main" val="21041745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44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2">
    <p:bg>
      <p:bgPr>
        <a:solidFill>
          <a:srgbClr val="E1D3C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18223"/>
            <a:ext cx="9144000" cy="615553"/>
          </a:xfrm>
          <a:noFill/>
        </p:spPr>
        <p:txBody>
          <a:bodyPr lIns="0" tIns="0" rIns="0" bIns="0" anchor="b" anchorCtr="0">
            <a:spAutoFit/>
          </a:bodyPr>
          <a:lstStyle>
            <a:lvl1pPr>
              <a:defRPr sz="4000" spc="-50" baseline="0">
                <a:solidFill>
                  <a:schemeClr val="tx1"/>
                </a:solidFill>
                <a:latin typeface="Segoe Sans Display Semibold" pitchFamily="2" charset="0"/>
                <a:cs typeface="Segoe Sans Display Semibold" pitchFamily="2" charset="0"/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9144000" cy="276999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800" spc="0" baseline="0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  <p:pic>
        <p:nvPicPr>
          <p:cNvPr id="6" name="MS logo gray - EMF" descr="Microsoft logo, gray text version">
            <a:extLst>
              <a:ext uri="{FF2B5EF4-FFF2-40B4-BE49-F238E27FC236}">
                <a16:creationId xmlns:a16="http://schemas.microsoft.com/office/drawing/2014/main" id="{3B0D12AE-ADCF-1091-117F-BB03F7EC506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47440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8A212C2-8B30-4835-8711-AA981B6CFBE1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84200" y="1435100"/>
            <a:ext cx="11018838" cy="48339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F9662A5-6E2F-47B0-9B6E-E87983D375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97416153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2852091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4B7A288-CDAC-4184-9F73-137C95F5E64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84200" y="1435100"/>
            <a:ext cx="5211763" cy="48339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CEC22105-78D6-4753-94FA-3DA949361A9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389688" y="1435100"/>
            <a:ext cx="5219700" cy="48339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F6A123D-3A27-499F-9210-3E0D7CED39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152548002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  <p15:guide id="4" pos="3660">
          <p15:clr>
            <a:srgbClr val="5ACBF0"/>
          </p15:clr>
        </p15:guide>
        <p15:guide id="5" pos="4024">
          <p15:clr>
            <a:srgbClr val="5ACBF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0171571D-4F20-760E-4650-93208D05DE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008" y="0"/>
            <a:ext cx="12188991" cy="6858000"/>
          </a:xfrm>
          <a:prstGeom prst="rect">
            <a:avLst/>
          </a:prstGeom>
        </p:spPr>
      </p:pic>
      <p:pic>
        <p:nvPicPr>
          <p:cNvPr id="6" name="MS logo white - EMF" descr="Microsoft logo white text version">
            <a:extLst>
              <a:ext uri="{FF2B5EF4-FFF2-40B4-BE49-F238E27FC236}">
                <a16:creationId xmlns:a16="http://schemas.microsoft.com/office/drawing/2014/main" id="{F3D32143-8D5B-F5D7-A6C7-4A6F53A1B1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12DCC7F6-DD70-02A9-EEDC-DE5CA7E395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584200" y="2425780"/>
            <a:ext cx="5577840" cy="1107996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000" b="0" kern="1200" cap="none" spc="-50" baseline="0" dirty="0">
                <a:ln w="3175">
                  <a:noFill/>
                </a:ln>
                <a:solidFill>
                  <a:srgbClr val="FAE4A2"/>
                </a:solidFill>
                <a:effectLst/>
                <a:latin typeface="Segoe Sans Display Semibold" pitchFamily="2" charset="0"/>
                <a:ea typeface="+mn-ea"/>
                <a:cs typeface="Segoe Sans Display Semibold" pitchFamily="2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Event name or presentation title 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B897D6FF-243D-7C31-5033-59043F0EC51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84200" y="3962400"/>
            <a:ext cx="5577840" cy="276999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800" spc="0" baseline="0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</p:spTree>
    <p:extLst>
      <p:ext uri="{BB962C8B-B14F-4D97-AF65-F5344CB8AC3E}">
        <p14:creationId xmlns:p14="http://schemas.microsoft.com/office/powerpoint/2010/main" val="10915609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44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1153179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  <p15:guide id="4" pos="3656">
          <p15:clr>
            <a:srgbClr val="5ACBF0"/>
          </p15:clr>
        </p15:guide>
        <p15:guide id="5" pos="4024">
          <p15:clr>
            <a:srgbClr val="5ACBF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Bullet with Subhea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D525736-DEE8-4391-8135-23DE0640053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1436688"/>
            <a:ext cx="5219700" cy="430887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8E90344-0294-48E2-AAF0-601BB99500E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84200" y="2084388"/>
            <a:ext cx="5219700" cy="1612749"/>
          </a:xfrm>
        </p:spPr>
        <p:txBody>
          <a:bodyPr>
            <a:spAutoFit/>
          </a:bodyPr>
          <a:lstStyle>
            <a:lvl1pPr marL="171450" indent="-171450">
              <a:defRPr lang="en-US" sz="2400" dirty="0"/>
            </a:lvl1pPr>
            <a:lvl2pPr marL="342900" indent="-171450">
              <a:defRPr lang="en-US" dirty="0"/>
            </a:lvl2pPr>
            <a:lvl3pPr marL="514350" indent="-171450">
              <a:defRPr lang="en-US" dirty="0"/>
            </a:lvl3pPr>
            <a:lvl4pPr marL="666750" indent="-152400">
              <a:defRPr lang="en-US" dirty="0"/>
            </a:lvl4pPr>
            <a:lvl5pPr marL="793750" indent="-120650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B4F729D4-B1F1-45F2-A06A-40234B19C88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97625" y="1436688"/>
            <a:ext cx="5219700" cy="430887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1F896FB-325C-4849-B372-8DF0D6C0562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97625" y="2084388"/>
            <a:ext cx="5219700" cy="1612749"/>
          </a:xfrm>
        </p:spPr>
        <p:txBody>
          <a:bodyPr>
            <a:spAutoFit/>
          </a:bodyPr>
          <a:lstStyle>
            <a:lvl1pPr marL="171450" indent="-171450">
              <a:defRPr lang="en-US" sz="2400" dirty="0"/>
            </a:lvl1pPr>
            <a:lvl2pPr marL="342900" indent="-171450">
              <a:defRPr lang="en-US" dirty="0"/>
            </a:lvl2pPr>
            <a:lvl3pPr marL="514350" indent="-171450">
              <a:defRPr lang="en-US" dirty="0"/>
            </a:lvl3pPr>
            <a:lvl4pPr marL="685800" indent="-136525">
              <a:defRPr lang="en-US" dirty="0"/>
            </a:lvl4pPr>
            <a:lvl5pPr marL="793750" indent="-120650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7193602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311">
          <p15:clr>
            <a:srgbClr val="5ACBF0"/>
          </p15:clr>
        </p15:guide>
        <p15:guide id="4" pos="3656">
          <p15:clr>
            <a:srgbClr val="5ACBF0"/>
          </p15:clr>
        </p15:guide>
        <p15:guide id="5" pos="4024">
          <p15:clr>
            <a:srgbClr val="5ACBF0"/>
          </p15:clr>
        </p15:guide>
        <p15:guide id="7" orient="horz" pos="905">
          <p15:clr>
            <a:srgbClr val="5ACBF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Content with Subhea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C2759870-0BEA-44DC-A414-1C70D04E35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1436688"/>
            <a:ext cx="5219700" cy="430887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BFEF95FA-F121-4653-B60A-0D068C34546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88963" y="2081212"/>
            <a:ext cx="5214937" cy="4187825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C327262A-D327-4189-AD22-BAD67CF4AB7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97625" y="1436688"/>
            <a:ext cx="5219700" cy="430887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14">
            <a:extLst>
              <a:ext uri="{FF2B5EF4-FFF2-40B4-BE49-F238E27FC236}">
                <a16:creationId xmlns:a16="http://schemas.microsoft.com/office/drawing/2014/main" id="{47F8EAA9-0E64-4589-A234-BC31685BE7D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394451" y="2081212"/>
            <a:ext cx="5214937" cy="4187825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FADFBB8-E1C1-D5AB-8154-CBA2D9EFB6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299241371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311">
          <p15:clr>
            <a:srgbClr val="5ACBF0"/>
          </p15:clr>
        </p15:guide>
        <p15:guide id="4" pos="3656">
          <p15:clr>
            <a:srgbClr val="5ACBF0"/>
          </p15:clr>
        </p15:guide>
        <p15:guide id="5" pos="4024">
          <p15:clr>
            <a:srgbClr val="5ACBF0"/>
          </p15:clr>
        </p15:guide>
        <p15:guide id="7" orient="horz" pos="905">
          <p15:clr>
            <a:srgbClr val="5ACBF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 Bullet with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260F77E-464D-46F7-A8F8-6F281DAB0C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CB20F198-3776-433D-85A8-C2B6AC6235F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5217" y="1438275"/>
            <a:ext cx="3264408" cy="677108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97BC59AA-6CF8-4091-8008-21AA9AD8E8B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85217" y="2390775"/>
            <a:ext cx="3264408" cy="1760482"/>
          </a:xfrm>
        </p:spPr>
        <p:txBody>
          <a:bodyPr wrap="square">
            <a:spAutoFit/>
          </a:bodyPr>
          <a:lstStyle>
            <a:lvl1pPr marL="176213" indent="-176213">
              <a:defRPr lang="en-US" sz="2000" dirty="0"/>
            </a:lvl1pPr>
            <a:lvl2pPr marL="322263" indent="-150813">
              <a:defRPr lang="en-US" sz="1800" dirty="0"/>
            </a:lvl2pPr>
            <a:lvl3pPr marL="466725" indent="-138113">
              <a:defRPr lang="en-US" dirty="0"/>
            </a:lvl3pPr>
            <a:lvl4pPr marL="595313" indent="-128588">
              <a:defRPr lang="en-US" dirty="0"/>
            </a:lvl4pPr>
            <a:lvl5pPr marL="731838" indent="-1222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BECED387-BA3E-49B2-8F1E-0E371E09E0A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463796" y="1438275"/>
            <a:ext cx="3264408" cy="677108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6B26A1CD-81F9-4C2F-896F-E69757C6658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463796" y="2384135"/>
            <a:ext cx="3264408" cy="1760482"/>
          </a:xfrm>
        </p:spPr>
        <p:txBody>
          <a:bodyPr wrap="square">
            <a:spAutoFit/>
          </a:bodyPr>
          <a:lstStyle>
            <a:lvl1pPr marL="176213" indent="-176213">
              <a:defRPr lang="en-US" sz="2000" dirty="0"/>
            </a:lvl1pPr>
            <a:lvl2pPr marL="398463" indent="-169863">
              <a:defRPr lang="en-US" sz="1800" dirty="0"/>
            </a:lvl2pPr>
            <a:lvl3pPr marL="555625" indent="-157163">
              <a:defRPr lang="en-US" dirty="0"/>
            </a:lvl3pPr>
            <a:lvl4pPr marL="685800" indent="-136525">
              <a:defRPr lang="en-US" dirty="0"/>
            </a:lvl4pPr>
            <a:lvl5pPr marL="800100" indent="-111125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11">
            <a:extLst>
              <a:ext uri="{FF2B5EF4-FFF2-40B4-BE49-F238E27FC236}">
                <a16:creationId xmlns:a16="http://schemas.microsoft.com/office/drawing/2014/main" id="{79263A4B-A9A8-4CE5-96A8-6F6EC365E5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342375" y="1438275"/>
            <a:ext cx="3264408" cy="677108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2205743D-F71A-4647-9BE4-2900BDA2582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342375" y="2390775"/>
            <a:ext cx="3264408" cy="1760482"/>
          </a:xfrm>
        </p:spPr>
        <p:txBody>
          <a:bodyPr wrap="square">
            <a:spAutoFit/>
          </a:bodyPr>
          <a:lstStyle>
            <a:lvl1pPr marL="176213" indent="-176213">
              <a:defRPr lang="en-US" sz="2000" dirty="0"/>
            </a:lvl1pPr>
            <a:lvl2pPr marL="398463" indent="-169863">
              <a:defRPr lang="en-US" sz="1800" dirty="0"/>
            </a:lvl2pPr>
            <a:lvl3pPr marL="555625" indent="-157163">
              <a:defRPr lang="en-US" dirty="0"/>
            </a:lvl3pPr>
            <a:lvl4pPr marL="685800" indent="-136525">
              <a:defRPr lang="en-US" dirty="0"/>
            </a:lvl4pPr>
            <a:lvl5pPr marL="800100" indent="-111125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98363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1506">
          <p15:clr>
            <a:srgbClr val="5ACBF0"/>
          </p15:clr>
        </p15:guide>
        <p15:guide id="4" orient="horz" pos="90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2430">
          <p15:clr>
            <a:srgbClr val="5ACBF0"/>
          </p15:clr>
        </p15:guide>
        <p15:guide id="7" pos="2811">
          <p15:clr>
            <a:srgbClr val="5ACBF0"/>
          </p15:clr>
        </p15:guide>
        <p15:guide id="8" pos="4871">
          <p15:clr>
            <a:srgbClr val="5ACBF0"/>
          </p15:clr>
        </p15:guide>
        <p15:guide id="9" pos="5251">
          <p15:clr>
            <a:srgbClr val="5ACBF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lumn Bullet with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7A434B7-D4B9-4D45-A31C-F0CC4D2279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11">
            <a:extLst>
              <a:ext uri="{FF2B5EF4-FFF2-40B4-BE49-F238E27FC236}">
                <a16:creationId xmlns:a16="http://schemas.microsoft.com/office/drawing/2014/main" id="{92783506-927E-48F7-8EFC-36257F3E281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1438275"/>
            <a:ext cx="2532063" cy="61555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FB6093D3-3EDF-4A80-8450-C5EBB199077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84200" y="2283115"/>
            <a:ext cx="2532063" cy="1698927"/>
          </a:xfrm>
        </p:spPr>
        <p:txBody>
          <a:bodyPr wrap="square">
            <a:spAutoFit/>
          </a:bodyPr>
          <a:lstStyle>
            <a:lvl1pPr marL="141288" indent="-141288">
              <a:defRPr lang="en-US" sz="1800" dirty="0"/>
            </a:lvl1pPr>
            <a:lvl2pPr marL="285750" indent="-125413">
              <a:defRPr lang="en-US" sz="1600" dirty="0"/>
            </a:lvl2pPr>
            <a:lvl3pPr marL="438150" indent="-133350">
              <a:defRPr lang="en-US" dirty="0"/>
            </a:lvl3pPr>
            <a:lvl4pPr marL="566738" indent="-114300">
              <a:defRPr lang="en-US" dirty="0"/>
            </a:lvl4pPr>
            <a:lvl5pPr marL="685800" indent="-1095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11">
            <a:extLst>
              <a:ext uri="{FF2B5EF4-FFF2-40B4-BE49-F238E27FC236}">
                <a16:creationId xmlns:a16="http://schemas.microsoft.com/office/drawing/2014/main" id="{438D2C80-6884-451D-8D7D-B69022CCC5C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13125" y="1438275"/>
            <a:ext cx="2533650" cy="61555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7614A884-0AD6-4A85-A432-2B13E7464DA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413125" y="2276475"/>
            <a:ext cx="2532063" cy="1698927"/>
          </a:xfrm>
        </p:spPr>
        <p:txBody>
          <a:bodyPr wrap="square">
            <a:spAutoFit/>
          </a:bodyPr>
          <a:lstStyle>
            <a:lvl1pPr marL="141288" indent="-141288">
              <a:defRPr lang="en-US" sz="1800" dirty="0"/>
            </a:lvl1pPr>
            <a:lvl2pPr marL="285750" indent="-125413">
              <a:defRPr lang="en-US" sz="1600" dirty="0"/>
            </a:lvl2pPr>
            <a:lvl3pPr marL="438150" indent="-133350">
              <a:defRPr lang="en-US" dirty="0"/>
            </a:lvl3pPr>
            <a:lvl4pPr marL="566738" indent="-114300">
              <a:defRPr lang="en-US" dirty="0"/>
            </a:lvl4pPr>
            <a:lvl5pPr marL="685800" indent="-1095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1">
            <a:extLst>
              <a:ext uri="{FF2B5EF4-FFF2-40B4-BE49-F238E27FC236}">
                <a16:creationId xmlns:a16="http://schemas.microsoft.com/office/drawing/2014/main" id="{7D8FFDED-9FE5-4D94-8EB0-7D645C10FBF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4208" y="1438275"/>
            <a:ext cx="2532063" cy="61555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D429D954-9297-44FA-B7BD-56586012419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44208" y="2283115"/>
            <a:ext cx="2532063" cy="1698927"/>
          </a:xfrm>
        </p:spPr>
        <p:txBody>
          <a:bodyPr wrap="square">
            <a:spAutoFit/>
          </a:bodyPr>
          <a:lstStyle>
            <a:lvl1pPr marL="141288" indent="-141288">
              <a:defRPr lang="en-US" sz="1800" dirty="0"/>
            </a:lvl1pPr>
            <a:lvl2pPr marL="285750" indent="-125413">
              <a:defRPr lang="en-US" sz="1600" dirty="0"/>
            </a:lvl2pPr>
            <a:lvl3pPr marL="438150" indent="-133350">
              <a:defRPr lang="en-US" dirty="0"/>
            </a:lvl3pPr>
            <a:lvl4pPr marL="566738" indent="-114300">
              <a:defRPr lang="en-US" dirty="0"/>
            </a:lvl4pPr>
            <a:lvl5pPr marL="685800" indent="-1095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Text Placeholder 11">
            <a:extLst>
              <a:ext uri="{FF2B5EF4-FFF2-40B4-BE49-F238E27FC236}">
                <a16:creationId xmlns:a16="http://schemas.microsoft.com/office/drawing/2014/main" id="{04D43B0D-50F8-4F63-AFA3-34A46F42E81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073133" y="1438275"/>
            <a:ext cx="2533650" cy="61555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804CEFDA-6A6F-42D3-B65C-4BE1054C905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073133" y="2276475"/>
            <a:ext cx="2532063" cy="1698927"/>
          </a:xfrm>
        </p:spPr>
        <p:txBody>
          <a:bodyPr wrap="square">
            <a:spAutoFit/>
          </a:bodyPr>
          <a:lstStyle>
            <a:lvl1pPr marL="141288" indent="-141288">
              <a:defRPr lang="en-US" sz="1800" dirty="0"/>
            </a:lvl1pPr>
            <a:lvl2pPr marL="285750" indent="-125413">
              <a:defRPr lang="en-US" sz="1600" dirty="0"/>
            </a:lvl2pPr>
            <a:lvl3pPr marL="438150" indent="-133350">
              <a:defRPr lang="en-US" dirty="0"/>
            </a:lvl3pPr>
            <a:lvl4pPr marL="566738" indent="-114300">
              <a:defRPr lang="en-US" dirty="0"/>
            </a:lvl4pPr>
            <a:lvl5pPr marL="685800" indent="-1095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1954398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4" orient="horz" pos="90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1963">
          <p15:clr>
            <a:srgbClr val="5ACBF0"/>
          </p15:clr>
        </p15:guide>
        <p15:guide id="7" pos="2150">
          <p15:clr>
            <a:srgbClr val="5ACBF0"/>
          </p15:clr>
        </p15:guide>
        <p15:guide id="8" pos="3746">
          <p15:clr>
            <a:srgbClr val="5ACBF0"/>
          </p15:clr>
        </p15:guide>
        <p15:guide id="9" pos="3934">
          <p15:clr>
            <a:srgbClr val="5ACBF0"/>
          </p15:clr>
        </p15:guide>
        <p15:guide id="10" pos="5530">
          <p15:clr>
            <a:srgbClr val="5ACBF0"/>
          </p15:clr>
        </p15:guide>
        <p15:guide id="11" pos="5716">
          <p15:clr>
            <a:srgbClr val="5ACBF0"/>
          </p15:clr>
        </p15:guide>
        <p15:guide id="12" orient="horz" pos="1436">
          <p15:clr>
            <a:srgbClr val="5ACBF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ve Column Bullet with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7A434B7-D4B9-4D45-A31C-F0CC4D2279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11">
            <a:extLst>
              <a:ext uri="{FF2B5EF4-FFF2-40B4-BE49-F238E27FC236}">
                <a16:creationId xmlns:a16="http://schemas.microsoft.com/office/drawing/2014/main" id="{92783506-927E-48F7-8EFC-36257F3E28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4200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FB6093D3-3EDF-4A80-8450-C5EBB199077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84200" y="228311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11">
            <a:extLst>
              <a:ext uri="{FF2B5EF4-FFF2-40B4-BE49-F238E27FC236}">
                <a16:creationId xmlns:a16="http://schemas.microsoft.com/office/drawing/2014/main" id="{438D2C80-6884-451D-8D7D-B69022CCC5C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49007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7614A884-0AD6-4A85-A432-2B13E7464DA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849007" y="227647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1">
            <a:extLst>
              <a:ext uri="{FF2B5EF4-FFF2-40B4-BE49-F238E27FC236}">
                <a16:creationId xmlns:a16="http://schemas.microsoft.com/office/drawing/2014/main" id="{7D8FFDED-9FE5-4D94-8EB0-7D645C10FBF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3814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D429D954-9297-44FA-B7BD-56586012419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113814" y="228311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Text Placeholder 11">
            <a:extLst>
              <a:ext uri="{FF2B5EF4-FFF2-40B4-BE49-F238E27FC236}">
                <a16:creationId xmlns:a16="http://schemas.microsoft.com/office/drawing/2014/main" id="{04D43B0D-50F8-4F63-AFA3-34A46F42E81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378621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804CEFDA-6A6F-42D3-B65C-4BE1054C905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378621" y="227647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540485AC-5036-400C-92C3-D3E9EC0252B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643428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F90290A2-7689-4DF5-971A-36C2D917341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43428" y="227647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5331592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4" orient="horz" pos="90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1610">
          <p15:clr>
            <a:srgbClr val="5ACBF0"/>
          </p15:clr>
        </p15:guide>
        <p15:guide id="7" pos="1795">
          <p15:clr>
            <a:srgbClr val="5ACBF0"/>
          </p15:clr>
        </p15:guide>
        <p15:guide id="8" pos="3035">
          <p15:clr>
            <a:srgbClr val="5ACBF0"/>
          </p15:clr>
        </p15:guide>
        <p15:guide id="9" pos="3221">
          <p15:clr>
            <a:srgbClr val="5ACBF0"/>
          </p15:clr>
        </p15:guide>
        <p15:guide id="10" pos="4461">
          <p15:clr>
            <a:srgbClr val="5ACBF0"/>
          </p15:clr>
        </p15:guide>
        <p15:guide id="11" pos="5890">
          <p15:clr>
            <a:srgbClr val="5ACBF0"/>
          </p15:clr>
        </p15:guide>
        <p15:guide id="12" orient="horz" pos="1436">
          <p15:clr>
            <a:srgbClr val="5ACBF0"/>
          </p15:clr>
        </p15:guide>
        <p15:guide id="13" pos="4646">
          <p15:clr>
            <a:srgbClr val="5ACBF0"/>
          </p15:clr>
        </p15:guide>
        <p15:guide id="14" pos="6072">
          <p15:clr>
            <a:srgbClr val="5ACBF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AAD849-7CFE-4AF7-A7C5-6BBD50C88C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9070701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left s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AAD849-7CFE-4AF7-A7C5-6BBD50C88C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4" y="2875002"/>
            <a:ext cx="4127692" cy="1107996"/>
          </a:xfrm>
        </p:spPr>
        <p:txBody>
          <a:bodyPr wrap="square" anchor="ctr">
            <a:sp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1558029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30" orient="horz" pos="288">
          <p15:clr>
            <a:srgbClr val="5ACBF0"/>
          </p15:clr>
        </p15:guide>
        <p15:guide id="32" orient="horz" pos="2160">
          <p15:clr>
            <a:srgbClr val="5ACBF0"/>
          </p15:clr>
        </p15:guide>
        <p15:guide id="33" pos="2976">
          <p15:clr>
            <a:srgbClr val="5ACBF0"/>
          </p15:clr>
        </p15:guide>
        <p15:guide id="34" pos="3336">
          <p15:clr>
            <a:srgbClr val="5ACBF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8844268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52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  <p15:guide id="31" pos="3840">
          <p15:clr>
            <a:srgbClr val="5ACBF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35C9167-B5C7-4834-AC78-240C8C3EF1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588963"/>
            <a:ext cx="4158362" cy="2535236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Title square photo layout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3535540"/>
            <a:ext cx="4162425" cy="2733497"/>
          </a:xfrm>
        </p:spPr>
        <p:txBody>
          <a:bodyPr/>
          <a:lstStyle>
            <a:lvl1pPr marL="0" indent="0">
              <a:buNone/>
              <a:defRPr sz="2200">
                <a:latin typeface="+mn-lt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2E18FD0C-FA99-4937-92CD-5CF7F279CD8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5334000" y="0"/>
            <a:ext cx="6858000" cy="6858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lIns="0" tIns="237744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6BDF4B0-32EF-4DA8-9A83-B73DD83105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359871467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5ACBF0"/>
          </p15:clr>
        </p15:guide>
        <p15:guide id="7" orient="horz" pos="1968">
          <p15:clr>
            <a:srgbClr val="5ACBF0"/>
          </p15:clr>
        </p15:guide>
        <p15:guide id="8" orient="horz" pos="2226">
          <p15:clr>
            <a:srgbClr val="5ACBF0"/>
          </p15:clr>
        </p15:guide>
        <p15:guide id="10" pos="3729">
          <p15:clr>
            <a:srgbClr val="C35EA4"/>
          </p15:clr>
        </p15:guide>
        <p15:guide id="11" pos="2993">
          <p15:clr>
            <a:srgbClr val="5ACBF0"/>
          </p15:clr>
        </p15:guide>
        <p15:guide id="12" pos="3543">
          <p15:clr>
            <a:srgbClr val="A4A3A4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18223"/>
            <a:ext cx="9144000" cy="615553"/>
          </a:xfrm>
          <a:noFill/>
        </p:spPr>
        <p:txBody>
          <a:bodyPr lIns="0" tIns="0" rIns="0" bIns="0" anchor="b" anchorCtr="0">
            <a:spAutoFit/>
          </a:bodyPr>
          <a:lstStyle>
            <a:lvl1pPr>
              <a:defRPr sz="4000" spc="-50" baseline="0">
                <a:solidFill>
                  <a:schemeClr val="tx1"/>
                </a:solidFill>
                <a:latin typeface="Segoe Sans Display Semibold" pitchFamily="2" charset="0"/>
                <a:cs typeface="Segoe Sans Display Semibold" pitchFamily="2" charset="0"/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9144000" cy="276999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800" spc="0" baseline="0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  <p:pic>
        <p:nvPicPr>
          <p:cNvPr id="2" name="MS logo white - EMF" descr="Microsoft logo white text version">
            <a:extLst>
              <a:ext uri="{FF2B5EF4-FFF2-40B4-BE49-F238E27FC236}">
                <a16:creationId xmlns:a16="http://schemas.microsoft.com/office/drawing/2014/main" id="{74FE235F-02A3-CF25-8716-2552AE8442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769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B92DE97-5F35-4963-AC7A-96FEB98062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5788"/>
            <a:ext cx="4159950" cy="5683249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EB5B31F-7AD9-4BC6-8D61-62AD8011666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5334000" y="0"/>
            <a:ext cx="6858000" cy="6858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lIns="0" tIns="237744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A09A47B-FEF5-47F3-B2DD-A73E7C3234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334885638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5ACBF0"/>
          </p15:clr>
        </p15:guide>
        <p15:guide id="5" orient="horz" pos="2160">
          <p15:clr>
            <a:srgbClr val="5ACBF0"/>
          </p15:clr>
        </p15:guide>
        <p15:guide id="6" pos="2991">
          <p15:clr>
            <a:srgbClr val="5ACBF0"/>
          </p15:clr>
        </p15:guide>
        <p15:guide id="7" pos="3728">
          <p15:clr>
            <a:srgbClr val="C35EA4"/>
          </p15:clr>
        </p15:guide>
        <p15:guide id="8" pos="3544">
          <p15:clr>
            <a:srgbClr val="A4A3A4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quare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4E2C6C6-B442-4DE7-9C6C-405B900531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2979738"/>
            <a:ext cx="4163125" cy="3289300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Square photo layout with smaller text</a:t>
            </a:r>
          </a:p>
        </p:txBody>
      </p:sp>
      <p:sp>
        <p:nvSpPr>
          <p:cNvPr id="4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3EBEAA94-C151-43DE-8A5A-09E8A930427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5334000" y="0"/>
            <a:ext cx="6858000" cy="6858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lIns="0" tIns="237744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C2F1290-9237-4BEE-AAAC-6708F28626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56159996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5ACBF0"/>
          </p15:clr>
        </p15:guide>
        <p15:guide id="3" orient="horz" pos="1877">
          <p15:clr>
            <a:srgbClr val="5ACBF0"/>
          </p15:clr>
        </p15:guide>
        <p15:guide id="4" pos="3731">
          <p15:clr>
            <a:srgbClr val="C35EA4"/>
          </p15:clr>
        </p15:guide>
        <p15:guide id="5" pos="2993">
          <p15:clr>
            <a:srgbClr val="5ACBF0"/>
          </p15:clr>
        </p15:guide>
        <p15:guide id="6" pos="3547">
          <p15:clr>
            <a:srgbClr val="A4A3A4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full bleed lower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A608AEF-BE66-4029-BA63-DA15E89C329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ltGray">
          <a:xfrm>
            <a:off x="0" y="0"/>
            <a:ext cx="12192000" cy="6858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none" bIns="1554480" anchor="ctr">
            <a:noAutofit/>
          </a:bodyPr>
          <a:lstStyle>
            <a:lvl1pPr marL="0" indent="0" algn="ctr">
              <a:buNone/>
              <a:defRPr sz="1400" b="1">
                <a:solidFill>
                  <a:srgbClr val="000000"/>
                </a:solidFill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033AC47-6988-4AF2-AB7A-F400B9B8392F}"/>
              </a:ext>
            </a:extLst>
          </p:cNvPr>
          <p:cNvSpPr>
            <a:spLocks noGrp="1"/>
          </p:cNvSpPr>
          <p:nvPr>
            <p:ph type="title"/>
          </p:nvPr>
        </p:nvSpPr>
        <p:spPr bwMode="ltGray">
          <a:xfrm>
            <a:off x="0" y="3657600"/>
            <a:ext cx="12192000" cy="3200400"/>
          </a:xfrm>
          <a:gradFill flip="none" rotWithShape="1">
            <a:gsLst>
              <a:gs pos="40000">
                <a:srgbClr val="000000">
                  <a:alpha val="70000"/>
                </a:srgbClr>
              </a:gs>
              <a:gs pos="100000">
                <a:srgbClr val="000000">
                  <a:alpha val="0"/>
                </a:srgbClr>
              </a:gs>
            </a:gsLst>
            <a:lin ang="16200000" scaled="1"/>
            <a:tileRect/>
          </a:gradFill>
        </p:spPr>
        <p:txBody>
          <a:bodyPr lIns="585216" tIns="585216" rIns="585216" bIns="585216" anchor="b" anchorCtr="0">
            <a:noAutofit/>
          </a:bodyPr>
          <a:lstStyle>
            <a:lvl1pPr>
              <a:defRPr sz="3600" spc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3F619C2-B134-493A-AB9F-5DE39C9299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191082684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304">
          <p15:clr>
            <a:srgbClr val="5ACBF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full bleed lef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A608AEF-BE66-4029-BA63-DA15E89C329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ltGray">
          <a:xfrm>
            <a:off x="0" y="0"/>
            <a:ext cx="12192000" cy="6858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none" bIns="1554480" anchor="ctr">
            <a:noAutofit/>
          </a:bodyPr>
          <a:lstStyle>
            <a:lvl1pPr marL="0" indent="0" algn="ctr">
              <a:buNone/>
              <a:defRPr sz="1400" b="1">
                <a:solidFill>
                  <a:srgbClr val="000000"/>
                </a:solidFill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033AC47-6988-4AF2-AB7A-F400B9B839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ltGray">
          <a:xfrm>
            <a:off x="-3" y="0"/>
            <a:ext cx="5669280" cy="6858000"/>
          </a:xfrm>
          <a:gradFill flip="none" rotWithShape="1">
            <a:gsLst>
              <a:gs pos="50000">
                <a:srgbClr val="000000">
                  <a:alpha val="70000"/>
                </a:srgb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</p:spPr>
        <p:txBody>
          <a:bodyPr lIns="585216" tIns="585216" rIns="585216" bIns="585216" anchor="ctr">
            <a:noAutofit/>
          </a:bodyPr>
          <a:lstStyle>
            <a:lvl1pPr>
              <a:defRPr sz="3600" spc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D4894F6-B50F-43E1-83FC-4F2200B2FA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328556601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7" pos="3576">
          <p15:clr>
            <a:srgbClr val="5ACBF0"/>
          </p15:clr>
        </p15:guide>
        <p15:guide id="8" orient="horz" pos="2160">
          <p15:clr>
            <a:srgbClr val="5ACBF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full bleed righ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A608AEF-BE66-4029-BA63-DA15E89C329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ltGray">
          <a:xfrm>
            <a:off x="0" y="0"/>
            <a:ext cx="12192000" cy="6858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none" bIns="1554480" anchor="ctr">
            <a:noAutofit/>
          </a:bodyPr>
          <a:lstStyle>
            <a:lvl1pPr marL="0" indent="0" algn="ctr">
              <a:buNone/>
              <a:defRPr sz="1400" b="1">
                <a:solidFill>
                  <a:srgbClr val="000000"/>
                </a:solidFill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033AC47-6988-4AF2-AB7A-F400B9B839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ltGray">
          <a:xfrm>
            <a:off x="6522720" y="0"/>
            <a:ext cx="5669280" cy="6858000"/>
          </a:xfrm>
          <a:gradFill flip="none" rotWithShape="1">
            <a:gsLst>
              <a:gs pos="50000">
                <a:srgbClr val="000000">
                  <a:alpha val="70000"/>
                </a:srgbClr>
              </a:gs>
              <a:gs pos="100000">
                <a:srgbClr val="000000">
                  <a:alpha val="0"/>
                </a:srgbClr>
              </a:gs>
            </a:gsLst>
            <a:lin ang="10800000" scaled="1"/>
            <a:tileRect/>
          </a:gradFill>
          <a:ln>
            <a:noFill/>
          </a:ln>
        </p:spPr>
        <p:txBody>
          <a:bodyPr lIns="585216" tIns="585216" rIns="585216" bIns="585216" anchor="ctr">
            <a:noAutofit/>
          </a:bodyPr>
          <a:lstStyle>
            <a:lvl1pPr algn="r">
              <a:defRPr sz="3600" spc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629011D-E3B4-416F-9D7F-7A99AE49F6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379374508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7" pos="4105">
          <p15:clr>
            <a:srgbClr val="5ACBF0"/>
          </p15:clr>
        </p15:guide>
        <p15:guide id="8" orient="horz" pos="2160">
          <p15:clr>
            <a:srgbClr val="5ACBF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p horizontal photo an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E01E45-D858-46CB-8C37-2ADA7A8B4F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157216"/>
            <a:ext cx="11018520" cy="1111822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EB5B31F-7AD9-4BC6-8D61-62AD8011666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4572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vert="horz" wrap="square" lIns="0" tIns="1280160" rIns="0" bIns="0" rtlCol="0" anchor="t" anchorCtr="0">
            <a:noAutofit/>
          </a:bodyPr>
          <a:lstStyle>
            <a:lvl1pPr marL="0" indent="0" algn="ctr">
              <a:buNone/>
              <a:defRPr lang="en-US" sz="1400" b="1" dirty="0">
                <a:solidFill>
                  <a:srgbClr val="000000"/>
                </a:solidFill>
              </a:defRPr>
            </a:lvl1pPr>
          </a:lstStyle>
          <a:p>
            <a:pPr marL="228600" lvl="0" indent="-228600" algn="ctr"/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A996C37-D0C9-4349-A860-B639C4EB9D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58660059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5" orient="horz" pos="2880">
          <p15:clr>
            <a:srgbClr val="5ACBF0"/>
          </p15:clr>
        </p15:guide>
        <p15:guide id="6" orient="horz" pos="3600">
          <p15:clr>
            <a:srgbClr val="5ACBF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ttom horizontal photo an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5563AC-3A0B-4839-A9DC-F00E8E5411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5788"/>
            <a:ext cx="11018520" cy="1114996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EB5B31F-7AD9-4BC6-8D61-62AD8011666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-2381" y="2286000"/>
            <a:ext cx="12192000" cy="4572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vert="horz" wrap="square" lIns="0" tIns="1371600" rIns="0" bIns="0" rtlCol="0" anchor="t" anchorCtr="0">
            <a:noAutofit/>
          </a:bodyPr>
          <a:lstStyle>
            <a:lvl1pPr marL="0" indent="0" algn="ctr">
              <a:buNone/>
              <a:defRPr lang="en-US" sz="1400" b="1" dirty="0">
                <a:solidFill>
                  <a:srgbClr val="000000"/>
                </a:solidFill>
              </a:defRPr>
            </a:lvl1pPr>
          </a:lstStyle>
          <a:p>
            <a:pPr marL="228600" lvl="0" indent="-228600" algn="ctr"/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D6FDE6F-0F4B-446A-A51F-494FB09966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99317045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5" orient="horz" pos="1440">
          <p15:clr>
            <a:srgbClr val="5ACBF0"/>
          </p15:clr>
        </p15:guide>
        <p15:guide id="6" orient="horz" pos="720">
          <p15:clr>
            <a:srgbClr val="5ACBF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27DCA08-1117-4B11-AEFD-AAB2B33543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98323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833B58-0629-4A46-8711-902C16A9931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199" y="5689600"/>
            <a:ext cx="5367528" cy="579438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231301F-62BD-4CF6-8990-CDF00AFC8CC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582612" y="2025650"/>
            <a:ext cx="5367528" cy="3474720"/>
          </a:xfr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vert="horz" wrap="square" lIns="0" tIns="0" rIns="0" bIns="1005840" rtlCol="0" anchor="ctr" anchorCtr="0">
            <a:noAutofit/>
          </a:bodyPr>
          <a:lstStyle>
            <a:lvl1pPr marL="0" indent="0" algn="ctr">
              <a:buNone/>
              <a:defRPr lang="en-US" sz="1000" b="1" dirty="0">
                <a:solidFill>
                  <a:srgbClr val="000000"/>
                </a:solidFill>
              </a:defRPr>
            </a:lvl1pPr>
          </a:lstStyle>
          <a:p>
            <a:pPr marL="228600" lvl="0" indent="-228600" algn="ctr"/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05B401B2-8D93-427E-90A4-52337B3965E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1860" y="5689600"/>
            <a:ext cx="5367528" cy="579438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223C820-5673-4288-A9D6-185A95066B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ltGray">
          <a:xfrm>
            <a:off x="6239255" y="2025650"/>
            <a:ext cx="5367528" cy="3474720"/>
          </a:xfrm>
          <a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vert="horz" wrap="square" lIns="0" tIns="0" rIns="0" bIns="1005840" rtlCol="0" anchor="ctr" anchorCtr="0">
            <a:noAutofit/>
          </a:bodyPr>
          <a:lstStyle>
            <a:lvl1pPr marL="0" indent="0" algn="ctr">
              <a:buNone/>
              <a:defRPr lang="en-US" sz="1000" b="1" dirty="0">
                <a:solidFill>
                  <a:srgbClr val="000000"/>
                </a:solidFill>
              </a:defRPr>
            </a:lvl1pPr>
          </a:lstStyle>
          <a:p>
            <a:pPr marL="228600" lvl="0" indent="-228600" algn="ctr"/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AF59E09-7602-42B9-AB0C-9D1365A9EBB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158703310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3584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3749">
          <p15:clr>
            <a:srgbClr val="5ACBF0"/>
          </p15:clr>
        </p15:guide>
        <p15:guide id="7" pos="3931">
          <p15:clr>
            <a:srgbClr val="5ACBF0"/>
          </p15:clr>
        </p15:guide>
        <p15:guide id="8" orient="horz" pos="3464">
          <p15:clr>
            <a:srgbClr val="5ACBF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260F77E-464D-46F7-A8F8-6F281DAB0C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98323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833B58-0629-4A46-8711-902C16A9931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2613" y="5689600"/>
            <a:ext cx="3475037" cy="579438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231301F-62BD-4CF6-8990-CDF00AFC8CC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582612" y="2025650"/>
            <a:ext cx="3474720" cy="3474720"/>
          </a:xfr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lIns="0" tIns="0" rIns="0" bIns="100584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8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7E8A9C08-F392-459F-B90B-EDBF4A830C5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58640" y="5689600"/>
            <a:ext cx="3475037" cy="579438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E401A97-B3D4-43E4-9B09-8AD4B6B2606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ltGray">
          <a:xfrm>
            <a:off x="4358640" y="2025650"/>
            <a:ext cx="3474720" cy="3474720"/>
          </a:xfrm>
          <a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lIns="0" tIns="0" rIns="0" bIns="100584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8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05B401B2-8D93-427E-90A4-52337B3965E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4351" y="5689600"/>
            <a:ext cx="3475037" cy="579438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223C820-5673-4288-A9D6-185A95066B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ltGray">
          <a:xfrm>
            <a:off x="8132063" y="2025650"/>
            <a:ext cx="3474720" cy="3474720"/>
          </a:xfrm>
          <a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lIns="0" tIns="0" rIns="0" bIns="100584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8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2B36921-D927-4BA6-8891-8AEE978492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319168713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3584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2557">
          <p15:clr>
            <a:srgbClr val="5ACBF0"/>
          </p15:clr>
        </p15:guide>
        <p15:guide id="7" pos="2744">
          <p15:clr>
            <a:srgbClr val="5ACBF0"/>
          </p15:clr>
        </p15:guide>
        <p15:guide id="8" pos="4936">
          <p15:clr>
            <a:srgbClr val="5ACBF0"/>
          </p15:clr>
        </p15:guide>
        <p15:guide id="9" pos="5123">
          <p15:clr>
            <a:srgbClr val="5ACBF0"/>
          </p15:clr>
        </p15:guide>
        <p15:guide id="10" orient="horz" pos="3465">
          <p15:clr>
            <a:srgbClr val="5ACBF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pictur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7A434B7-D4B9-4D45-A31C-F0CC4D2279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98323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833B58-0629-4A46-8711-902C16A9931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2613" y="4753938"/>
            <a:ext cx="2532888" cy="151510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231301F-62BD-4CF6-8990-CDF00AFC8CC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582612" y="2025650"/>
            <a:ext cx="2532888" cy="2532888"/>
          </a:xfr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7E8A9C08-F392-459F-B90B-EDBF4A830C5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13908" y="4753938"/>
            <a:ext cx="2532888" cy="151510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E401A97-B3D4-43E4-9B09-8AD4B6B2606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ltGray">
          <a:xfrm>
            <a:off x="3413908" y="2025650"/>
            <a:ext cx="2532888" cy="2532888"/>
          </a:xfrm>
          <a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05B401B2-8D93-427E-90A4-52337B3965E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5204" y="4753938"/>
            <a:ext cx="2532888" cy="151510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223C820-5673-4288-A9D6-185A95066B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ltGray">
          <a:xfrm>
            <a:off x="6245204" y="2025650"/>
            <a:ext cx="2532888" cy="2532888"/>
          </a:xfrm>
          <a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38E883C1-8203-4549-AF30-B96AEC45AC6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076500" y="4753938"/>
            <a:ext cx="2532888" cy="151510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BBD58C33-921C-42F1-9803-1C798DB548C2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ltGray">
          <a:xfrm>
            <a:off x="9073895" y="2025650"/>
            <a:ext cx="2532888" cy="2532888"/>
          </a:xfrm>
          <a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CF56B00-AAD4-4F4F-8228-B6CF8367DE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295329976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2993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1963">
          <p15:clr>
            <a:srgbClr val="5ACBF0"/>
          </p15:clr>
        </p15:guide>
        <p15:guide id="7" pos="2150">
          <p15:clr>
            <a:srgbClr val="5ACBF0"/>
          </p15:clr>
        </p15:guide>
        <p15:guide id="8" pos="3746">
          <p15:clr>
            <a:srgbClr val="5ACBF0"/>
          </p15:clr>
        </p15:guide>
        <p15:guide id="9" pos="3934">
          <p15:clr>
            <a:srgbClr val="5ACBF0"/>
          </p15:clr>
        </p15:guide>
        <p15:guide id="10" pos="5530">
          <p15:clr>
            <a:srgbClr val="5ACBF0"/>
          </p15:clr>
        </p15:guide>
        <p15:guide id="11" pos="5716">
          <p15:clr>
            <a:srgbClr val="5ACBF0"/>
          </p15:clr>
        </p15:guide>
        <p15:guide id="12" orient="horz" pos="2870">
          <p15:clr>
            <a:srgbClr val="5ACBF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8A212C2-8B30-4835-8711-AA981B6CFBE1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84200" y="1435100"/>
            <a:ext cx="11018838" cy="48339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F9662A5-6E2F-47B0-9B6E-E87983D375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247873475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filmstrip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C46CB2-4FDC-43D5-B122-6F27B3C827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5788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244E618-D996-41A6-8C9D-0C3519EA7A6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5216" y="5334000"/>
            <a:ext cx="4892040" cy="935037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8B32544F-F93C-4713-86AD-641424F4A7B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0" y="2286000"/>
            <a:ext cx="6062472" cy="2807208"/>
          </a:xfr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8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E4C32BD-CEF7-42AC-94D8-052EF30E23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14744" y="5334000"/>
            <a:ext cx="4892040" cy="938212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25EC377-3BC6-40D8-AECB-4FEB302014C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ltGray">
          <a:xfrm>
            <a:off x="6129528" y="2286000"/>
            <a:ext cx="6062472" cy="2807208"/>
          </a:xfrm>
          <a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8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AAE597A-BE1E-6B1F-960D-A90DC95443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226882192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1440">
          <p15:clr>
            <a:srgbClr val="5ACBF0"/>
          </p15:clr>
        </p15:guide>
        <p15:guide id="4" orient="horz" pos="3209">
          <p15:clr>
            <a:srgbClr val="5ACBF0"/>
          </p15:clr>
        </p15:guide>
        <p15:guide id="5" pos="3826">
          <p15:clr>
            <a:srgbClr val="5ACBF0"/>
          </p15:clr>
        </p15:guide>
        <p15:guide id="6" pos="3859">
          <p15:clr>
            <a:srgbClr val="5ACBF0"/>
          </p15:clr>
        </p15:guide>
        <p15:guide id="11" pos="1910">
          <p15:clr>
            <a:srgbClr val="5ACBF0"/>
          </p15:clr>
        </p15:guide>
        <p15:guide id="12" pos="5770">
          <p15:clr>
            <a:srgbClr val="5ACBF0"/>
          </p15:clr>
        </p15:guide>
        <p15:guide id="13" orient="horz" pos="3360">
          <p15:clr>
            <a:srgbClr val="5ACBF0"/>
          </p15:clr>
        </p15:guide>
        <p15:guide id="14" orient="horz">
          <p15:clr>
            <a:srgbClr val="5ACBF0"/>
          </p15:clr>
        </p15:guide>
        <p15:guide id="15" pos="3451">
          <p15:clr>
            <a:srgbClr val="5ACBF0"/>
          </p15:clr>
        </p15:guide>
        <p15:guide id="16" pos="4229">
          <p15:clr>
            <a:srgbClr val="5ACBF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filmstrip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C46CB2-4FDC-43D5-B122-6F27B3C827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5787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244E618-D996-41A6-8C9D-0C3519EA7A6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5216" y="4800600"/>
            <a:ext cx="2852928" cy="1468437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8B32544F-F93C-4713-86AD-641424F4A7B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0" y="2286000"/>
            <a:ext cx="4023360" cy="2286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E4C32BD-CEF7-42AC-94D8-052EF30E23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669536" y="4799409"/>
            <a:ext cx="2852928" cy="1472803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25EC377-3BC6-40D8-AECB-4FEB302014C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ltGray">
          <a:xfrm>
            <a:off x="4084320" y="2286000"/>
            <a:ext cx="4023360" cy="2286000"/>
          </a:xfrm>
          <a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D682B8EC-8F33-4730-BBE6-E8B7234C9C6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753856" y="4799410"/>
            <a:ext cx="2852928" cy="146962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DB5F15A-5980-40FF-9D54-3FDE41D604A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ltGray">
          <a:xfrm>
            <a:off x="8168640" y="2286000"/>
            <a:ext cx="4023360" cy="2286000"/>
          </a:xfrm>
          <a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2B999C7-F5A8-46A6-92C5-AA3BE4E269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97963158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1440">
          <p15:clr>
            <a:srgbClr val="5ACBF0"/>
          </p15:clr>
        </p15:guide>
        <p15:guide id="3" orient="horz" pos="2880">
          <p15:clr>
            <a:srgbClr val="5ACBF0"/>
          </p15:clr>
        </p15:guide>
        <p15:guide id="4" orient="horz" pos="3024">
          <p15:clr>
            <a:srgbClr val="5ACBF0"/>
          </p15:clr>
        </p15:guide>
        <p15:guide id="5" pos="2534">
          <p15:clr>
            <a:srgbClr val="5ACBF0"/>
          </p15:clr>
        </p15:guide>
        <p15:guide id="6" pos="2573">
          <p15:clr>
            <a:srgbClr val="5ACBF0"/>
          </p15:clr>
        </p15:guide>
        <p15:guide id="8" pos="5109">
          <p15:clr>
            <a:srgbClr val="5ACBF0"/>
          </p15:clr>
        </p15:guide>
        <p15:guide id="9" pos="5145">
          <p15:clr>
            <a:srgbClr val="5ACBF0"/>
          </p15:clr>
        </p15:guide>
        <p15:guide id="11" pos="1266">
          <p15:clr>
            <a:srgbClr val="5ACBF0"/>
          </p15:clr>
        </p15:guide>
        <p15:guide id="12" pos="3840">
          <p15:clr>
            <a:srgbClr val="5ACBF0"/>
          </p15:clr>
        </p15:guide>
        <p15:guide id="13" pos="6414">
          <p15:clr>
            <a:srgbClr val="5ACBF0"/>
          </p15:clr>
        </p15:guide>
        <p15:guide id="14" orient="horz" pos="1074">
          <p15:clr>
            <a:srgbClr val="5ACBF0"/>
          </p15:clr>
        </p15:guide>
        <p15:guide id="15" pos="2168">
          <p15:clr>
            <a:srgbClr val="5ACBF0"/>
          </p15:clr>
        </p15:guide>
        <p15:guide id="16" pos="2944">
          <p15:clr>
            <a:srgbClr val="5ACBF0"/>
          </p15:clr>
        </p15:guide>
        <p15:guide id="17" pos="4738">
          <p15:clr>
            <a:srgbClr val="5ACBF0"/>
          </p15:clr>
        </p15:guide>
        <p15:guide id="18" pos="5514">
          <p15:clr>
            <a:srgbClr val="5ACBF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filmstrip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C46CB2-4FDC-43D5-B122-6F27B3C827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5788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244E618-D996-41A6-8C9D-0C3519EA7A6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5216" y="4800600"/>
            <a:ext cx="1828800" cy="1468437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8B32544F-F93C-4713-86AD-641424F4A7B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0" y="2286000"/>
            <a:ext cx="2999232" cy="2286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E4C32BD-CEF7-42AC-94D8-052EF30E23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49472" y="4799409"/>
            <a:ext cx="1828800" cy="1472803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25EC377-3BC6-40D8-AECB-4FEB302014C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ltGray">
          <a:xfrm>
            <a:off x="3064256" y="2286000"/>
            <a:ext cx="2999232" cy="2286000"/>
          </a:xfrm>
          <a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D682B8EC-8F33-4730-BBE6-E8B7234C9C6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713728" y="4799410"/>
            <a:ext cx="1828800" cy="146962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DB5F15A-5980-40FF-9D54-3FDE41D604A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ltGray">
          <a:xfrm>
            <a:off x="6128512" y="2286000"/>
            <a:ext cx="2999232" cy="2286000"/>
          </a:xfrm>
          <a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83564109-638C-44E2-AE84-46B44C29FD6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777984" y="4799409"/>
            <a:ext cx="1828800" cy="1469629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13AAE36-2045-4D14-87DC-59D4EFCC1500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ltGray">
          <a:xfrm>
            <a:off x="9192768" y="2286000"/>
            <a:ext cx="2999232" cy="2286000"/>
          </a:xfrm>
          <a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2FE569B-F817-467C-8BAC-558CE9824D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71133224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1440">
          <p15:clr>
            <a:srgbClr val="5ACBF0"/>
          </p15:clr>
        </p15:guide>
        <p15:guide id="3" orient="horz" pos="2880">
          <p15:clr>
            <a:srgbClr val="5ACBF0"/>
          </p15:clr>
        </p15:guide>
        <p15:guide id="4" orient="horz" pos="3024">
          <p15:clr>
            <a:srgbClr val="5ACBF0"/>
          </p15:clr>
        </p15:guide>
        <p15:guide id="5" pos="1890">
          <p15:clr>
            <a:srgbClr val="5ACBF0"/>
          </p15:clr>
        </p15:guide>
        <p15:guide id="6" pos="1930">
          <p15:clr>
            <a:srgbClr val="5ACBF0"/>
          </p15:clr>
        </p15:guide>
        <p15:guide id="7" pos="5749">
          <p15:clr>
            <a:srgbClr val="5ACBF0"/>
          </p15:clr>
        </p15:guide>
        <p15:guide id="8" pos="3820">
          <p15:clr>
            <a:srgbClr val="5ACBF0"/>
          </p15:clr>
        </p15:guide>
        <p15:guide id="9" pos="3860">
          <p15:clr>
            <a:srgbClr val="5ACBF0"/>
          </p15:clr>
        </p15:guide>
        <p15:guide id="10" pos="5789">
          <p15:clr>
            <a:srgbClr val="5ACBF0"/>
          </p15:clr>
        </p15:guide>
        <p15:guide id="11" pos="944">
          <p15:clr>
            <a:srgbClr val="5ACBF0"/>
          </p15:clr>
        </p15:guide>
        <p15:guide id="12" pos="2876">
          <p15:clr>
            <a:srgbClr val="5ACBF0"/>
          </p15:clr>
        </p15:guide>
        <p15:guide id="13" pos="4807">
          <p15:clr>
            <a:srgbClr val="5ACBF0"/>
          </p15:clr>
        </p15:guide>
        <p15:guide id="14" pos="6736">
          <p15:clr>
            <a:srgbClr val="5ACBF0"/>
          </p15:clr>
        </p15:guide>
        <p15:guide id="15" orient="horz">
          <p15:clr>
            <a:srgbClr val="5ACBF0"/>
          </p15:clr>
        </p15:guide>
        <p15:guide id="16" pos="1524">
          <p15:clr>
            <a:srgbClr val="5ACBF0"/>
          </p15:clr>
        </p15:guide>
        <p15:guide id="17" pos="2298">
          <p15:clr>
            <a:srgbClr val="5ACBF0"/>
          </p15:clr>
        </p15:guide>
        <p15:guide id="18" pos="3450">
          <p15:clr>
            <a:srgbClr val="5ACBF0"/>
          </p15:clr>
        </p15:guide>
        <p15:guide id="19" pos="4230">
          <p15:clr>
            <a:srgbClr val="5ACBF0"/>
          </p15:clr>
        </p15:guide>
        <p15:guide id="20" pos="5380">
          <p15:clr>
            <a:srgbClr val="5ACBF0"/>
          </p15:clr>
        </p15:guide>
        <p15:guide id="21" pos="6156">
          <p15:clr>
            <a:srgbClr val="5ACBF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ve filmstrip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C46CB2-4FDC-43D5-B122-6F27B3C827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5788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244E618-D996-41A6-8C9D-0C3519EA7A6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92608" y="4800600"/>
            <a:ext cx="1801368" cy="1468437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8B32544F-F93C-4713-86AD-641424F4A7B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0" y="2286000"/>
            <a:ext cx="2386584" cy="2286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E4C32BD-CEF7-42AC-94D8-052EF30E23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743962" y="4799409"/>
            <a:ext cx="1801368" cy="1472803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25EC377-3BC6-40D8-AECB-4FEB302014C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ltGray">
          <a:xfrm>
            <a:off x="2451354" y="2286000"/>
            <a:ext cx="2386584" cy="2286000"/>
          </a:xfrm>
          <a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D682B8EC-8F33-4730-BBE6-E8B7234C9C6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195316" y="4799410"/>
            <a:ext cx="1801368" cy="146962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DB5F15A-5980-40FF-9D54-3FDE41D604A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ltGray">
          <a:xfrm>
            <a:off x="4902708" y="2286000"/>
            <a:ext cx="2386584" cy="2286000"/>
          </a:xfrm>
          <a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83564109-638C-44E2-AE84-46B44C29FD6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646670" y="4799409"/>
            <a:ext cx="1801368" cy="1469629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13AAE36-2045-4D14-87DC-59D4EFCC1500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ltGray">
          <a:xfrm>
            <a:off x="7354062" y="2286000"/>
            <a:ext cx="2386584" cy="2286000"/>
          </a:xfrm>
          <a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5B1B6F72-F14C-40F1-8B29-8620AA34DC6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0098024" y="4799409"/>
            <a:ext cx="1801368" cy="1469629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2AD682C7-20D7-4ED0-99A7-C8530DAC8612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ltGray">
          <a:xfrm>
            <a:off x="9805416" y="2286000"/>
            <a:ext cx="2386584" cy="2286000"/>
          </a:xfrm>
          <a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2FE569B-F817-467C-8BAC-558CE9824D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191224179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1440">
          <p15:clr>
            <a:srgbClr val="5ACBF0"/>
          </p15:clr>
        </p15:guide>
        <p15:guide id="3" orient="horz" pos="2880">
          <p15:clr>
            <a:srgbClr val="5ACBF0"/>
          </p15:clr>
        </p15:guide>
        <p15:guide id="4" orient="horz" pos="3024">
          <p15:clr>
            <a:srgbClr val="5ACBF0"/>
          </p15:clr>
        </p15:guide>
        <p15:guide id="8" pos="4631">
          <p15:clr>
            <a:srgbClr val="5ACBF0"/>
          </p15:clr>
        </p15:guide>
        <p15:guide id="9" pos="4593">
          <p15:clr>
            <a:srgbClr val="5ACBF0"/>
          </p15:clr>
        </p15:guide>
        <p15:guide id="10" pos="6134">
          <p15:clr>
            <a:srgbClr val="5ACBF0"/>
          </p15:clr>
        </p15:guide>
        <p15:guide id="11" pos="1323">
          <p15:clr>
            <a:srgbClr val="5ACBF0"/>
          </p15:clr>
        </p15:guide>
        <p15:guide id="12" pos="2865">
          <p15:clr>
            <a:srgbClr val="5ACBF0"/>
          </p15:clr>
        </p15:guide>
        <p15:guide id="13" pos="4815">
          <p15:clr>
            <a:srgbClr val="5ACBF0"/>
          </p15:clr>
        </p15:guide>
        <p15:guide id="14" pos="6361">
          <p15:clr>
            <a:srgbClr val="5ACBF0"/>
          </p15:clr>
        </p15:guide>
        <p15:guide id="15" orient="horz">
          <p15:clr>
            <a:srgbClr val="5ACBF0"/>
          </p15:clr>
        </p15:guide>
        <p15:guide id="16" pos="1727">
          <p15:clr>
            <a:srgbClr val="5ACBF0"/>
          </p15:clr>
        </p15:guide>
        <p15:guide id="17" pos="2294">
          <p15:clr>
            <a:srgbClr val="5ACBF0"/>
          </p15:clr>
        </p15:guide>
        <p15:guide id="18" pos="3273">
          <p15:clr>
            <a:srgbClr val="5ACBF0"/>
          </p15:clr>
        </p15:guide>
        <p15:guide id="19" pos="4411">
          <p15:clr>
            <a:srgbClr val="5ACBF0"/>
          </p15:clr>
        </p15:guide>
        <p15:guide id="21" pos="6179">
          <p15:clr>
            <a:srgbClr val="5ACBF0"/>
          </p15:clr>
        </p15:guide>
        <p15:guide id="22" pos="1501">
          <p15:clr>
            <a:srgbClr val="5ACBF0"/>
          </p15:clr>
        </p15:guide>
        <p15:guide id="23" pos="1543">
          <p15:clr>
            <a:srgbClr val="5ACBF0"/>
          </p15:clr>
        </p15:guide>
        <p15:guide id="24" pos="3049">
          <p15:clr>
            <a:srgbClr val="5ACBF0"/>
          </p15:clr>
        </p15:guide>
        <p15:guide id="25" pos="3088">
          <p15:clr>
            <a:srgbClr val="5ACBF0"/>
          </p15:clr>
        </p15:guide>
        <p15:guide id="26" pos="5954">
          <p15:clr>
            <a:srgbClr val="5ACBF0"/>
          </p15:clr>
        </p15:guide>
        <p15:guide id="27" pos="3840">
          <p15:clr>
            <a:srgbClr val="5ACBF0"/>
          </p15:clr>
        </p15:guide>
        <p15:guide id="28" pos="5386">
          <p15:clr>
            <a:srgbClr val="5ACBF0"/>
          </p15:clr>
        </p15:guide>
        <p15:guide id="29" pos="753">
          <p15:clr>
            <a:srgbClr val="5ACBF0"/>
          </p15:clr>
        </p15:guide>
        <p15:guide id="30" pos="6927">
          <p15:clr>
            <a:srgbClr val="5ACBF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round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33D211-079C-4884-AB74-BFA812A63F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8962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5757E314-6417-4051-A2CD-D3614CAA6A78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ltGray">
          <a:xfrm>
            <a:off x="2037906" y="2286000"/>
            <a:ext cx="2313432" cy="2313432"/>
          </a:xfrm>
          <a:prstGeom prst="ellipse">
            <a:avLst/>
          </a:prstGeo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5BBECFAF-80A0-4620-8865-87562DFB497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037906" y="4800600"/>
            <a:ext cx="2313432" cy="146843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5577FC3-49F5-4B04-AFD3-AA0A57BA8355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 bwMode="ltGray">
          <a:xfrm>
            <a:off x="4939284" y="2286000"/>
            <a:ext cx="2313432" cy="2313432"/>
          </a:xfrm>
          <a:prstGeom prst="ellipse">
            <a:avLst/>
          </a:prstGeom>
          <a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8AD287B4-D736-4707-854D-BEA62EF2BB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939284" y="4800600"/>
            <a:ext cx="2313432" cy="146843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9B56ECFD-6AA2-4EC5-A445-D1E0952199EC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 bwMode="ltGray">
          <a:xfrm>
            <a:off x="7840663" y="2286000"/>
            <a:ext cx="2313432" cy="2313432"/>
          </a:xfrm>
          <a:prstGeom prst="ellipse">
            <a:avLst/>
          </a:prstGeom>
          <a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ED5A27F-D9D2-4DCB-8422-4694477ECA8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840663" y="4800600"/>
            <a:ext cx="2313432" cy="146843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D6AFB7A-35B4-4881-AB50-D112482166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383703759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3024">
          <p15:clr>
            <a:srgbClr val="5ACBF0"/>
          </p15:clr>
        </p15:guide>
        <p15:guide id="3" pos="3840">
          <p15:clr>
            <a:srgbClr val="5ACBF0"/>
          </p15:clr>
        </p15:guide>
        <p15:guide id="4" pos="1283">
          <p15:clr>
            <a:srgbClr val="5ACBF0"/>
          </p15:clr>
        </p15:guide>
        <p15:guide id="5" pos="5666">
          <p15:clr>
            <a:srgbClr val="5ACBF0"/>
          </p15:clr>
        </p15:guide>
        <p15:guide id="6" pos="2741">
          <p15:clr>
            <a:srgbClr val="5ACBF0"/>
          </p15:clr>
        </p15:guide>
        <p15:guide id="7" pos="2012">
          <p15:clr>
            <a:srgbClr val="5ACBF0"/>
          </p15:clr>
        </p15:guide>
        <p15:guide id="8" pos="3109">
          <p15:clr>
            <a:srgbClr val="5ACBF0"/>
          </p15:clr>
        </p15:guide>
        <p15:guide id="9" pos="4570">
          <p15:clr>
            <a:srgbClr val="5ACBF0"/>
          </p15:clr>
        </p15:guide>
        <p15:guide id="11" pos="6397">
          <p15:clr>
            <a:srgbClr val="5ACBF0"/>
          </p15:clr>
        </p15:guide>
        <p15:guide id="12" orient="horz" pos="1440">
          <p15:clr>
            <a:srgbClr val="5ACBF0"/>
          </p15:clr>
        </p15:guide>
        <p15:guide id="13" pos="4938">
          <p15:clr>
            <a:srgbClr val="5ACBF0"/>
          </p15:clr>
        </p15:guide>
        <p15:guide id="14" orient="horz" pos="2894">
          <p15:clr>
            <a:srgbClr val="5ACBF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round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33D211-079C-4884-AB74-BFA812A63F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3007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5757E314-6417-4051-A2CD-D3614CAA6A78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ltGray">
          <a:xfrm>
            <a:off x="584200" y="2286000"/>
            <a:ext cx="2313432" cy="2313432"/>
          </a:xfrm>
          <a:prstGeom prst="ellipse">
            <a:avLst/>
          </a:prstGeo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5BBECFAF-80A0-4620-8865-87562DFB497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4800600"/>
            <a:ext cx="2313432" cy="146843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5577FC3-49F5-4B04-AFD3-AA0A57BA8355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 bwMode="ltGray">
          <a:xfrm>
            <a:off x="3487250" y="2286000"/>
            <a:ext cx="2313432" cy="2313432"/>
          </a:xfrm>
          <a:prstGeom prst="ellipse">
            <a:avLst/>
          </a:prstGeom>
          <a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8AD287B4-D736-4707-854D-BEA62EF2BB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87250" y="4800600"/>
            <a:ext cx="2313432" cy="146843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9B56ECFD-6AA2-4EC5-A445-D1E0952199EC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 bwMode="ltGray">
          <a:xfrm>
            <a:off x="6390300" y="2286000"/>
            <a:ext cx="2313432" cy="2313432"/>
          </a:xfrm>
          <a:prstGeom prst="ellipse">
            <a:avLst/>
          </a:prstGeom>
          <a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ED5A27F-D9D2-4DCB-8422-4694477ECA8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0300" y="4800600"/>
            <a:ext cx="2313432" cy="146843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78E1D3B-7D6F-4EFD-9EB2-E1A27309D6AF}"/>
              </a:ext>
            </a:extLst>
          </p:cNvPr>
          <p:cNvSpPr>
            <a:spLocks noGrp="1" noChangeAspect="1"/>
          </p:cNvSpPr>
          <p:nvPr>
            <p:ph type="pic" sz="quarter" idx="21" hasCustomPrompt="1"/>
          </p:nvPr>
        </p:nvSpPr>
        <p:spPr bwMode="ltGray">
          <a:xfrm>
            <a:off x="9293351" y="2286000"/>
            <a:ext cx="2313432" cy="2313432"/>
          </a:xfrm>
          <a:prstGeom prst="ellipse">
            <a:avLst/>
          </a:prstGeom>
          <a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BB2FF62-05DC-462E-808C-4DDE1C65392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293351" y="4800600"/>
            <a:ext cx="2313432" cy="146843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7A72D6D-004C-4F57-AD34-F1019A7560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418594194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3024">
          <p15:clr>
            <a:srgbClr val="5ACBF0"/>
          </p15:clr>
        </p15:guide>
        <p15:guide id="3" pos="4025">
          <p15:clr>
            <a:srgbClr val="5ACBF0"/>
          </p15:clr>
        </p15:guide>
        <p15:guide id="5" pos="5854">
          <p15:clr>
            <a:srgbClr val="5ACBF0"/>
          </p15:clr>
        </p15:guide>
        <p15:guide id="7" pos="3654">
          <p15:clr>
            <a:srgbClr val="5ACBF0"/>
          </p15:clr>
        </p15:guide>
        <p15:guide id="8" pos="2195">
          <p15:clr>
            <a:srgbClr val="5ACBF0"/>
          </p15:clr>
        </p15:guide>
        <p15:guide id="10" pos="2926">
          <p15:clr>
            <a:srgbClr val="5ACBF0"/>
          </p15:clr>
        </p15:guide>
        <p15:guide id="11" pos="4756">
          <p15:clr>
            <a:srgbClr val="5ACBF0"/>
          </p15:clr>
        </p15:guide>
        <p15:guide id="12" pos="6581">
          <p15:clr>
            <a:srgbClr val="5ACBF0"/>
          </p15:clr>
        </p15:guide>
        <p15:guide id="13" pos="1097">
          <p15:clr>
            <a:srgbClr val="5ACBF0"/>
          </p15:clr>
        </p15:guide>
        <p15:guide id="14" orient="horz" pos="1440">
          <p15:clr>
            <a:srgbClr val="5ACBF0"/>
          </p15:clr>
        </p15:guide>
        <p15:guide id="15" pos="1826">
          <p15:clr>
            <a:srgbClr val="5ACBF0"/>
          </p15:clr>
        </p15:guide>
        <p15:guide id="18" pos="5483">
          <p15:clr>
            <a:srgbClr val="5ACBF0"/>
          </p15:clr>
        </p15:guide>
        <p15:guide id="19" orient="horz" pos="2898">
          <p15:clr>
            <a:srgbClr val="5ACBF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ve round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33D211-079C-4884-AB74-BFA812A63F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3007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5757E314-6417-4051-A2CD-D3614CAA6A78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ltGray">
          <a:xfrm>
            <a:off x="584200" y="2286000"/>
            <a:ext cx="1737360" cy="1737360"/>
          </a:xfrm>
          <a:prstGeom prst="ellipse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5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5BBECFAF-80A0-4620-8865-87562DFB497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4235450"/>
            <a:ext cx="1737360" cy="203358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5577FC3-49F5-4B04-AFD3-AA0A57BA8355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 bwMode="ltGray">
          <a:xfrm>
            <a:off x="2905506" y="2286000"/>
            <a:ext cx="1737360" cy="1737360"/>
          </a:xfrm>
          <a:prstGeom prst="ellipse">
            <a:avLst/>
          </a:prstGeom>
          <a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5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8AD287B4-D736-4707-854D-BEA62EF2BB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905506" y="4235450"/>
            <a:ext cx="1737360" cy="203358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9B56ECFD-6AA2-4EC5-A445-D1E0952199EC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 bwMode="ltGray">
          <a:xfrm>
            <a:off x="5227320" y="2286000"/>
            <a:ext cx="1737360" cy="1737360"/>
          </a:xfrm>
          <a:prstGeom prst="ellipse">
            <a:avLst/>
          </a:prstGeom>
          <a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5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ED5A27F-D9D2-4DCB-8422-4694477ECA8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227320" y="4235451"/>
            <a:ext cx="1737360" cy="203358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78E1D3B-7D6F-4EFD-9EB2-E1A27309D6AF}"/>
              </a:ext>
            </a:extLst>
          </p:cNvPr>
          <p:cNvSpPr>
            <a:spLocks noGrp="1" noChangeAspect="1"/>
          </p:cNvSpPr>
          <p:nvPr>
            <p:ph type="pic" sz="quarter" idx="21" hasCustomPrompt="1"/>
          </p:nvPr>
        </p:nvSpPr>
        <p:spPr bwMode="ltGray">
          <a:xfrm>
            <a:off x="7548118" y="2286000"/>
            <a:ext cx="1737360" cy="1737360"/>
          </a:xfrm>
          <a:prstGeom prst="ellipse">
            <a:avLst/>
          </a:prstGeom>
          <a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5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44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BB2FF62-05DC-462E-808C-4DDE1C65392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548118" y="4235450"/>
            <a:ext cx="1737360" cy="203358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4DC3400-0B11-4EA0-9B8D-6FADE6964F37}"/>
              </a:ext>
            </a:extLst>
          </p:cNvPr>
          <p:cNvSpPr>
            <a:spLocks noGrp="1" noChangeAspect="1"/>
          </p:cNvSpPr>
          <p:nvPr>
            <p:ph type="pic" sz="quarter" idx="23" hasCustomPrompt="1"/>
          </p:nvPr>
        </p:nvSpPr>
        <p:spPr bwMode="ltGray">
          <a:xfrm>
            <a:off x="9869423" y="2286000"/>
            <a:ext cx="1737360" cy="1737360"/>
          </a:xfrm>
          <a:prstGeom prst="ellipse">
            <a:avLst/>
          </a:prstGeom>
          <a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5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133C357E-ECC0-485F-9033-5D4DEC8774B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869423" y="4235450"/>
            <a:ext cx="1737360" cy="203358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7A72D6D-004C-4F57-AD34-F1019A7560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225345540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2664">
          <p15:clr>
            <a:srgbClr val="5ACBF0"/>
          </p15:clr>
        </p15:guide>
        <p15:guide id="3" pos="6216">
          <p15:clr>
            <a:srgbClr val="5ACBF0"/>
          </p15:clr>
        </p15:guide>
        <p15:guide id="5" pos="5850">
          <p15:clr>
            <a:srgbClr val="5ACBF0"/>
          </p15:clr>
        </p15:guide>
        <p15:guide id="7" pos="4392">
          <p15:clr>
            <a:srgbClr val="5ACBF0"/>
          </p15:clr>
        </p15:guide>
        <p15:guide id="8" pos="3292">
          <p15:clr>
            <a:srgbClr val="5ACBF0"/>
          </p15:clr>
        </p15:guide>
        <p15:guide id="10" pos="2926">
          <p15:clr>
            <a:srgbClr val="5ACBF0"/>
          </p15:clr>
        </p15:guide>
        <p15:guide id="11" pos="4754">
          <p15:clr>
            <a:srgbClr val="5ACBF0"/>
          </p15:clr>
        </p15:guide>
        <p15:guide id="13" pos="1464">
          <p15:clr>
            <a:srgbClr val="5ACBF0"/>
          </p15:clr>
        </p15:guide>
        <p15:guide id="14" orient="horz" pos="1440">
          <p15:clr>
            <a:srgbClr val="5ACBF0"/>
          </p15:clr>
        </p15:guide>
        <p15:guide id="15" pos="1830">
          <p15:clr>
            <a:srgbClr val="5ACBF0"/>
          </p15:clr>
        </p15:guide>
        <p15:guide id="16" orient="horz" pos="2533">
          <p15:clr>
            <a:srgbClr val="5ACBF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 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E5C076-3B78-4451-8068-576892A08E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5216" y="2309812"/>
            <a:ext cx="3182027" cy="3959225"/>
          </a:xfrm>
        </p:spPr>
        <p:txBody>
          <a:bodyPr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7E9DBFD9-3E1E-4F19-AF15-56780F9C792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56100" y="2309812"/>
            <a:ext cx="7253288" cy="3959223"/>
          </a:xfrm>
        </p:spPr>
        <p:txBody>
          <a:bodyPr anchor="t"/>
          <a:lstStyle>
            <a:lvl1pPr marL="231775" indent="-231775">
              <a:spcAft>
                <a:spcPts val="600"/>
              </a:spcAft>
              <a:buFont typeface="Wingdings" panose="05000000000000000000" pitchFamily="2" charset="2"/>
              <a:buChar char=""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35867F2-3994-4092-B53B-5792FEE698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585216" y="2019300"/>
            <a:ext cx="3182112" cy="0"/>
          </a:xfrm>
          <a:prstGeom prst="line">
            <a:avLst/>
          </a:prstGeom>
          <a:ln w="28575">
            <a:solidFill>
              <a:schemeClr val="accent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49D8AF80-CAD5-4055-80AD-0B31EBCB52A9}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F1A9F7D-F14E-4BCE-9EB4-D9EF47B678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354523" y="2019300"/>
            <a:ext cx="7254865" cy="0"/>
          </a:xfrm>
          <a:prstGeom prst="line">
            <a:avLst/>
          </a:prstGeom>
          <a:ln w="19050">
            <a:solidFill>
              <a:schemeClr val="tx1">
                <a:alpha val="30000"/>
              </a:schemeClr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306248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3" pos="2744">
          <p15:clr>
            <a:srgbClr val="5ACBF0"/>
          </p15:clr>
        </p15:guide>
        <p15:guide id="29" orient="horz" pos="1272">
          <p15:clr>
            <a:srgbClr val="5ACBF0"/>
          </p15:clr>
        </p15:guide>
        <p15:guide id="30" pos="2376">
          <p15:clr>
            <a:srgbClr val="5ACBF0"/>
          </p15:clr>
        </p15:guide>
        <p15:guide id="32" orient="horz" pos="1455">
          <p15:clr>
            <a:srgbClr val="5ACBF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 side by s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E5C076-3B78-4451-8068-576892A08E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585788"/>
            <a:ext cx="3182027" cy="5683250"/>
          </a:xfrm>
        </p:spPr>
        <p:txBody>
          <a:bodyPr anchor="ctr"/>
          <a:lstStyle>
            <a:lvl1pPr>
              <a:defRPr/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015781-2431-48C9-AEF1-52FBD41AF3F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941888" y="585788"/>
            <a:ext cx="6667500" cy="5683249"/>
          </a:xfrm>
        </p:spPr>
        <p:txBody>
          <a:bodyPr anchor="ctr"/>
          <a:lstStyle>
            <a:lvl1pPr marL="231775" indent="-231775">
              <a:spcAft>
                <a:spcPts val="600"/>
              </a:spcAft>
              <a:buFont typeface="Wingdings" panose="05000000000000000000" pitchFamily="2" charset="2"/>
              <a:buChar char=""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35867F2-3994-4092-B53B-5792FEE698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4356100" y="2578100"/>
            <a:ext cx="0" cy="1701800"/>
          </a:xfrm>
          <a:prstGeom prst="line">
            <a:avLst/>
          </a:prstGeom>
          <a:ln w="28575">
            <a:solidFill>
              <a:schemeClr val="accent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A1DC2181-37AB-40A3-B61C-1DE7DBB57D63}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190101972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3" pos="2744">
          <p15:clr>
            <a:srgbClr val="5ACBF0"/>
          </p15:clr>
        </p15:guide>
        <p15:guide id="29" orient="horz" pos="2160">
          <p15:clr>
            <a:srgbClr val="5ACBF0"/>
          </p15:clr>
        </p15:guide>
        <p15:guide id="30" pos="2376">
          <p15:clr>
            <a:srgbClr val="5ACBF0"/>
          </p15:clr>
        </p15:guide>
        <p15:guide id="31" pos="3113">
          <p15:clr>
            <a:srgbClr val="5ACBF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eloper Code Layout">
    <p:bg>
      <p:bgPr>
        <a:solidFill>
          <a:srgbClr val="E1D3C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0636FE-845C-418D-82A1-1DA6DB73D7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82D46E0-16CE-40B0-8623-F82D5D41095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0" y="1436688"/>
            <a:ext cx="12192000" cy="5421312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44977AB6-1D7E-4858-A2EA-BF86577C39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436688"/>
            <a:ext cx="3788358" cy="446148"/>
          </a:xfrm>
          <a:gradFill flip="none" rotWithShape="1">
            <a:gsLst>
              <a:gs pos="0">
                <a:srgbClr val="000000"/>
              </a:gs>
              <a:gs pos="92000">
                <a:srgbClr val="000000"/>
              </a:gs>
              <a:gs pos="92000">
                <a:schemeClr val="accent1"/>
              </a:gs>
            </a:gsLst>
            <a:lin ang="16200000" scaled="1"/>
            <a:tileRect/>
          </a:gradFill>
        </p:spPr>
        <p:txBody>
          <a:bodyPr lIns="585216" tIns="91440" bIns="45720"/>
          <a:lstStyle>
            <a:lvl1pPr marL="0" indent="0">
              <a:buNone/>
              <a:defRPr sz="1999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nter title</a:t>
            </a:r>
          </a:p>
        </p:txBody>
      </p:sp>
      <p:sp>
        <p:nvSpPr>
          <p:cNvPr id="5" name="Text Placeholder 4" descr="This layout should only be used for developer code. The font used is a monospace font which is ideal for showing code.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3" y="2099310"/>
            <a:ext cx="11018520" cy="369332"/>
          </a:xfrm>
        </p:spPr>
        <p:txBody>
          <a:bodyPr/>
          <a:lstStyle>
            <a:lvl1pPr marL="0" indent="0">
              <a:buNone/>
              <a:tabLst/>
              <a:defRPr sz="240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tabLst>
                <a:tab pos="344488" algn="l"/>
              </a:tabLst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tabLst>
                <a:tab pos="569913" algn="l"/>
              </a:tabLst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tabLst>
                <a:tab pos="800100" algn="l"/>
              </a:tabLst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tabLst>
                <a:tab pos="1028700" algn="l"/>
              </a:tabLst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395455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132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2310758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de Bottom">
    <p:bg>
      <p:bgPr>
        <a:solidFill>
          <a:srgbClr val="E1D3C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1845FFD-6B9A-4013-932A-5E4D7E849D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7B17F8BB-3610-1A4F-9E76-B12E706A55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390" y="1230681"/>
            <a:ext cx="11018520" cy="369332"/>
          </a:xfrm>
        </p:spPr>
        <p:txBody>
          <a:bodyPr wrap="square">
            <a:spAutoFit/>
          </a:bodyPr>
          <a:lstStyle>
            <a:lvl1pPr marL="0" indent="0">
              <a:spcBef>
                <a:spcPts val="60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  <a:lvl2pPr marL="228531" indent="0">
              <a:buNone/>
              <a:defRPr sz="2400">
                <a:solidFill>
                  <a:srgbClr val="2F2F2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457063" indent="0">
              <a:buNone/>
              <a:defRPr/>
            </a:lvl3pPr>
            <a:lvl4pPr marL="685594" indent="0">
              <a:buNone/>
              <a:defRPr/>
            </a:lvl4pPr>
            <a:lvl5pPr marL="914126" indent="0">
              <a:buNone/>
              <a:defRPr/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1EBE70E-6A93-4EB4-A189-6F9DE42CEE1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0" y="2827138"/>
            <a:ext cx="12192000" cy="4030862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0E9A2E28-037B-FA4D-ADDC-1AFA11D65CB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2827138"/>
            <a:ext cx="3788358" cy="446148"/>
          </a:xfrm>
          <a:gradFill flip="none" rotWithShape="1">
            <a:gsLst>
              <a:gs pos="0">
                <a:srgbClr val="000000"/>
              </a:gs>
              <a:gs pos="92000">
                <a:srgbClr val="000000"/>
              </a:gs>
              <a:gs pos="92000">
                <a:schemeClr val="accent1"/>
              </a:gs>
            </a:gsLst>
            <a:lin ang="16200000" scaled="1"/>
            <a:tileRect/>
          </a:gradFill>
        </p:spPr>
        <p:txBody>
          <a:bodyPr lIns="585216" tIns="91440" bIns="45720"/>
          <a:lstStyle>
            <a:lvl1pPr marL="0" indent="0">
              <a:buNone/>
              <a:defRPr sz="1999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nter title</a:t>
            </a:r>
          </a:p>
        </p:txBody>
      </p:sp>
      <p:sp>
        <p:nvSpPr>
          <p:cNvPr id="13" name="Text Placeholder 4" descr="This layout should only be used for developer code. The font used is a monospace font which is ideal for showing code.">
            <a:extLst>
              <a:ext uri="{FF2B5EF4-FFF2-40B4-BE49-F238E27FC236}">
                <a16:creationId xmlns:a16="http://schemas.microsoft.com/office/drawing/2014/main" id="{47501FD0-A948-CC48-8B11-3BD4F2AE4E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6389" y="3491219"/>
            <a:ext cx="11018520" cy="369332"/>
          </a:xfrm>
        </p:spPr>
        <p:txBody>
          <a:bodyPr/>
          <a:lstStyle>
            <a:lvl1pPr marL="0" indent="0">
              <a:buNone/>
              <a:tabLst/>
              <a:defRPr sz="240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49" indent="0">
              <a:buNone/>
              <a:defRPr sz="23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32" indent="0">
              <a:buNone/>
              <a:defRPr sz="19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319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682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or paste code</a:t>
            </a:r>
          </a:p>
        </p:txBody>
      </p:sp>
    </p:spTree>
    <p:extLst>
      <p:ext uri="{BB962C8B-B14F-4D97-AF65-F5344CB8AC3E}">
        <p14:creationId xmlns:p14="http://schemas.microsoft.com/office/powerpoint/2010/main" val="15246803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4" orient="horz" pos="1776">
          <p15:clr>
            <a:srgbClr val="5ACBF0"/>
          </p15:clr>
        </p15:guide>
        <p15:guide id="5" orient="horz" pos="2197">
          <p15:clr>
            <a:srgbClr val="5ACBF0"/>
          </p15:clr>
        </p15:guide>
        <p15:guide id="6" orient="horz" pos="773">
          <p15:clr>
            <a:srgbClr val="5ACBF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de Top">
    <p:bg>
      <p:bgPr>
        <a:solidFill>
          <a:srgbClr val="E1D3C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1EBE70E-6A93-4EB4-A189-6F9DE42CEE1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0" y="0"/>
            <a:ext cx="12192000" cy="4030862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1845FFD-6B9A-4013-932A-5E4D7E849D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224580"/>
            <a:ext cx="11018520" cy="492443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0E9A2E28-037B-FA4D-ADDC-1AFA11D65CB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3788358" cy="446148"/>
          </a:xfrm>
          <a:gradFill flip="none" rotWithShape="1">
            <a:gsLst>
              <a:gs pos="0">
                <a:srgbClr val="000000"/>
              </a:gs>
              <a:gs pos="92000">
                <a:srgbClr val="000000"/>
              </a:gs>
              <a:gs pos="92000">
                <a:schemeClr val="accent1"/>
              </a:gs>
            </a:gsLst>
            <a:lin ang="16200000" scaled="1"/>
            <a:tileRect/>
          </a:gradFill>
        </p:spPr>
        <p:txBody>
          <a:bodyPr lIns="585216" tIns="91440" bIns="45720"/>
          <a:lstStyle>
            <a:lvl1pPr marL="0" indent="0">
              <a:buNone/>
              <a:defRPr sz="1999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nter title</a:t>
            </a:r>
          </a:p>
        </p:txBody>
      </p:sp>
      <p:sp>
        <p:nvSpPr>
          <p:cNvPr id="13" name="Text Placeholder 4" descr="This layout should only be used for developer code. The font used is a monospace font which is ideal for showing code.">
            <a:extLst>
              <a:ext uri="{FF2B5EF4-FFF2-40B4-BE49-F238E27FC236}">
                <a16:creationId xmlns:a16="http://schemas.microsoft.com/office/drawing/2014/main" id="{47501FD0-A948-CC48-8B11-3BD4F2AE4E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6389" y="660508"/>
            <a:ext cx="11018520" cy="369332"/>
          </a:xfrm>
        </p:spPr>
        <p:txBody>
          <a:bodyPr/>
          <a:lstStyle>
            <a:lvl1pPr marL="0" indent="0">
              <a:buNone/>
              <a:tabLst/>
              <a:defRPr sz="240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49" indent="0">
              <a:buNone/>
              <a:defRPr sz="23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32" indent="0">
              <a:buNone/>
              <a:defRPr sz="19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319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682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or paste cod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7B17F8BB-3610-1A4F-9E76-B12E706A55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1152" y="4996505"/>
            <a:ext cx="11018520" cy="369332"/>
          </a:xfrm>
        </p:spPr>
        <p:txBody>
          <a:bodyPr wrap="square">
            <a:spAutoFit/>
          </a:bodyPr>
          <a:lstStyle>
            <a:lvl1pPr marL="0" indent="0">
              <a:spcBef>
                <a:spcPts val="60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  <a:lvl2pPr marL="228531" indent="0">
              <a:buNone/>
              <a:defRPr sz="2400">
                <a:solidFill>
                  <a:srgbClr val="2F2F2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457063" indent="0">
              <a:buNone/>
              <a:defRPr/>
            </a:lvl3pPr>
            <a:lvl4pPr marL="685594" indent="0">
              <a:buNone/>
              <a:defRPr/>
            </a:lvl4pPr>
            <a:lvl5pPr marL="914126" indent="0">
              <a:buNone/>
              <a:defRPr/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2790309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4" orient="horz" pos="2661">
          <p15:clr>
            <a:srgbClr val="5ACBF0"/>
          </p15:clr>
        </p15:guide>
        <p15:guide id="5" orient="horz" pos="3147">
          <p15:clr>
            <a:srgbClr val="5ACBF0"/>
          </p15:clr>
        </p15:guide>
        <p15:guide id="6" orient="horz" pos="419">
          <p15:clr>
            <a:srgbClr val="5ACBF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de Right side">
    <p:bg>
      <p:bgPr>
        <a:solidFill>
          <a:srgbClr val="E1D3C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82BB27-7DA5-4478-8C18-C1FFEE20AA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457200"/>
            <a:ext cx="4040887" cy="492443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2BB818A5-4223-0847-B6E2-655C7DC7B6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8965" y="1338139"/>
            <a:ext cx="4040185" cy="369332"/>
          </a:xfr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2400" b="0" i="0" baseline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100000"/>
              </a:lnSpc>
              <a:spcBef>
                <a:spcPts val="60"/>
              </a:spcBef>
              <a:spcAft>
                <a:spcPts val="60"/>
              </a:spcAft>
              <a:buNone/>
              <a:defRPr sz="2400" b="0" i="0">
                <a:solidFill>
                  <a:srgbClr val="2F2F2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457063" indent="0">
              <a:buNone/>
              <a:defRPr/>
            </a:lvl3pPr>
            <a:lvl4pPr marL="685594" indent="0">
              <a:buNone/>
              <a:defRPr/>
            </a:lvl4pPr>
            <a:lvl5pPr marL="914126" indent="0">
              <a:buNone/>
              <a:defRPr/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316165A-5926-4F59-B348-996936FBB5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5205984" y="0"/>
            <a:ext cx="6986016" cy="6858000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0D599919-A8E3-4D2B-86CF-50C6704F17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11763" y="0"/>
            <a:ext cx="3788358" cy="492314"/>
          </a:xfrm>
          <a:gradFill flip="none" rotWithShape="1">
            <a:gsLst>
              <a:gs pos="0">
                <a:srgbClr val="000000"/>
              </a:gs>
              <a:gs pos="99000">
                <a:srgbClr val="000000"/>
              </a:gs>
              <a:gs pos="99000">
                <a:schemeClr val="accent1"/>
              </a:gs>
            </a:gsLst>
            <a:lin ang="10800000" scaled="1"/>
            <a:tileRect/>
          </a:gradFill>
        </p:spPr>
        <p:txBody>
          <a:bodyPr lIns="585216" tIns="91440" bIns="91440"/>
          <a:lstStyle>
            <a:lvl1pPr marL="0" indent="0">
              <a:buNone/>
              <a:defRPr sz="1999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nter title</a:t>
            </a:r>
          </a:p>
        </p:txBody>
      </p:sp>
      <p:sp>
        <p:nvSpPr>
          <p:cNvPr id="13" name="Text Placeholder 4" descr="This layout should only be used for developer code. The font used is a monospace font which is ideal for showing code.">
            <a:extLst>
              <a:ext uri="{FF2B5EF4-FFF2-40B4-BE49-F238E27FC236}">
                <a16:creationId xmlns:a16="http://schemas.microsoft.com/office/drawing/2014/main" id="{47501FD0-A948-CC48-8B11-3BD4F2AE4E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00725" y="709187"/>
            <a:ext cx="5801961" cy="369332"/>
          </a:xfrm>
        </p:spPr>
        <p:txBody>
          <a:bodyPr/>
          <a:lstStyle>
            <a:lvl1pPr marL="0" indent="0">
              <a:buNone/>
              <a:tabLst/>
              <a:defRPr sz="2400">
                <a:solidFill>
                  <a:srgbClr val="2F2F2F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49" indent="0">
              <a:buNone/>
              <a:defRPr sz="23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32" indent="0">
              <a:buNone/>
              <a:defRPr sz="19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319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682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or paste code</a:t>
            </a:r>
          </a:p>
        </p:txBody>
      </p:sp>
    </p:spTree>
    <p:extLst>
      <p:ext uri="{BB962C8B-B14F-4D97-AF65-F5344CB8AC3E}">
        <p14:creationId xmlns:p14="http://schemas.microsoft.com/office/powerpoint/2010/main" val="23449139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445">
          <p15:clr>
            <a:srgbClr val="5ACBF0"/>
          </p15:clr>
        </p15:guide>
        <p15:guide id="4" orient="horz" pos="843">
          <p15:clr>
            <a:srgbClr val="5ACBF0"/>
          </p15:clr>
        </p15:guide>
        <p15:guide id="7" pos="3283">
          <p15:clr>
            <a:srgbClr val="5ACBF0"/>
          </p15:clr>
        </p15:guide>
        <p15:guide id="8" pos="3654">
          <p15:clr>
            <a:srgbClr val="5ACBF0"/>
          </p15:clr>
        </p15:guide>
        <p15:guide id="9" pos="2916">
          <p15:clr>
            <a:srgbClr val="5ACBF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de Left sde">
    <p:bg>
      <p:bgPr>
        <a:solidFill>
          <a:srgbClr val="E1D3C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2316165A-5926-4F59-B348-996936FBB5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-2" y="0"/>
            <a:ext cx="6986016" cy="6858000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BB14A7D-C409-4A7C-9D82-A2E5DBB8AB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575549" y="457200"/>
            <a:ext cx="4031233" cy="492443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0D599919-A8E3-4D2B-86CF-50C6704F17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-1" y="0"/>
            <a:ext cx="3788358" cy="492314"/>
          </a:xfrm>
          <a:gradFill flip="none" rotWithShape="1">
            <a:gsLst>
              <a:gs pos="0">
                <a:srgbClr val="000000"/>
              </a:gs>
              <a:gs pos="99000">
                <a:srgbClr val="000000"/>
              </a:gs>
              <a:gs pos="99000">
                <a:schemeClr val="accent1"/>
              </a:gs>
            </a:gsLst>
            <a:lin ang="10800000" scaled="1"/>
            <a:tileRect/>
          </a:gradFill>
        </p:spPr>
        <p:txBody>
          <a:bodyPr lIns="585216" tIns="91440" bIns="91440"/>
          <a:lstStyle>
            <a:lvl1pPr marL="0" indent="0">
              <a:buNone/>
              <a:defRPr sz="1999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nter title</a:t>
            </a:r>
          </a:p>
        </p:txBody>
      </p:sp>
      <p:sp>
        <p:nvSpPr>
          <p:cNvPr id="13" name="Text Placeholder 4" descr="This layout should only be used for developer code. The font used is a monospace font which is ideal for showing code.">
            <a:extLst>
              <a:ext uri="{FF2B5EF4-FFF2-40B4-BE49-F238E27FC236}">
                <a16:creationId xmlns:a16="http://schemas.microsoft.com/office/drawing/2014/main" id="{47501FD0-A948-CC48-8B11-3BD4F2AE4E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4199" y="706011"/>
            <a:ext cx="5819775" cy="369332"/>
          </a:xfrm>
        </p:spPr>
        <p:txBody>
          <a:bodyPr/>
          <a:lstStyle>
            <a:lvl1pPr marL="0" indent="0">
              <a:buNone/>
              <a:defRPr sz="2400">
                <a:solidFill>
                  <a:srgbClr val="2F2F2F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49" indent="0">
              <a:buNone/>
              <a:defRPr sz="23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32" indent="0">
              <a:buNone/>
              <a:defRPr sz="19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319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682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or paste cod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2BB818A5-4223-0847-B6E2-655C7DC7B6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575550" y="1336675"/>
            <a:ext cx="4033838" cy="369332"/>
          </a:xfr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2400" b="0" i="0" baseline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100000"/>
              </a:lnSpc>
              <a:spcBef>
                <a:spcPts val="60"/>
              </a:spcBef>
              <a:spcAft>
                <a:spcPts val="60"/>
              </a:spcAft>
              <a:buNone/>
              <a:defRPr sz="2400" b="0" i="0">
                <a:solidFill>
                  <a:srgbClr val="2F2F2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457063" indent="0">
              <a:buNone/>
              <a:defRPr/>
            </a:lvl3pPr>
            <a:lvl4pPr marL="685594" indent="0">
              <a:buNone/>
              <a:defRPr/>
            </a:lvl4pPr>
            <a:lvl5pPr marL="914126" indent="0">
              <a:buNone/>
              <a:defRPr/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0756347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436">
          <p15:clr>
            <a:srgbClr val="5ACBF0"/>
          </p15:clr>
        </p15:guide>
        <p15:guide id="4" orient="horz" pos="839">
          <p15:clr>
            <a:srgbClr val="5ACBF0"/>
          </p15:clr>
        </p15:guide>
        <p15:guide id="6" pos="4402">
          <p15:clr>
            <a:srgbClr val="5ACBF0"/>
          </p15:clr>
        </p15:guide>
        <p15:guide id="7" pos="4034">
          <p15:clr>
            <a:srgbClr val="5ACBF0"/>
          </p15:clr>
        </p15:guide>
        <p15:guide id="8" pos="4772">
          <p15:clr>
            <a:srgbClr val="5ACBF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group of colorful hexagons&#10;&#10;AI-generated content may be incorrect.">
            <a:extLst>
              <a:ext uri="{FF2B5EF4-FFF2-40B4-BE49-F238E27FC236}">
                <a16:creationId xmlns:a16="http://schemas.microsoft.com/office/drawing/2014/main" id="{C459F199-2A2D-6CE7-FD4F-C67A96274D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2977823"/>
            <a:ext cx="6217920" cy="5539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0" kern="1200" cap="none" spc="-50" baseline="0" dirty="0">
                <a:ln w="3175">
                  <a:noFill/>
                </a:ln>
                <a:solidFill>
                  <a:srgbClr val="FAE4A2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6217920" cy="246221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spc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5141080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 slide 2">
    <p:bg>
      <p:bgPr>
        <a:solidFill>
          <a:srgbClr val="E1D3C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2977823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0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9144000" cy="246221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spc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3331745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">
    <p:bg>
      <p:bgPr>
        <a:solidFill>
          <a:srgbClr val="091F2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94023B5-FCD6-2A9F-A834-F37F4443903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008" y="1693"/>
            <a:ext cx="12188991" cy="685461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2980408"/>
            <a:ext cx="6675120" cy="5539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0" kern="1200" cap="none" spc="-50" baseline="0" dirty="0">
                <a:ln w="3175">
                  <a:noFill/>
                </a:ln>
                <a:solidFill>
                  <a:srgbClr val="FAE4A2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174984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2">
    <p:bg>
      <p:bgPr>
        <a:solidFill>
          <a:srgbClr val="E1D3C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2980408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0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4891639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3771092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61">
          <p15:clr>
            <a:srgbClr val="A4A3A4"/>
          </p15:clr>
        </p15:guide>
        <p15:guide id="15" pos="3348">
          <p15:clr>
            <a:srgbClr val="A4A3A4"/>
          </p15:clr>
        </p15:guide>
        <p15:guide id="16" pos="3754">
          <p15:clr>
            <a:srgbClr val="A4A3A4"/>
          </p15:clr>
        </p15:guide>
        <p15:guide id="17" pos="3931">
          <p15:clr>
            <a:srgbClr val="A4A3A4"/>
          </p15:clr>
        </p15:guide>
        <p15:guide id="18" pos="4342">
          <p15:clr>
            <a:srgbClr val="A4A3A4"/>
          </p15:clr>
        </p15:guide>
        <p15:guide id="19" pos="4531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815513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4B7A288-CDAC-4184-9F73-137C95F5E64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84200" y="1435100"/>
            <a:ext cx="5211763" cy="48339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CEC22105-78D6-4753-94FA-3DA949361A9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389688" y="1435100"/>
            <a:ext cx="5219700" cy="48339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F6A123D-3A27-499F-9210-3E0D7CED39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1077312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  <p15:guide id="4" pos="3660">
          <p15:clr>
            <a:srgbClr val="5ACBF0"/>
          </p15:clr>
        </p15:guide>
        <p15:guide id="5" pos="4024">
          <p15:clr>
            <a:srgbClr val="5ACBF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eme 1 - Light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 descr="Theme 1 16x9 background live shapes">
            <a:extLst>
              <a:ext uri="{FF2B5EF4-FFF2-40B4-BE49-F238E27FC236}">
                <a16:creationId xmlns:a16="http://schemas.microsoft.com/office/drawing/2014/main" id="{C0E15311-C9BE-C867-A356-3D78F9853C7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0" y="-1008856"/>
            <a:ext cx="1534583" cy="863262"/>
            <a:chOff x="7823983" y="0"/>
            <a:chExt cx="22756845" cy="12801600"/>
          </a:xfrm>
        </p:grpSpPr>
        <p:sp>
          <p:nvSpPr>
            <p:cNvPr id="3" name="Rectangle 2">
              <a:hlinkClick r:id="" action="ppaction://noaction"/>
              <a:extLst>
                <a:ext uri="{FF2B5EF4-FFF2-40B4-BE49-F238E27FC236}">
                  <a16:creationId xmlns:a16="http://schemas.microsoft.com/office/drawing/2014/main" id="{EFC71651-07AF-DD6D-8D6B-20B26425BDE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>
              <a:off x="7823983" y="0"/>
              <a:ext cx="22756845" cy="12801600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76" tIns="146302" rIns="182876" bIns="14630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247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b="1">
                <a:solidFill>
                  <a:srgbClr val="091F2C"/>
                </a:solidFill>
                <a:latin typeface="Segoe UI Variable Display Semibold" pitchFamily="2" charset="0"/>
                <a:cs typeface="Segoe UI" pitchFamily="34" charset="0"/>
              </a:endParaRPr>
            </a:p>
          </p:txBody>
        </p:sp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5ACC43FF-8C74-FA5C-69B4-85A567733A2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alphaModFix amt="75000"/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7823983" y="0"/>
              <a:ext cx="22756845" cy="12801600"/>
            </a:xfrm>
            <a:prstGeom prst="rect">
              <a:avLst/>
            </a:prstGeom>
          </p:spPr>
        </p:pic>
        <p:sp>
          <p:nvSpPr>
            <p:cNvPr id="5" name="Rectangle 4">
              <a:hlinkClick r:id="" action="ppaction://noaction"/>
              <a:extLst>
                <a:ext uri="{FF2B5EF4-FFF2-40B4-BE49-F238E27FC236}">
                  <a16:creationId xmlns:a16="http://schemas.microsoft.com/office/drawing/2014/main" id="{EF4850A3-8A2F-8B93-468C-0100C31EBD6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>
              <a:off x="7823983" y="12"/>
              <a:ext cx="22756845" cy="12801588"/>
            </a:xfrm>
            <a:prstGeom prst="rect">
              <a:avLst/>
            </a:prstGeom>
            <a:gradFill flip="none" rotWithShape="1">
              <a:gsLst>
                <a:gs pos="0">
                  <a:srgbClr val="FFBAA8">
                    <a:lumMod val="75000"/>
                    <a:lumOff val="25000"/>
                    <a:alpha val="45000"/>
                  </a:srgbClr>
                </a:gs>
                <a:gs pos="44000">
                  <a:srgbClr val="CBCCCA">
                    <a:alpha val="45000"/>
                  </a:srgbClr>
                </a:gs>
              </a:gsLst>
              <a:lin ang="15000000" scaled="0"/>
              <a:tileRect/>
            </a:gra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479" tIns="58783" rIns="73479" bIns="587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374667" fontAlgn="base">
                <a:spcBef>
                  <a:spcPct val="0"/>
                </a:spcBef>
                <a:spcAft>
                  <a:spcPct val="0"/>
                </a:spcAft>
              </a:pPr>
              <a:endParaRPr lang="en-US" sz="500" b="1">
                <a:solidFill>
                  <a:srgbClr val="091F2C"/>
                </a:solidFill>
                <a:latin typeface="Segoe UI Variable Display Semibold" pitchFamily="2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7597101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61">
          <p15:clr>
            <a:srgbClr val="A4A3A4"/>
          </p15:clr>
        </p15:guide>
        <p15:guide id="15" pos="3348">
          <p15:clr>
            <a:srgbClr val="A4A3A4"/>
          </p15:clr>
        </p15:guide>
        <p15:guide id="16" pos="3754">
          <p15:clr>
            <a:srgbClr val="A4A3A4"/>
          </p15:clr>
        </p15:guide>
        <p15:guide id="17" pos="3931">
          <p15:clr>
            <a:srgbClr val="A4A3A4"/>
          </p15:clr>
        </p15:guide>
        <p15:guide id="18" pos="4342">
          <p15:clr>
            <a:srgbClr val="A4A3A4"/>
          </p15:clr>
        </p15:guide>
        <p15:guide id="19" pos="4531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eme 1 - Light-TitleOnly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 descr="Theme 1 16x9 background live shapes">
            <a:extLst>
              <a:ext uri="{FF2B5EF4-FFF2-40B4-BE49-F238E27FC236}">
                <a16:creationId xmlns:a16="http://schemas.microsoft.com/office/drawing/2014/main" id="{C0E15311-C9BE-C867-A356-3D78F9853C7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0" y="-1008856"/>
            <a:ext cx="1534583" cy="863262"/>
            <a:chOff x="7823983" y="0"/>
            <a:chExt cx="22756845" cy="12801600"/>
          </a:xfrm>
        </p:grpSpPr>
        <p:sp>
          <p:nvSpPr>
            <p:cNvPr id="3" name="Rectangle 2">
              <a:hlinkClick r:id="" action="ppaction://noaction"/>
              <a:extLst>
                <a:ext uri="{FF2B5EF4-FFF2-40B4-BE49-F238E27FC236}">
                  <a16:creationId xmlns:a16="http://schemas.microsoft.com/office/drawing/2014/main" id="{EFC71651-07AF-DD6D-8D6B-20B26425BDE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>
              <a:off x="7823983" y="0"/>
              <a:ext cx="22756845" cy="12801600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76" tIns="146302" rIns="182876" bIns="14630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247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b="1">
                <a:solidFill>
                  <a:srgbClr val="091F2C"/>
                </a:solidFill>
                <a:latin typeface="Segoe UI Variable Display Semibold" pitchFamily="2" charset="0"/>
                <a:cs typeface="Segoe UI" pitchFamily="34" charset="0"/>
              </a:endParaRPr>
            </a:p>
          </p:txBody>
        </p:sp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5ACC43FF-8C74-FA5C-69B4-85A567733A2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alphaModFix amt="75000"/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7823983" y="0"/>
              <a:ext cx="22756845" cy="12801600"/>
            </a:xfrm>
            <a:prstGeom prst="rect">
              <a:avLst/>
            </a:prstGeom>
          </p:spPr>
        </p:pic>
        <p:sp>
          <p:nvSpPr>
            <p:cNvPr id="5" name="Rectangle 4">
              <a:hlinkClick r:id="" action="ppaction://noaction"/>
              <a:extLst>
                <a:ext uri="{FF2B5EF4-FFF2-40B4-BE49-F238E27FC236}">
                  <a16:creationId xmlns:a16="http://schemas.microsoft.com/office/drawing/2014/main" id="{EF4850A3-8A2F-8B93-468C-0100C31EBD6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>
              <a:off x="7823983" y="12"/>
              <a:ext cx="22756845" cy="12801588"/>
            </a:xfrm>
            <a:prstGeom prst="rect">
              <a:avLst/>
            </a:prstGeom>
            <a:gradFill flip="none" rotWithShape="1">
              <a:gsLst>
                <a:gs pos="0">
                  <a:srgbClr val="FFBAA8">
                    <a:lumMod val="75000"/>
                    <a:lumOff val="25000"/>
                    <a:alpha val="45000"/>
                  </a:srgbClr>
                </a:gs>
                <a:gs pos="44000">
                  <a:srgbClr val="CBCCCA">
                    <a:alpha val="45000"/>
                  </a:srgbClr>
                </a:gs>
              </a:gsLst>
              <a:lin ang="15000000" scaled="0"/>
              <a:tileRect/>
            </a:gra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479" tIns="58783" rIns="73479" bIns="587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374667" fontAlgn="base">
                <a:spcBef>
                  <a:spcPct val="0"/>
                </a:spcBef>
                <a:spcAft>
                  <a:spcPct val="0"/>
                </a:spcAft>
              </a:pPr>
              <a:endParaRPr lang="en-US" sz="500" b="1">
                <a:solidFill>
                  <a:srgbClr val="091F2C"/>
                </a:solidFill>
                <a:latin typeface="Segoe UI Variable Display Semibold" pitchFamily="2" charset="0"/>
                <a:cs typeface="Segoe UI" pitchFamily="34" charset="0"/>
              </a:endParaRPr>
            </a:p>
          </p:txBody>
        </p:sp>
      </p:grpSp>
      <p:sp>
        <p:nvSpPr>
          <p:cNvPr id="6" name="Title 2">
            <a:extLst>
              <a:ext uri="{FF2B5EF4-FFF2-40B4-BE49-F238E27FC236}">
                <a16:creationId xmlns:a16="http://schemas.microsoft.com/office/drawing/2014/main" id="{62762CD8-0B3F-9FF8-C76A-2375AEB13A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98323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1222007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61">
          <p15:clr>
            <a:srgbClr val="A4A3A4"/>
          </p15:clr>
        </p15:guide>
        <p15:guide id="15" pos="3348">
          <p15:clr>
            <a:srgbClr val="A4A3A4"/>
          </p15:clr>
        </p15:guide>
        <p15:guide id="16" pos="3754">
          <p15:clr>
            <a:srgbClr val="A4A3A4"/>
          </p15:clr>
        </p15:guide>
        <p15:guide id="17" pos="3931">
          <p15:clr>
            <a:srgbClr val="A4A3A4"/>
          </p15:clr>
        </p15:guide>
        <p15:guide id="18" pos="4342">
          <p15:clr>
            <a:srgbClr val="A4A3A4"/>
          </p15:clr>
        </p15:guide>
        <p15:guide id="19" pos="4531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eme 2 - Light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 descr="Theme 2 16x9 background live shapes">
            <a:extLst>
              <a:ext uri="{FF2B5EF4-FFF2-40B4-BE49-F238E27FC236}">
                <a16:creationId xmlns:a16="http://schemas.microsoft.com/office/drawing/2014/main" id="{2C9F669A-A2E3-13A8-CF6F-878DBA275EA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0" y="-1008856"/>
            <a:ext cx="1534583" cy="863263"/>
            <a:chOff x="7823983" y="0"/>
            <a:chExt cx="22756845" cy="12801600"/>
          </a:xfrm>
        </p:grpSpPr>
        <p:sp>
          <p:nvSpPr>
            <p:cNvPr id="7" name="Rectangle 6">
              <a:hlinkClick r:id="" action="ppaction://noaction"/>
              <a:extLst>
                <a:ext uri="{FF2B5EF4-FFF2-40B4-BE49-F238E27FC236}">
                  <a16:creationId xmlns:a16="http://schemas.microsoft.com/office/drawing/2014/main" id="{0B41CE57-799E-5170-BE26-9C2C5EC574E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>
              <a:off x="7823983" y="0"/>
              <a:ext cx="22756845" cy="12801600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76" tIns="146302" rIns="182876" bIns="14630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247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b="1">
                <a:solidFill>
                  <a:srgbClr val="091F2C"/>
                </a:solidFill>
                <a:latin typeface="Segoe UI Variable Display Semibold" pitchFamily="2" charset="0"/>
                <a:cs typeface="Segoe UI" pitchFamily="34" charset="0"/>
              </a:endParaRPr>
            </a:p>
          </p:txBody>
        </p: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5DEC80F5-20C7-6914-1D71-23CBD1BEF23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alphaModFix amt="75000"/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7823983" y="0"/>
              <a:ext cx="22756845" cy="12801600"/>
            </a:xfrm>
            <a:prstGeom prst="rect">
              <a:avLst/>
            </a:prstGeom>
          </p:spPr>
        </p:pic>
        <p:sp>
          <p:nvSpPr>
            <p:cNvPr id="9" name="Rectangle 8">
              <a:hlinkClick r:id="" action="ppaction://noaction"/>
              <a:extLst>
                <a:ext uri="{FF2B5EF4-FFF2-40B4-BE49-F238E27FC236}">
                  <a16:creationId xmlns:a16="http://schemas.microsoft.com/office/drawing/2014/main" id="{6FAD1995-E9C3-6803-E792-A4B29ABB03B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>
              <a:off x="7823983" y="12"/>
              <a:ext cx="22756845" cy="12801588"/>
            </a:xfrm>
            <a:prstGeom prst="rect">
              <a:avLst/>
            </a:prstGeom>
            <a:gradFill flip="none" rotWithShape="1">
              <a:gsLst>
                <a:gs pos="0">
                  <a:srgbClr val="FFCE4C">
                    <a:alpha val="35000"/>
                  </a:srgbClr>
                </a:gs>
                <a:gs pos="45000">
                  <a:srgbClr val="41AFA1">
                    <a:alpha val="3500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76" tIns="146302" rIns="182876" bIns="14630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247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b="1">
                <a:solidFill>
                  <a:srgbClr val="091F2C"/>
                </a:solidFill>
                <a:latin typeface="Segoe UI Variable Display Semibold" pitchFamily="2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2862212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61">
          <p15:clr>
            <a:srgbClr val="A4A3A4"/>
          </p15:clr>
        </p15:guide>
        <p15:guide id="15" pos="3348">
          <p15:clr>
            <a:srgbClr val="A4A3A4"/>
          </p15:clr>
        </p15:guide>
        <p15:guide id="16" pos="3754">
          <p15:clr>
            <a:srgbClr val="A4A3A4"/>
          </p15:clr>
        </p15:guide>
        <p15:guide id="17" pos="3931">
          <p15:clr>
            <a:srgbClr val="A4A3A4"/>
          </p15:clr>
        </p15:guide>
        <p15:guide id="18" pos="4342">
          <p15:clr>
            <a:srgbClr val="A4A3A4"/>
          </p15:clr>
        </p15:guide>
        <p15:guide id="19" pos="4531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eme 3 - Light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 descr="Theme 3 16x9 background live shapes">
            <a:extLst>
              <a:ext uri="{FF2B5EF4-FFF2-40B4-BE49-F238E27FC236}">
                <a16:creationId xmlns:a16="http://schemas.microsoft.com/office/drawing/2014/main" id="{701B9F81-D668-8FC3-113F-F8E72862127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0" y="-1008856"/>
            <a:ext cx="1534583" cy="863263"/>
            <a:chOff x="7823983" y="0"/>
            <a:chExt cx="22756845" cy="12801600"/>
          </a:xfrm>
        </p:grpSpPr>
        <p:sp>
          <p:nvSpPr>
            <p:cNvPr id="11" name="Rectangle 10">
              <a:hlinkClick r:id="" action="ppaction://noaction"/>
              <a:extLst>
                <a:ext uri="{FF2B5EF4-FFF2-40B4-BE49-F238E27FC236}">
                  <a16:creationId xmlns:a16="http://schemas.microsoft.com/office/drawing/2014/main" id="{69B2D4A8-DEF8-AC9C-C93D-613F4D10CA3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>
              <a:off x="7823983" y="0"/>
              <a:ext cx="22756845" cy="12801600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76" tIns="146302" rIns="182876" bIns="14630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247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b="1">
                <a:solidFill>
                  <a:srgbClr val="091F2C"/>
                </a:solidFill>
                <a:latin typeface="Segoe UI Variable Display Semibold" pitchFamily="2" charset="0"/>
                <a:cs typeface="Segoe UI" pitchFamily="34" charset="0"/>
              </a:endParaRP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A7E170B6-641B-0C89-09A4-5A8372632F8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alphaModFix amt="75000"/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7823983" y="0"/>
              <a:ext cx="22756845" cy="12801600"/>
            </a:xfrm>
            <a:prstGeom prst="rect">
              <a:avLst/>
            </a:prstGeom>
          </p:spPr>
        </p:pic>
        <p:sp>
          <p:nvSpPr>
            <p:cNvPr id="13" name="Rectangle 12">
              <a:hlinkClick r:id="" action="ppaction://noaction"/>
              <a:extLst>
                <a:ext uri="{FF2B5EF4-FFF2-40B4-BE49-F238E27FC236}">
                  <a16:creationId xmlns:a16="http://schemas.microsoft.com/office/drawing/2014/main" id="{43352A4B-C89E-A9B3-F717-BDDC685ABF7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>
              <a:off x="7823983" y="12"/>
              <a:ext cx="22756845" cy="12801588"/>
            </a:xfrm>
            <a:prstGeom prst="rect">
              <a:avLst/>
            </a:prstGeom>
            <a:gradFill flip="none" rotWithShape="1">
              <a:gsLst>
                <a:gs pos="0">
                  <a:srgbClr val="F65567">
                    <a:alpha val="33000"/>
                  </a:srgbClr>
                </a:gs>
                <a:gs pos="58000">
                  <a:srgbClr val="238CD9">
                    <a:alpha val="3300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479" tIns="58783" rIns="73479" bIns="587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374667" fontAlgn="base">
                <a:spcBef>
                  <a:spcPct val="0"/>
                </a:spcBef>
                <a:spcAft>
                  <a:spcPct val="0"/>
                </a:spcAft>
              </a:pPr>
              <a:endParaRPr lang="en-US" sz="500" b="1">
                <a:solidFill>
                  <a:srgbClr val="091F2C"/>
                </a:solidFill>
                <a:latin typeface="Segoe UI Variable Display Semibold" pitchFamily="2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6674360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61">
          <p15:clr>
            <a:srgbClr val="A4A3A4"/>
          </p15:clr>
        </p15:guide>
        <p15:guide id="15" pos="3348">
          <p15:clr>
            <a:srgbClr val="A4A3A4"/>
          </p15:clr>
        </p15:guide>
        <p15:guide id="16" pos="3754">
          <p15:clr>
            <a:srgbClr val="A4A3A4"/>
          </p15:clr>
        </p15:guide>
        <p15:guide id="17" pos="3931">
          <p15:clr>
            <a:srgbClr val="A4A3A4"/>
          </p15:clr>
        </p15:guide>
        <p15:guide id="18" pos="4342">
          <p15:clr>
            <a:srgbClr val="A4A3A4"/>
          </p15:clr>
        </p15:guide>
        <p15:guide id="19" pos="4531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eme 4 - Light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 descr="Theme 4 16x9 background live shapes">
            <a:extLst>
              <a:ext uri="{FF2B5EF4-FFF2-40B4-BE49-F238E27FC236}">
                <a16:creationId xmlns:a16="http://schemas.microsoft.com/office/drawing/2014/main" id="{A5D90BAF-4418-AE99-EDEB-EA7D5C9210F6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0" y="-1008856"/>
            <a:ext cx="1534583" cy="863263"/>
            <a:chOff x="7823983" y="0"/>
            <a:chExt cx="22756845" cy="12801612"/>
          </a:xfrm>
        </p:grpSpPr>
        <p:sp>
          <p:nvSpPr>
            <p:cNvPr id="15" name="Rectangle 14">
              <a:hlinkClick r:id="" action="ppaction://noaction"/>
              <a:extLst>
                <a:ext uri="{FF2B5EF4-FFF2-40B4-BE49-F238E27FC236}">
                  <a16:creationId xmlns:a16="http://schemas.microsoft.com/office/drawing/2014/main" id="{6DCBF5A5-3B47-2DE4-FE52-7FC6C9B4C17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>
              <a:off x="7823983" y="0"/>
              <a:ext cx="22756845" cy="12801600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76" tIns="146302" rIns="182876" bIns="14630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247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b="1">
                <a:solidFill>
                  <a:srgbClr val="091F2C"/>
                </a:solidFill>
                <a:latin typeface="Segoe UI Variable Display Semibold" pitchFamily="2" charset="0"/>
                <a:cs typeface="Segoe UI" pitchFamily="34" charset="0"/>
              </a:endParaRPr>
            </a:p>
          </p:txBody>
        </p: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F2C6E3DB-3082-7071-2E58-009660DC144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alphaModFix amt="75000"/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7823983" y="0"/>
              <a:ext cx="22756845" cy="12801600"/>
            </a:xfrm>
            <a:prstGeom prst="rect">
              <a:avLst/>
            </a:prstGeom>
          </p:spPr>
        </p:pic>
        <p:sp>
          <p:nvSpPr>
            <p:cNvPr id="17" name="Rectangle 16">
              <a:hlinkClick r:id="" action="ppaction://noaction"/>
              <a:extLst>
                <a:ext uri="{FF2B5EF4-FFF2-40B4-BE49-F238E27FC236}">
                  <a16:creationId xmlns:a16="http://schemas.microsoft.com/office/drawing/2014/main" id="{E4A822BB-508E-BB29-85CA-BCAD53D70D4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>
              <a:off x="7823983" y="12"/>
              <a:ext cx="22756845" cy="12801600"/>
            </a:xfrm>
            <a:prstGeom prst="rect">
              <a:avLst/>
            </a:prstGeom>
            <a:gradFill flip="none" rotWithShape="1">
              <a:gsLst>
                <a:gs pos="58000">
                  <a:srgbClr val="CA6CCD">
                    <a:alpha val="33000"/>
                  </a:srgbClr>
                </a:gs>
                <a:gs pos="0">
                  <a:srgbClr val="FF7F62">
                    <a:alpha val="33000"/>
                    <a:lumMod val="10000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479" tIns="58783" rIns="73479" bIns="587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374667" fontAlgn="base">
                <a:spcBef>
                  <a:spcPct val="0"/>
                </a:spcBef>
                <a:spcAft>
                  <a:spcPct val="0"/>
                </a:spcAft>
              </a:pPr>
              <a:endParaRPr lang="en-US" sz="500" b="1">
                <a:solidFill>
                  <a:srgbClr val="091F2C"/>
                </a:solidFill>
                <a:latin typeface="Segoe UI Variable Display Semibold" pitchFamily="2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8697367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61">
          <p15:clr>
            <a:srgbClr val="A4A3A4"/>
          </p15:clr>
        </p15:guide>
        <p15:guide id="15" pos="3348">
          <p15:clr>
            <a:srgbClr val="A4A3A4"/>
          </p15:clr>
        </p15:guide>
        <p15:guide id="16" pos="3754">
          <p15:clr>
            <a:srgbClr val="A4A3A4"/>
          </p15:clr>
        </p15:guide>
        <p15:guide id="17" pos="3931">
          <p15:clr>
            <a:srgbClr val="A4A3A4"/>
          </p15:clr>
        </p15:guide>
        <p15:guide id="18" pos="4342">
          <p15:clr>
            <a:srgbClr val="A4A3A4"/>
          </p15:clr>
        </p15:guide>
        <p15:guide id="19" pos="4531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eme 5 - Light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7" descr="Theme 5 16x9 background live shapes">
            <a:extLst>
              <a:ext uri="{FF2B5EF4-FFF2-40B4-BE49-F238E27FC236}">
                <a16:creationId xmlns:a16="http://schemas.microsoft.com/office/drawing/2014/main" id="{F471B4C8-749E-132F-7130-CF7608FCEE14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0" y="-1008856"/>
            <a:ext cx="1534583" cy="863263"/>
            <a:chOff x="7823983" y="0"/>
            <a:chExt cx="22756845" cy="12801600"/>
          </a:xfrm>
        </p:grpSpPr>
        <p:sp>
          <p:nvSpPr>
            <p:cNvPr id="19" name="Rectangle 18">
              <a:hlinkClick r:id="" action="ppaction://noaction"/>
              <a:extLst>
                <a:ext uri="{FF2B5EF4-FFF2-40B4-BE49-F238E27FC236}">
                  <a16:creationId xmlns:a16="http://schemas.microsoft.com/office/drawing/2014/main" id="{F6B93EEB-A93D-108F-E45A-83D58E7467A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>
              <a:off x="7823983" y="0"/>
              <a:ext cx="22756845" cy="12801600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76" tIns="146302" rIns="182876" bIns="14630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247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b="1">
                <a:solidFill>
                  <a:srgbClr val="091F2C"/>
                </a:solidFill>
                <a:latin typeface="Segoe UI Variable Display Semibold" pitchFamily="2" charset="0"/>
                <a:cs typeface="Segoe UI" pitchFamily="34" charset="0"/>
              </a:endParaRPr>
            </a:p>
          </p:txBody>
        </p:sp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D25A433E-5152-221F-A9CC-34181115C10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alphaModFix amt="75000"/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7823983" y="0"/>
              <a:ext cx="22756845" cy="12801600"/>
            </a:xfrm>
            <a:prstGeom prst="rect">
              <a:avLst/>
            </a:prstGeom>
          </p:spPr>
        </p:pic>
        <p:sp>
          <p:nvSpPr>
            <p:cNvPr id="21" name="Rectangle 20">
              <a:hlinkClick r:id="" action="ppaction://noaction"/>
              <a:extLst>
                <a:ext uri="{FF2B5EF4-FFF2-40B4-BE49-F238E27FC236}">
                  <a16:creationId xmlns:a16="http://schemas.microsoft.com/office/drawing/2014/main" id="{F6619842-DA6B-14EB-A137-6942BBC4BC6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>
              <a:off x="7823983" y="12"/>
              <a:ext cx="22756845" cy="12801588"/>
            </a:xfrm>
            <a:prstGeom prst="rect">
              <a:avLst/>
            </a:prstGeom>
            <a:gradFill flip="none" rotWithShape="1">
              <a:gsLst>
                <a:gs pos="60000">
                  <a:srgbClr val="DCEDE8">
                    <a:alpha val="60000"/>
                  </a:srgbClr>
                </a:gs>
                <a:gs pos="0">
                  <a:srgbClr val="FFF1CC">
                    <a:alpha val="6000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R="0" lvl="0" indent="0" defTabSz="374667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500" b="0" i="0" u="none" strike="noStrike" cap="none" spc="0" normalizeH="0" baseline="0">
                <a:ln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UI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4258578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61">
          <p15:clr>
            <a:srgbClr val="A4A3A4"/>
          </p15:clr>
        </p15:guide>
        <p15:guide id="15" pos="3348">
          <p15:clr>
            <a:srgbClr val="A4A3A4"/>
          </p15:clr>
        </p15:guide>
        <p15:guide id="16" pos="3754">
          <p15:clr>
            <a:srgbClr val="A4A3A4"/>
          </p15:clr>
        </p15:guide>
        <p15:guide id="17" pos="3931">
          <p15:clr>
            <a:srgbClr val="A4A3A4"/>
          </p15:clr>
        </p15:guide>
        <p15:guide id="18" pos="4342">
          <p15:clr>
            <a:srgbClr val="A4A3A4"/>
          </p15:clr>
        </p15:guide>
        <p15:guide id="19" pos="4531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eme 6 - Light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 descr="Theme 6 16x9 background live shapes">
            <a:extLst>
              <a:ext uri="{FF2B5EF4-FFF2-40B4-BE49-F238E27FC236}">
                <a16:creationId xmlns:a16="http://schemas.microsoft.com/office/drawing/2014/main" id="{015E8758-8AD5-33E3-7075-9EBD7214B07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0" y="-1008856"/>
            <a:ext cx="1534583" cy="863263"/>
            <a:chOff x="0" y="-1402736"/>
            <a:chExt cx="1918074" cy="1078992"/>
          </a:xfrm>
        </p:grpSpPr>
        <p:sp>
          <p:nvSpPr>
            <p:cNvPr id="23" name="Rectangle 22">
              <a:hlinkClick r:id="" action="ppaction://noaction"/>
              <a:extLst>
                <a:ext uri="{FF2B5EF4-FFF2-40B4-BE49-F238E27FC236}">
                  <a16:creationId xmlns:a16="http://schemas.microsoft.com/office/drawing/2014/main" id="{D750F67A-569C-CBA2-940A-441C138FAA3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>
              <a:off x="0" y="-1402736"/>
              <a:ext cx="1918074" cy="1078992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76" tIns="146302" rIns="182876" bIns="14630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247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b="1">
                <a:solidFill>
                  <a:srgbClr val="091F2C"/>
                </a:solidFill>
                <a:latin typeface="Segoe UI Variable Display Semibold" pitchFamily="2" charset="0"/>
                <a:cs typeface="Segoe UI" pitchFamily="34" charset="0"/>
              </a:endParaRPr>
            </a:p>
          </p:txBody>
        </p: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642E5D0F-EA15-A97B-1246-F92FD64DC2D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alphaModFix amt="75000"/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0" y="-1402736"/>
              <a:ext cx="1918074" cy="1078992"/>
            </a:xfrm>
            <a:prstGeom prst="rect">
              <a:avLst/>
            </a:prstGeom>
          </p:spPr>
        </p:pic>
        <p:sp>
          <p:nvSpPr>
            <p:cNvPr id="25" name="Rectangle 24">
              <a:hlinkClick r:id="" action="ppaction://noaction"/>
              <a:extLst>
                <a:ext uri="{FF2B5EF4-FFF2-40B4-BE49-F238E27FC236}">
                  <a16:creationId xmlns:a16="http://schemas.microsoft.com/office/drawing/2014/main" id="{86D236A9-3859-42A3-96A9-00BF164F344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>
              <a:off x="0" y="-1402735"/>
              <a:ext cx="1918074" cy="1078991"/>
            </a:xfrm>
            <a:prstGeom prst="rect">
              <a:avLst/>
            </a:prstGeom>
            <a:gradFill flip="none" rotWithShape="1">
              <a:gsLst>
                <a:gs pos="60000">
                  <a:srgbClr val="E2F1F9">
                    <a:alpha val="60000"/>
                  </a:srgbClr>
                </a:gs>
                <a:gs pos="0">
                  <a:srgbClr val="FFECEE">
                    <a:alpha val="6000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R="0" lvl="0" indent="0" defTabSz="374667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500" b="0" i="0" u="none" strike="noStrike" cap="none" spc="0" normalizeH="0" baseline="0">
                <a:ln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UI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339734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61">
          <p15:clr>
            <a:srgbClr val="A4A3A4"/>
          </p15:clr>
        </p15:guide>
        <p15:guide id="15" pos="3348">
          <p15:clr>
            <a:srgbClr val="A4A3A4"/>
          </p15:clr>
        </p15:guide>
        <p15:guide id="16" pos="3754">
          <p15:clr>
            <a:srgbClr val="A4A3A4"/>
          </p15:clr>
        </p15:guide>
        <p15:guide id="17" pos="3931">
          <p15:clr>
            <a:srgbClr val="A4A3A4"/>
          </p15:clr>
        </p15:guide>
        <p15:guide id="18" pos="4342">
          <p15:clr>
            <a:srgbClr val="A4A3A4"/>
          </p15:clr>
        </p15:guide>
        <p15:guide id="19" pos="4531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eme 7 - Light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oup 25" descr="Theme 7 16x9 background live shapes">
            <a:extLst>
              <a:ext uri="{FF2B5EF4-FFF2-40B4-BE49-F238E27FC236}">
                <a16:creationId xmlns:a16="http://schemas.microsoft.com/office/drawing/2014/main" id="{1D5E2B0A-A131-90A3-4F11-AEABD73BD52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0" y="-1008856"/>
            <a:ext cx="1534583" cy="863263"/>
            <a:chOff x="0" y="-1402736"/>
            <a:chExt cx="1918074" cy="1078992"/>
          </a:xfrm>
        </p:grpSpPr>
        <p:sp>
          <p:nvSpPr>
            <p:cNvPr id="27" name="Rectangle 26">
              <a:hlinkClick r:id="" action="ppaction://noaction"/>
              <a:extLst>
                <a:ext uri="{FF2B5EF4-FFF2-40B4-BE49-F238E27FC236}">
                  <a16:creationId xmlns:a16="http://schemas.microsoft.com/office/drawing/2014/main" id="{A4930299-6198-1641-57F1-13DF5C95B8C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>
              <a:off x="0" y="-1402736"/>
              <a:ext cx="1918074" cy="1078992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76" tIns="146302" rIns="182876" bIns="14630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247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b="1">
                <a:solidFill>
                  <a:srgbClr val="091F2C"/>
                </a:solidFill>
                <a:latin typeface="Segoe UI Variable Display Semibold" pitchFamily="2" charset="0"/>
                <a:cs typeface="Segoe UI" pitchFamily="34" charset="0"/>
              </a:endParaRPr>
            </a:p>
          </p:txBody>
        </p:sp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C505751D-42F3-B0A8-8024-1FC682FBE5C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alphaModFix amt="75000"/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0" y="-1402736"/>
              <a:ext cx="1918074" cy="1078992"/>
            </a:xfrm>
            <a:prstGeom prst="rect">
              <a:avLst/>
            </a:prstGeom>
          </p:spPr>
        </p:pic>
        <p:sp>
          <p:nvSpPr>
            <p:cNvPr id="29" name="Rectangle 28">
              <a:hlinkClick r:id="" action="ppaction://noaction"/>
              <a:extLst>
                <a:ext uri="{FF2B5EF4-FFF2-40B4-BE49-F238E27FC236}">
                  <a16:creationId xmlns:a16="http://schemas.microsoft.com/office/drawing/2014/main" id="{68724290-E668-3407-D417-8E84F4D1B19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>
              <a:off x="0" y="-1402735"/>
              <a:ext cx="1918074" cy="1078991"/>
            </a:xfrm>
            <a:prstGeom prst="rect">
              <a:avLst/>
            </a:prstGeom>
            <a:gradFill flip="none" rotWithShape="1">
              <a:gsLst>
                <a:gs pos="0">
                  <a:srgbClr val="FFF8E5">
                    <a:alpha val="60000"/>
                  </a:srgbClr>
                </a:gs>
                <a:gs pos="60000">
                  <a:srgbClr val="FFECEE">
                    <a:alpha val="6000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R="0" lvl="0" indent="0" defTabSz="374667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500" b="0" i="0" u="none" strike="noStrike" cap="none" spc="0" normalizeH="0" baseline="0">
                <a:ln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UI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6136491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61">
          <p15:clr>
            <a:srgbClr val="A4A3A4"/>
          </p15:clr>
        </p15:guide>
        <p15:guide id="15" pos="3348">
          <p15:clr>
            <a:srgbClr val="A4A3A4"/>
          </p15:clr>
        </p15:guide>
        <p15:guide id="16" pos="3754">
          <p15:clr>
            <a:srgbClr val="A4A3A4"/>
          </p15:clr>
        </p15:guide>
        <p15:guide id="17" pos="3931">
          <p15:clr>
            <a:srgbClr val="A4A3A4"/>
          </p15:clr>
        </p15:guide>
        <p15:guide id="18" pos="4342">
          <p15:clr>
            <a:srgbClr val="A4A3A4"/>
          </p15:clr>
        </p15:guide>
        <p15:guide id="19" pos="4531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eme 1 - Dark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 descr="Theme 1 dark 16x9 background live shapes">
            <a:extLst>
              <a:ext uri="{FF2B5EF4-FFF2-40B4-BE49-F238E27FC236}">
                <a16:creationId xmlns:a16="http://schemas.microsoft.com/office/drawing/2014/main" id="{D6DDA62B-58BD-05FE-12D1-C1AC0D002AB1}"/>
              </a:ext>
            </a:extLst>
          </p:cNvPr>
          <p:cNvGrpSpPr/>
          <p:nvPr userDrawn="1"/>
        </p:nvGrpSpPr>
        <p:grpSpPr>
          <a:xfrm>
            <a:off x="0" y="-1008856"/>
            <a:ext cx="1536237" cy="865414"/>
            <a:chOff x="411480" y="4576565"/>
            <a:chExt cx="2743200" cy="1545336"/>
          </a:xfrm>
        </p:grpSpPr>
        <p:sp>
          <p:nvSpPr>
            <p:cNvPr id="3" name="Rectangle 2">
              <a:hlinkClick r:id="" action="ppaction://noaction"/>
              <a:extLst>
                <a:ext uri="{FF2B5EF4-FFF2-40B4-BE49-F238E27FC236}">
                  <a16:creationId xmlns:a16="http://schemas.microsoft.com/office/drawing/2014/main" id="{D0557860-6A8F-8E52-A580-098D8C0E263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>
              <a:off x="411480" y="4576565"/>
              <a:ext cx="2743200" cy="1545336"/>
            </a:xfrm>
            <a:prstGeom prst="rect">
              <a:avLst/>
            </a:prstGeom>
            <a:gradFill>
              <a:gsLst>
                <a:gs pos="0">
                  <a:srgbClr val="391C0E"/>
                </a:gs>
                <a:gs pos="44000">
                  <a:srgbClr val="000000"/>
                </a:gs>
              </a:gsLst>
              <a:lin ang="13500000" scaled="0"/>
            </a:gra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400">
                <a:solidFill>
                  <a:srgbClr val="FFFFFF"/>
                </a:solidFill>
                <a:cs typeface="Segoe UI" pitchFamily="34" charset="0"/>
              </a:endParaRPr>
            </a:p>
          </p:txBody>
        </p:sp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547E1C8F-4FB3-EACE-501C-D6337A81894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alphaModFix amt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1480" y="4576565"/>
              <a:ext cx="2743200" cy="1545336"/>
            </a:xfrm>
            <a:prstGeom prst="rect">
              <a:avLst/>
            </a:prstGeom>
          </p:spPr>
        </p:pic>
        <p:sp>
          <p:nvSpPr>
            <p:cNvPr id="5" name="Rectangle 4">
              <a:hlinkClick r:id="" action="ppaction://noaction"/>
              <a:extLst>
                <a:ext uri="{FF2B5EF4-FFF2-40B4-BE49-F238E27FC236}">
                  <a16:creationId xmlns:a16="http://schemas.microsoft.com/office/drawing/2014/main" id="{22E67220-0F09-59F1-152B-DC326AC26FB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1480" y="4576565"/>
              <a:ext cx="2743200" cy="1545336"/>
            </a:xfrm>
            <a:prstGeom prst="rect">
              <a:avLst/>
            </a:prstGeom>
            <a:gradFill flip="none" rotWithShape="1">
              <a:gsLst>
                <a:gs pos="0">
                  <a:srgbClr val="391C0E">
                    <a:alpha val="65000"/>
                  </a:srgbClr>
                </a:gs>
                <a:gs pos="44000">
                  <a:srgbClr val="000000">
                    <a:alpha val="65000"/>
                  </a:srgbClr>
                </a:gs>
              </a:gsLst>
              <a:lin ang="13500000" scaled="0"/>
              <a:tileRect/>
            </a:gra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374667" fontAlgn="base">
                <a:spcBef>
                  <a:spcPct val="0"/>
                </a:spcBef>
                <a:spcAft>
                  <a:spcPct val="0"/>
                </a:spcAft>
              </a:pPr>
              <a:endParaRPr lang="en-US" sz="500">
                <a:solidFill>
                  <a:srgbClr val="091F2C"/>
                </a:solidFill>
                <a:latin typeface="Segoe UI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198757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eme 2 - Dark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 descr="Theme 2 dark 16x9 background live shapes">
            <a:extLst>
              <a:ext uri="{FF2B5EF4-FFF2-40B4-BE49-F238E27FC236}">
                <a16:creationId xmlns:a16="http://schemas.microsoft.com/office/drawing/2014/main" id="{E6FC3824-0482-F354-39BA-F28FAA2CFE62}"/>
              </a:ext>
            </a:extLst>
          </p:cNvPr>
          <p:cNvGrpSpPr/>
          <p:nvPr userDrawn="1"/>
        </p:nvGrpSpPr>
        <p:grpSpPr>
          <a:xfrm>
            <a:off x="0" y="-1008856"/>
            <a:ext cx="1536237" cy="865414"/>
            <a:chOff x="3246120" y="4576565"/>
            <a:chExt cx="2743200" cy="1545336"/>
          </a:xfrm>
        </p:grpSpPr>
        <p:sp>
          <p:nvSpPr>
            <p:cNvPr id="7" name="Rectangle 6">
              <a:hlinkClick r:id="" action="ppaction://noaction"/>
              <a:extLst>
                <a:ext uri="{FF2B5EF4-FFF2-40B4-BE49-F238E27FC236}">
                  <a16:creationId xmlns:a16="http://schemas.microsoft.com/office/drawing/2014/main" id="{B6B5AAEB-982A-222D-1493-9AAD902AE1E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46120" y="4576565"/>
              <a:ext cx="2743200" cy="1545336"/>
            </a:xfrm>
            <a:prstGeom prst="rect">
              <a:avLst/>
            </a:prstGeom>
            <a:gradFill>
              <a:gsLst>
                <a:gs pos="50000">
                  <a:srgbClr val="112D31"/>
                </a:gs>
                <a:gs pos="0">
                  <a:srgbClr val="152237"/>
                </a:gs>
              </a:gsLst>
              <a:lin ang="13500000" scaled="1"/>
            </a:gra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400">
                <a:solidFill>
                  <a:srgbClr val="FFFFFF"/>
                </a:solidFill>
                <a:cs typeface="Segoe UI" pitchFamily="34" charset="0"/>
              </a:endParaRPr>
            </a:p>
          </p:txBody>
        </p: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D44D29B3-CB57-0B92-6545-BBA4A16F83E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alphaModFix amt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246120" y="4576565"/>
              <a:ext cx="2743200" cy="1545336"/>
            </a:xfrm>
            <a:prstGeom prst="rect">
              <a:avLst/>
            </a:prstGeom>
          </p:spPr>
        </p:pic>
        <p:sp>
          <p:nvSpPr>
            <p:cNvPr id="9" name="Rectangle 8">
              <a:hlinkClick r:id="" action="ppaction://noaction"/>
              <a:extLst>
                <a:ext uri="{FF2B5EF4-FFF2-40B4-BE49-F238E27FC236}">
                  <a16:creationId xmlns:a16="http://schemas.microsoft.com/office/drawing/2014/main" id="{AACE6C2F-447A-F29B-C7D4-58B5A6B07CB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46120" y="4576565"/>
              <a:ext cx="2743200" cy="1545336"/>
            </a:xfrm>
            <a:prstGeom prst="rect">
              <a:avLst/>
            </a:prstGeom>
            <a:gradFill>
              <a:gsLst>
                <a:gs pos="50000">
                  <a:srgbClr val="112D31">
                    <a:alpha val="75000"/>
                  </a:srgbClr>
                </a:gs>
                <a:gs pos="0">
                  <a:srgbClr val="152237">
                    <a:alpha val="75000"/>
                  </a:srgbClr>
                </a:gs>
              </a:gsLst>
              <a:lin ang="13500000" scaled="1"/>
            </a:gra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374667" fontAlgn="base">
                <a:spcBef>
                  <a:spcPct val="0"/>
                </a:spcBef>
                <a:spcAft>
                  <a:spcPct val="0"/>
                </a:spcAft>
              </a:pPr>
              <a:endParaRPr lang="en-US" sz="500">
                <a:solidFill>
                  <a:srgbClr val="091F2C"/>
                </a:solidFill>
                <a:latin typeface="Segoe UI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839044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3038965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  <p15:guide id="4" pos="3656">
          <p15:clr>
            <a:srgbClr val="5ACBF0"/>
          </p15:clr>
        </p15:guide>
        <p15:guide id="5" pos="4024">
          <p15:clr>
            <a:srgbClr val="5ACBF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eme 3 - Dark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 descr="Theme 3 dark 16x9 background live shapes">
            <a:extLst>
              <a:ext uri="{FF2B5EF4-FFF2-40B4-BE49-F238E27FC236}">
                <a16:creationId xmlns:a16="http://schemas.microsoft.com/office/drawing/2014/main" id="{17DE4D58-1C9F-4418-F0C2-8D6420E9DA4E}"/>
              </a:ext>
            </a:extLst>
          </p:cNvPr>
          <p:cNvGrpSpPr/>
          <p:nvPr userDrawn="1"/>
        </p:nvGrpSpPr>
        <p:grpSpPr>
          <a:xfrm>
            <a:off x="0" y="-1008856"/>
            <a:ext cx="1536237" cy="865414"/>
            <a:chOff x="6080760" y="4576565"/>
            <a:chExt cx="2743200" cy="1545336"/>
          </a:xfrm>
        </p:grpSpPr>
        <p:sp>
          <p:nvSpPr>
            <p:cNvPr id="11" name="Rectangle 10">
              <a:hlinkClick r:id="" action="ppaction://noaction"/>
              <a:extLst>
                <a:ext uri="{FF2B5EF4-FFF2-40B4-BE49-F238E27FC236}">
                  <a16:creationId xmlns:a16="http://schemas.microsoft.com/office/drawing/2014/main" id="{577586E1-5D84-AE6F-C22E-B0F1CE28D14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80760" y="4576565"/>
              <a:ext cx="2743200" cy="1545336"/>
            </a:xfrm>
            <a:prstGeom prst="rect">
              <a:avLst/>
            </a:prstGeom>
            <a:gradFill>
              <a:gsLst>
                <a:gs pos="0">
                  <a:srgbClr val="381239"/>
                </a:gs>
                <a:gs pos="50000">
                  <a:srgbClr val="152237"/>
                </a:gs>
              </a:gsLst>
              <a:lin ang="13500000" scaled="1"/>
            </a:gra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400">
                <a:solidFill>
                  <a:srgbClr val="FFFFFF"/>
                </a:solidFill>
                <a:cs typeface="Segoe UI" pitchFamily="34" charset="0"/>
              </a:endParaRP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3AEF63A3-FE56-5736-4DA6-9247DC87B9A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alphaModFix amt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6080760" y="4576565"/>
              <a:ext cx="2743200" cy="1545336"/>
            </a:xfrm>
            <a:prstGeom prst="rect">
              <a:avLst/>
            </a:prstGeom>
          </p:spPr>
        </p:pic>
        <p:sp>
          <p:nvSpPr>
            <p:cNvPr id="13" name="Rectangle 12">
              <a:hlinkClick r:id="" action="ppaction://noaction"/>
              <a:extLst>
                <a:ext uri="{FF2B5EF4-FFF2-40B4-BE49-F238E27FC236}">
                  <a16:creationId xmlns:a16="http://schemas.microsoft.com/office/drawing/2014/main" id="{F018CB8D-10F0-B1D7-4E76-6C1BD76B3C3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80760" y="4576565"/>
              <a:ext cx="2743200" cy="1545336"/>
            </a:xfrm>
            <a:prstGeom prst="rect">
              <a:avLst/>
            </a:prstGeom>
            <a:gradFill>
              <a:gsLst>
                <a:gs pos="0">
                  <a:srgbClr val="381239">
                    <a:alpha val="75000"/>
                  </a:srgbClr>
                </a:gs>
                <a:gs pos="50000">
                  <a:srgbClr val="152237">
                    <a:alpha val="75000"/>
                  </a:srgbClr>
                </a:gs>
              </a:gsLst>
              <a:lin ang="13500000" scaled="1"/>
            </a:gra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374667" fontAlgn="base">
                <a:spcBef>
                  <a:spcPct val="0"/>
                </a:spcBef>
                <a:spcAft>
                  <a:spcPct val="0"/>
                </a:spcAft>
              </a:pPr>
              <a:endParaRPr lang="en-US" sz="500">
                <a:solidFill>
                  <a:srgbClr val="091F2C"/>
                </a:solidFill>
                <a:latin typeface="Segoe UI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097963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eme 4 - Dark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 descr="Theme 4 dark 16x9 background live shapes">
            <a:extLst>
              <a:ext uri="{FF2B5EF4-FFF2-40B4-BE49-F238E27FC236}">
                <a16:creationId xmlns:a16="http://schemas.microsoft.com/office/drawing/2014/main" id="{534EA82C-75C4-B456-BD21-8C86BF5EE3EA}"/>
              </a:ext>
            </a:extLst>
          </p:cNvPr>
          <p:cNvGrpSpPr/>
          <p:nvPr userDrawn="1"/>
        </p:nvGrpSpPr>
        <p:grpSpPr>
          <a:xfrm>
            <a:off x="0" y="-1008856"/>
            <a:ext cx="1536237" cy="865414"/>
            <a:chOff x="8915400" y="4576565"/>
            <a:chExt cx="2743200" cy="1545336"/>
          </a:xfrm>
        </p:grpSpPr>
        <p:sp>
          <p:nvSpPr>
            <p:cNvPr id="15" name="Rectangle 14">
              <a:hlinkClick r:id="" action="ppaction://noaction"/>
              <a:extLst>
                <a:ext uri="{FF2B5EF4-FFF2-40B4-BE49-F238E27FC236}">
                  <a16:creationId xmlns:a16="http://schemas.microsoft.com/office/drawing/2014/main" id="{231D00E5-270B-B7C1-FF89-254D54FB06A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15400" y="4576565"/>
              <a:ext cx="2743200" cy="1545336"/>
            </a:xfrm>
            <a:prstGeom prst="rect">
              <a:avLst/>
            </a:prstGeom>
            <a:gradFill>
              <a:gsLst>
                <a:gs pos="50000">
                  <a:srgbClr val="381239"/>
                </a:gs>
                <a:gs pos="0">
                  <a:srgbClr val="391317"/>
                </a:gs>
              </a:gsLst>
              <a:lin ang="13500000" scaled="1"/>
            </a:gra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400">
                <a:solidFill>
                  <a:srgbClr val="FFFFFF"/>
                </a:solidFill>
                <a:cs typeface="Segoe UI" pitchFamily="34" charset="0"/>
              </a:endParaRPr>
            </a:p>
          </p:txBody>
        </p: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1879650E-33E6-A499-D887-2835B428764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alphaModFix amt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8915400" y="4576565"/>
              <a:ext cx="2743200" cy="1545336"/>
            </a:xfrm>
            <a:prstGeom prst="rect">
              <a:avLst/>
            </a:prstGeom>
          </p:spPr>
        </p:pic>
        <p:sp>
          <p:nvSpPr>
            <p:cNvPr id="17" name="Rectangle 16">
              <a:hlinkClick r:id="" action="ppaction://noaction"/>
              <a:extLst>
                <a:ext uri="{FF2B5EF4-FFF2-40B4-BE49-F238E27FC236}">
                  <a16:creationId xmlns:a16="http://schemas.microsoft.com/office/drawing/2014/main" id="{19002412-C0F3-6202-431A-F2497721466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15400" y="4576565"/>
              <a:ext cx="2743200" cy="1545336"/>
            </a:xfrm>
            <a:prstGeom prst="rect">
              <a:avLst/>
            </a:prstGeom>
            <a:gradFill>
              <a:gsLst>
                <a:gs pos="50000">
                  <a:srgbClr val="381239">
                    <a:alpha val="75000"/>
                  </a:srgbClr>
                </a:gs>
                <a:gs pos="0">
                  <a:srgbClr val="391317">
                    <a:alpha val="74902"/>
                  </a:srgbClr>
                </a:gs>
              </a:gsLst>
              <a:lin ang="13500000" scaled="1"/>
            </a:gra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374667" fontAlgn="base">
                <a:spcBef>
                  <a:spcPct val="0"/>
                </a:spcBef>
                <a:spcAft>
                  <a:spcPct val="0"/>
                </a:spcAft>
              </a:pPr>
              <a:endParaRPr lang="en-US" sz="500">
                <a:solidFill>
                  <a:srgbClr val="091F2C"/>
                </a:solidFill>
                <a:latin typeface="Segoe UI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634763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eme 5 - Dark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7" descr="Theme 5 dark 16x9 background live shapes">
            <a:extLst>
              <a:ext uri="{FF2B5EF4-FFF2-40B4-BE49-F238E27FC236}">
                <a16:creationId xmlns:a16="http://schemas.microsoft.com/office/drawing/2014/main" id="{63511831-2637-2FFE-2068-D93FDC6EC595}"/>
              </a:ext>
            </a:extLst>
          </p:cNvPr>
          <p:cNvGrpSpPr/>
          <p:nvPr userDrawn="1"/>
        </p:nvGrpSpPr>
        <p:grpSpPr>
          <a:xfrm>
            <a:off x="0" y="-1008856"/>
            <a:ext cx="1536237" cy="865414"/>
            <a:chOff x="11750040" y="4576565"/>
            <a:chExt cx="2743200" cy="1545336"/>
          </a:xfrm>
        </p:grpSpPr>
        <p:sp>
          <p:nvSpPr>
            <p:cNvPr id="19" name="Rectangle 18">
              <a:hlinkClick r:id="" action="ppaction://noaction"/>
              <a:extLst>
                <a:ext uri="{FF2B5EF4-FFF2-40B4-BE49-F238E27FC236}">
                  <a16:creationId xmlns:a16="http://schemas.microsoft.com/office/drawing/2014/main" id="{556471A8-1A82-0134-D11B-CFF29F6CEAF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50040" y="4576565"/>
              <a:ext cx="2743200" cy="1545336"/>
            </a:xfrm>
            <a:prstGeom prst="rect">
              <a:avLst/>
            </a:prstGeom>
            <a:gradFill>
              <a:gsLst>
                <a:gs pos="60000">
                  <a:srgbClr val="112D31"/>
                </a:gs>
                <a:gs pos="0">
                  <a:srgbClr val="3F2D0D"/>
                </a:gs>
              </a:gsLst>
              <a:lin ang="13500000" scaled="0"/>
            </a:gra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400">
                <a:solidFill>
                  <a:srgbClr val="FFFFFF"/>
                </a:solidFill>
                <a:cs typeface="Segoe UI" pitchFamily="34" charset="0"/>
              </a:endParaRPr>
            </a:p>
          </p:txBody>
        </p:sp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D716BA33-B837-9E45-BEB2-1EAA90A0CFD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alphaModFix amt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1750040" y="4576565"/>
              <a:ext cx="2743200" cy="1545336"/>
            </a:xfrm>
            <a:prstGeom prst="rect">
              <a:avLst/>
            </a:prstGeom>
          </p:spPr>
        </p:pic>
        <p:sp>
          <p:nvSpPr>
            <p:cNvPr id="21" name="Rectangle 20">
              <a:hlinkClick r:id="" action="ppaction://noaction"/>
              <a:extLst>
                <a:ext uri="{FF2B5EF4-FFF2-40B4-BE49-F238E27FC236}">
                  <a16:creationId xmlns:a16="http://schemas.microsoft.com/office/drawing/2014/main" id="{25C503EC-1321-007C-F7A6-504699B7380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50040" y="4576565"/>
              <a:ext cx="2743200" cy="1545336"/>
            </a:xfrm>
            <a:prstGeom prst="rect">
              <a:avLst/>
            </a:prstGeom>
            <a:gradFill flip="none" rotWithShape="1">
              <a:gsLst>
                <a:gs pos="60000">
                  <a:srgbClr val="112D31">
                    <a:alpha val="75000"/>
                  </a:srgbClr>
                </a:gs>
                <a:gs pos="0">
                  <a:srgbClr val="3F2D0D">
                    <a:alpha val="75000"/>
                  </a:srgbClr>
                </a:gs>
              </a:gsLst>
              <a:lin ang="13500000" scaled="0"/>
              <a:tileRect/>
            </a:gra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374667" fontAlgn="base">
                <a:spcBef>
                  <a:spcPct val="0"/>
                </a:spcBef>
                <a:spcAft>
                  <a:spcPct val="0"/>
                </a:spcAft>
              </a:pPr>
              <a:endParaRPr lang="en-US" sz="500">
                <a:solidFill>
                  <a:srgbClr val="091F2C"/>
                </a:solidFill>
                <a:latin typeface="Segoe UI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213021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eme 6 - Dark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 descr="Theme 6 dark 16x9 background live shapes">
            <a:extLst>
              <a:ext uri="{FF2B5EF4-FFF2-40B4-BE49-F238E27FC236}">
                <a16:creationId xmlns:a16="http://schemas.microsoft.com/office/drawing/2014/main" id="{5BC17DD9-E7D8-9FE0-2E0C-B69480790AF0}"/>
              </a:ext>
            </a:extLst>
          </p:cNvPr>
          <p:cNvGrpSpPr/>
          <p:nvPr userDrawn="1"/>
        </p:nvGrpSpPr>
        <p:grpSpPr>
          <a:xfrm>
            <a:off x="0" y="-1008856"/>
            <a:ext cx="1536237" cy="865414"/>
            <a:chOff x="14584680" y="4576565"/>
            <a:chExt cx="2743200" cy="1545336"/>
          </a:xfrm>
        </p:grpSpPr>
        <p:sp>
          <p:nvSpPr>
            <p:cNvPr id="23" name="Rectangle 22">
              <a:hlinkClick r:id="" action="ppaction://noaction"/>
              <a:extLst>
                <a:ext uri="{FF2B5EF4-FFF2-40B4-BE49-F238E27FC236}">
                  <a16:creationId xmlns:a16="http://schemas.microsoft.com/office/drawing/2014/main" id="{A73C26E8-907A-8482-98E4-6C2C3E813B4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584680" y="4576565"/>
              <a:ext cx="2743200" cy="1545336"/>
            </a:xfrm>
            <a:prstGeom prst="rect">
              <a:avLst/>
            </a:prstGeom>
            <a:gradFill>
              <a:gsLst>
                <a:gs pos="60000">
                  <a:srgbClr val="152237"/>
                </a:gs>
                <a:gs pos="0">
                  <a:srgbClr val="391317"/>
                </a:gs>
              </a:gsLst>
              <a:lin ang="13500000" scaled="0"/>
            </a:gra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400">
                <a:solidFill>
                  <a:srgbClr val="FFFFFF"/>
                </a:solidFill>
                <a:cs typeface="Segoe UI" pitchFamily="34" charset="0"/>
              </a:endParaRPr>
            </a:p>
          </p:txBody>
        </p: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95D3C924-FABE-BFAC-ED39-F1D3ECC4150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alphaModFix amt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4584680" y="4576565"/>
              <a:ext cx="2743200" cy="1545336"/>
            </a:xfrm>
            <a:prstGeom prst="rect">
              <a:avLst/>
            </a:prstGeom>
          </p:spPr>
        </p:pic>
        <p:sp>
          <p:nvSpPr>
            <p:cNvPr id="25" name="Rectangle 24">
              <a:hlinkClick r:id="" action="ppaction://noaction"/>
              <a:extLst>
                <a:ext uri="{FF2B5EF4-FFF2-40B4-BE49-F238E27FC236}">
                  <a16:creationId xmlns:a16="http://schemas.microsoft.com/office/drawing/2014/main" id="{C66BEE61-A440-1E3E-D1CB-10F6682B2B1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584680" y="4576565"/>
              <a:ext cx="2743200" cy="1545336"/>
            </a:xfrm>
            <a:prstGeom prst="rect">
              <a:avLst/>
            </a:prstGeom>
            <a:gradFill flip="none" rotWithShape="1">
              <a:gsLst>
                <a:gs pos="60000">
                  <a:srgbClr val="152237">
                    <a:alpha val="75000"/>
                  </a:srgbClr>
                </a:gs>
                <a:gs pos="0">
                  <a:srgbClr val="391317">
                    <a:alpha val="75000"/>
                  </a:srgbClr>
                </a:gs>
              </a:gsLst>
              <a:lin ang="13500000" scaled="0"/>
              <a:tileRect/>
            </a:gra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374667" fontAlgn="base">
                <a:spcBef>
                  <a:spcPct val="0"/>
                </a:spcBef>
                <a:spcAft>
                  <a:spcPct val="0"/>
                </a:spcAft>
              </a:pPr>
              <a:endParaRPr lang="en-US" sz="500">
                <a:solidFill>
                  <a:srgbClr val="091F2C"/>
                </a:solidFill>
                <a:latin typeface="Segoe UI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301668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eme 7 - Dark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oup 25" descr="Theme 7 dark 16x9 background live shapes">
            <a:extLst>
              <a:ext uri="{FF2B5EF4-FFF2-40B4-BE49-F238E27FC236}">
                <a16:creationId xmlns:a16="http://schemas.microsoft.com/office/drawing/2014/main" id="{0FE7BC74-1531-B3F6-C81C-592426F03E10}"/>
              </a:ext>
            </a:extLst>
          </p:cNvPr>
          <p:cNvGrpSpPr/>
          <p:nvPr userDrawn="1"/>
        </p:nvGrpSpPr>
        <p:grpSpPr>
          <a:xfrm>
            <a:off x="0" y="-1008856"/>
            <a:ext cx="1536237" cy="865414"/>
            <a:chOff x="17419320" y="4576565"/>
            <a:chExt cx="2743200" cy="1545336"/>
          </a:xfrm>
        </p:grpSpPr>
        <p:sp>
          <p:nvSpPr>
            <p:cNvPr id="27" name="Rectangle 26">
              <a:hlinkClick r:id="" action="ppaction://noaction"/>
              <a:extLst>
                <a:ext uri="{FF2B5EF4-FFF2-40B4-BE49-F238E27FC236}">
                  <a16:creationId xmlns:a16="http://schemas.microsoft.com/office/drawing/2014/main" id="{754F9A5F-EE53-79DF-4625-43321E06B63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19320" y="4576565"/>
              <a:ext cx="2743200" cy="1545336"/>
            </a:xfrm>
            <a:prstGeom prst="rect">
              <a:avLst/>
            </a:prstGeom>
            <a:gradFill>
              <a:gsLst>
                <a:gs pos="60000">
                  <a:srgbClr val="391317"/>
                </a:gs>
                <a:gs pos="0">
                  <a:srgbClr val="3F2D0D"/>
                </a:gs>
              </a:gsLst>
              <a:lin ang="13500000" scaled="0"/>
            </a:gra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400">
                <a:solidFill>
                  <a:srgbClr val="FFFFFF"/>
                </a:solidFill>
                <a:cs typeface="Segoe UI" pitchFamily="34" charset="0"/>
              </a:endParaRPr>
            </a:p>
          </p:txBody>
        </p:sp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77996735-F58D-E02B-8A95-6FD606B708C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alphaModFix amt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7419320" y="4576565"/>
              <a:ext cx="2743200" cy="1545336"/>
            </a:xfrm>
            <a:prstGeom prst="rect">
              <a:avLst/>
            </a:prstGeom>
          </p:spPr>
        </p:pic>
        <p:sp>
          <p:nvSpPr>
            <p:cNvPr id="29" name="Rectangle 28">
              <a:hlinkClick r:id="" action="ppaction://noaction"/>
              <a:extLst>
                <a:ext uri="{FF2B5EF4-FFF2-40B4-BE49-F238E27FC236}">
                  <a16:creationId xmlns:a16="http://schemas.microsoft.com/office/drawing/2014/main" id="{7BBFA962-E065-1748-364E-137D6749134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19320" y="4576565"/>
              <a:ext cx="2743200" cy="1545336"/>
            </a:xfrm>
            <a:prstGeom prst="rect">
              <a:avLst/>
            </a:prstGeom>
            <a:gradFill flip="none" rotWithShape="1">
              <a:gsLst>
                <a:gs pos="60000">
                  <a:srgbClr val="391317">
                    <a:alpha val="75000"/>
                  </a:srgbClr>
                </a:gs>
                <a:gs pos="0">
                  <a:srgbClr val="3F2D0D">
                    <a:alpha val="75000"/>
                  </a:srgbClr>
                </a:gs>
              </a:gsLst>
              <a:lin ang="13500000" scaled="0"/>
              <a:tileRect/>
            </a:gra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374667" fontAlgn="base">
                <a:spcBef>
                  <a:spcPct val="0"/>
                </a:spcBef>
                <a:spcAft>
                  <a:spcPct val="0"/>
                </a:spcAft>
              </a:pPr>
              <a:endParaRPr lang="en-US" sz="500">
                <a:solidFill>
                  <a:srgbClr val="091F2C"/>
                </a:solidFill>
                <a:latin typeface="Segoe UI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727222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log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 descr="This is a copyright notice that should be included on the final slide."/>
          <p:cNvSpPr txBox="1">
            <a:spLocks noChangeArrowheads="1"/>
          </p:cNvSpPr>
          <p:nvPr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>
                <a:solidFill>
                  <a:schemeClr val="tx1"/>
                </a:soli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5" name="MS logo white - EMF" descr="Microsoft logo white text version">
            <a:extLst>
              <a:ext uri="{FF2B5EF4-FFF2-40B4-BE49-F238E27FC236}">
                <a16:creationId xmlns:a16="http://schemas.microsoft.com/office/drawing/2014/main" id="{70D3778F-A717-44C8-9013-FF206B15DD6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42677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ck Notes slide Layou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>
            <a:spAutoFit/>
          </a:bodyPr>
          <a:lstStyle>
            <a:lvl1pPr>
              <a:defRPr sz="36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69038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solidFill>
                  <a:srgbClr val="000000"/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15812616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288">
          <p15:clr>
            <a:srgbClr val="5ACBF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st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E530C24-163F-15BF-3D01-A8CA8BF268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5384113"/>
      </p:ext>
    </p:extLst>
  </p:cSld>
  <p:clrMapOvr>
    <a:masterClrMapping/>
  </p:clrMapOvr>
  <p:transition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re Patterns Hook Dec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: Shape 7">
            <a:extLst>
              <a:ext uri="{FF2B5EF4-FFF2-40B4-BE49-F238E27FC236}">
                <a16:creationId xmlns:a16="http://schemas.microsoft.com/office/drawing/2014/main" id="{FC6D84C9-F0D0-2E7D-2082-0E0EAA97BC32}"/>
              </a:ext>
            </a:extLst>
          </p:cNvPr>
          <p:cNvSpPr/>
          <p:nvPr userDrawn="1"/>
        </p:nvSpPr>
        <p:spPr>
          <a:xfrm>
            <a:off x="0" y="-3432"/>
            <a:ext cx="12192000" cy="6864864"/>
          </a:xfrm>
          <a:custGeom>
            <a:avLst/>
            <a:gdLst>
              <a:gd name="connsiteX0" fmla="*/ 0 w 12192000"/>
              <a:gd name="connsiteY0" fmla="*/ 0 h 6864864"/>
              <a:gd name="connsiteX1" fmla="*/ 12192000 w 12192000"/>
              <a:gd name="connsiteY1" fmla="*/ 0 h 6864864"/>
              <a:gd name="connsiteX2" fmla="*/ 12192000 w 12192000"/>
              <a:gd name="connsiteY2" fmla="*/ 6864864 h 6864864"/>
              <a:gd name="connsiteX3" fmla="*/ 0 w 12192000"/>
              <a:gd name="connsiteY3" fmla="*/ 6864864 h 6864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64864">
                <a:moveTo>
                  <a:pt x="0" y="0"/>
                </a:moveTo>
                <a:lnTo>
                  <a:pt x="12192000" y="0"/>
                </a:lnTo>
                <a:lnTo>
                  <a:pt x="12192000" y="6864864"/>
                </a:lnTo>
                <a:lnTo>
                  <a:pt x="0" y="6864864"/>
                </a:lnTo>
                <a:close/>
              </a:path>
            </a:pathLst>
          </a:custGeom>
          <a:solidFill>
            <a:schemeClr val="bg1"/>
          </a:solidFill>
          <a:ln w="1373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7" name="Rectangle: Single Corner Rounded 6">
            <a:extLst>
              <a:ext uri="{FF2B5EF4-FFF2-40B4-BE49-F238E27FC236}">
                <a16:creationId xmlns:a16="http://schemas.microsoft.com/office/drawing/2014/main" id="{14C1DEFF-1CC8-4FA3-1BA4-C46D4165E041}"/>
              </a:ext>
            </a:extLst>
          </p:cNvPr>
          <p:cNvSpPr/>
          <p:nvPr userDrawn="1"/>
        </p:nvSpPr>
        <p:spPr>
          <a:xfrm rot="10800000">
            <a:off x="6925824" y="-3432"/>
            <a:ext cx="5266175" cy="6864864"/>
          </a:xfrm>
          <a:prstGeom prst="round1Rect">
            <a:avLst>
              <a:gd name="adj" fmla="val 30051"/>
            </a:avLst>
          </a:prstGeom>
          <a:solidFill>
            <a:schemeClr val="bg2">
              <a:lumMod val="75000"/>
            </a:schemeClr>
          </a:solidFill>
          <a:ln w="13730" cap="flat">
            <a:noFill/>
            <a:prstDash val="solid"/>
            <a:miter/>
          </a:ln>
          <a:effectLst/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1EE70375-B879-2E04-7DE9-267858168E40}"/>
              </a:ext>
            </a:extLst>
          </p:cNvPr>
          <p:cNvGrpSpPr/>
          <p:nvPr userDrawn="1"/>
        </p:nvGrpSpPr>
        <p:grpSpPr>
          <a:xfrm>
            <a:off x="9687834" y="5133271"/>
            <a:ext cx="2504165" cy="1728160"/>
            <a:chOff x="9687834" y="5133271"/>
            <a:chExt cx="2504165" cy="1728160"/>
          </a:xfrm>
        </p:grpSpPr>
        <p:sp>
          <p:nvSpPr>
            <p:cNvPr id="11" name="Rectangle: Single Corner Rounded 10">
              <a:extLst>
                <a:ext uri="{FF2B5EF4-FFF2-40B4-BE49-F238E27FC236}">
                  <a16:creationId xmlns:a16="http://schemas.microsoft.com/office/drawing/2014/main" id="{3E49D4A0-C4CF-0AA5-5EB4-3D4E52E194CA}"/>
                </a:ext>
              </a:extLst>
            </p:cNvPr>
            <p:cNvSpPr/>
            <p:nvPr/>
          </p:nvSpPr>
          <p:spPr>
            <a:xfrm flipH="1">
              <a:off x="9687834" y="5517291"/>
              <a:ext cx="2120144" cy="1344140"/>
            </a:xfrm>
            <a:prstGeom prst="round1Rect">
              <a:avLst>
                <a:gd name="adj" fmla="val 50000"/>
              </a:avLst>
            </a:prstGeom>
            <a:solidFill>
              <a:schemeClr val="bg2">
                <a:lumMod val="60000"/>
                <a:lumOff val="40000"/>
              </a:schemeClr>
            </a:solidFill>
            <a:ln w="1373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" name="Freeform: Shape 15">
              <a:extLst>
                <a:ext uri="{FF2B5EF4-FFF2-40B4-BE49-F238E27FC236}">
                  <a16:creationId xmlns:a16="http://schemas.microsoft.com/office/drawing/2014/main" id="{21736647-7677-95A4-E03E-CFB1CE5ED12C}"/>
                </a:ext>
              </a:extLst>
            </p:cNvPr>
            <p:cNvSpPr/>
            <p:nvPr/>
          </p:nvSpPr>
          <p:spPr>
            <a:xfrm>
              <a:off x="11807979" y="5133271"/>
              <a:ext cx="384020" cy="384020"/>
            </a:xfrm>
            <a:custGeom>
              <a:avLst/>
              <a:gdLst>
                <a:gd name="connsiteX0" fmla="*/ 0 w 384020"/>
                <a:gd name="connsiteY0" fmla="*/ 0 h 384020"/>
                <a:gd name="connsiteX1" fmla="*/ 384021 w 384020"/>
                <a:gd name="connsiteY1" fmla="*/ 0 h 384020"/>
                <a:gd name="connsiteX2" fmla="*/ 384021 w 384020"/>
                <a:gd name="connsiteY2" fmla="*/ 384021 h 384020"/>
                <a:gd name="connsiteX3" fmla="*/ 0 w 384020"/>
                <a:gd name="connsiteY3" fmla="*/ 384021 h 3840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4020" h="384020">
                  <a:moveTo>
                    <a:pt x="0" y="0"/>
                  </a:moveTo>
                  <a:lnTo>
                    <a:pt x="384021" y="0"/>
                  </a:lnTo>
                  <a:lnTo>
                    <a:pt x="384021" y="384021"/>
                  </a:lnTo>
                  <a:lnTo>
                    <a:pt x="0" y="384021"/>
                  </a:lnTo>
                  <a:close/>
                </a:path>
              </a:pathLst>
            </a:custGeom>
            <a:solidFill>
              <a:schemeClr val="bg2">
                <a:lumMod val="60000"/>
                <a:lumOff val="40000"/>
              </a:schemeClr>
            </a:solidFill>
            <a:ln w="1373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746C5367-4BDF-E244-6A42-C9CC3CDE3E7B}"/>
              </a:ext>
            </a:extLst>
          </p:cNvPr>
          <p:cNvGrpSpPr/>
          <p:nvPr userDrawn="1"/>
        </p:nvGrpSpPr>
        <p:grpSpPr>
          <a:xfrm>
            <a:off x="7795920" y="4037990"/>
            <a:ext cx="1891914" cy="1010359"/>
            <a:chOff x="604894" y="4447838"/>
            <a:chExt cx="1891914" cy="1010359"/>
          </a:xfrm>
        </p:grpSpPr>
        <p:sp>
          <p:nvSpPr>
            <p:cNvPr id="14" name="Freeform: Shape 33">
              <a:extLst>
                <a:ext uri="{FF2B5EF4-FFF2-40B4-BE49-F238E27FC236}">
                  <a16:creationId xmlns:a16="http://schemas.microsoft.com/office/drawing/2014/main" id="{E0E3D134-EDDE-C309-761E-7A2931AE5650}"/>
                </a:ext>
              </a:extLst>
            </p:cNvPr>
            <p:cNvSpPr/>
            <p:nvPr/>
          </p:nvSpPr>
          <p:spPr>
            <a:xfrm>
              <a:off x="604894" y="4447839"/>
              <a:ext cx="128324" cy="128324"/>
            </a:xfrm>
            <a:custGeom>
              <a:avLst/>
              <a:gdLst>
                <a:gd name="connsiteX0" fmla="*/ 30480 w 30479"/>
                <a:gd name="connsiteY0" fmla="*/ 15240 h 30479"/>
                <a:gd name="connsiteX1" fmla="*/ 15240 w 30479"/>
                <a:gd name="connsiteY1" fmla="*/ 30480 h 30479"/>
                <a:gd name="connsiteX2" fmla="*/ 0 w 30479"/>
                <a:gd name="connsiteY2" fmla="*/ 15240 h 30479"/>
                <a:gd name="connsiteX3" fmla="*/ 15240 w 30479"/>
                <a:gd name="connsiteY3" fmla="*/ 0 h 30479"/>
                <a:gd name="connsiteX4" fmla="*/ 30480 w 30479"/>
                <a:gd name="connsiteY4" fmla="*/ 15240 h 30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479" h="30479">
                  <a:moveTo>
                    <a:pt x="30480" y="15240"/>
                  </a:moveTo>
                  <a:cubicBezTo>
                    <a:pt x="30480" y="23657"/>
                    <a:pt x="23657" y="30480"/>
                    <a:pt x="15240" y="30480"/>
                  </a:cubicBezTo>
                  <a:cubicBezTo>
                    <a:pt x="6823" y="30480"/>
                    <a:pt x="0" y="23657"/>
                    <a:pt x="0" y="15240"/>
                  </a:cubicBezTo>
                  <a:cubicBezTo>
                    <a:pt x="0" y="6823"/>
                    <a:pt x="6823" y="0"/>
                    <a:pt x="15240" y="0"/>
                  </a:cubicBezTo>
                  <a:cubicBezTo>
                    <a:pt x="23657" y="0"/>
                    <a:pt x="30480" y="6824"/>
                    <a:pt x="30480" y="15240"/>
                  </a:cubicBezTo>
                  <a:close/>
                </a:path>
              </a:pathLst>
            </a:custGeom>
            <a:solidFill>
              <a:schemeClr val="bg2"/>
            </a:solidFill>
            <a:ln w="1373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" name="Freeform: Shape 34">
              <a:extLst>
                <a:ext uri="{FF2B5EF4-FFF2-40B4-BE49-F238E27FC236}">
                  <a16:creationId xmlns:a16="http://schemas.microsoft.com/office/drawing/2014/main" id="{6A47CC7F-4C9B-37F9-2F89-CCB0E67569F9}"/>
                </a:ext>
              </a:extLst>
            </p:cNvPr>
            <p:cNvSpPr/>
            <p:nvPr/>
          </p:nvSpPr>
          <p:spPr>
            <a:xfrm>
              <a:off x="1045792" y="4447839"/>
              <a:ext cx="128324" cy="128324"/>
            </a:xfrm>
            <a:custGeom>
              <a:avLst/>
              <a:gdLst>
                <a:gd name="connsiteX0" fmla="*/ 30480 w 30479"/>
                <a:gd name="connsiteY0" fmla="*/ 15240 h 30479"/>
                <a:gd name="connsiteX1" fmla="*/ 15240 w 30479"/>
                <a:gd name="connsiteY1" fmla="*/ 30480 h 30479"/>
                <a:gd name="connsiteX2" fmla="*/ 0 w 30479"/>
                <a:gd name="connsiteY2" fmla="*/ 15240 h 30479"/>
                <a:gd name="connsiteX3" fmla="*/ 15240 w 30479"/>
                <a:gd name="connsiteY3" fmla="*/ 0 h 30479"/>
                <a:gd name="connsiteX4" fmla="*/ 30480 w 30479"/>
                <a:gd name="connsiteY4" fmla="*/ 15240 h 30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479" h="30479">
                  <a:moveTo>
                    <a:pt x="30480" y="15240"/>
                  </a:moveTo>
                  <a:cubicBezTo>
                    <a:pt x="30480" y="23657"/>
                    <a:pt x="23657" y="30480"/>
                    <a:pt x="15240" y="30480"/>
                  </a:cubicBezTo>
                  <a:cubicBezTo>
                    <a:pt x="6823" y="30480"/>
                    <a:pt x="0" y="23657"/>
                    <a:pt x="0" y="15240"/>
                  </a:cubicBezTo>
                  <a:cubicBezTo>
                    <a:pt x="0" y="6823"/>
                    <a:pt x="6823" y="0"/>
                    <a:pt x="15240" y="0"/>
                  </a:cubicBezTo>
                  <a:cubicBezTo>
                    <a:pt x="23657" y="0"/>
                    <a:pt x="30480" y="6824"/>
                    <a:pt x="30480" y="15240"/>
                  </a:cubicBezTo>
                  <a:close/>
                </a:path>
              </a:pathLst>
            </a:custGeom>
            <a:solidFill>
              <a:schemeClr val="bg2"/>
            </a:solidFill>
            <a:ln w="1373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" name="Freeform: Shape 35">
              <a:extLst>
                <a:ext uri="{FF2B5EF4-FFF2-40B4-BE49-F238E27FC236}">
                  <a16:creationId xmlns:a16="http://schemas.microsoft.com/office/drawing/2014/main" id="{ACF1B38E-BE08-FFF5-436A-950B19B40061}"/>
                </a:ext>
              </a:extLst>
            </p:cNvPr>
            <p:cNvSpPr/>
            <p:nvPr/>
          </p:nvSpPr>
          <p:spPr>
            <a:xfrm>
              <a:off x="1486689" y="4447839"/>
              <a:ext cx="128324" cy="128324"/>
            </a:xfrm>
            <a:custGeom>
              <a:avLst/>
              <a:gdLst>
                <a:gd name="connsiteX0" fmla="*/ 30480 w 30479"/>
                <a:gd name="connsiteY0" fmla="*/ 15240 h 30479"/>
                <a:gd name="connsiteX1" fmla="*/ 15240 w 30479"/>
                <a:gd name="connsiteY1" fmla="*/ 30480 h 30479"/>
                <a:gd name="connsiteX2" fmla="*/ 0 w 30479"/>
                <a:gd name="connsiteY2" fmla="*/ 15240 h 30479"/>
                <a:gd name="connsiteX3" fmla="*/ 15240 w 30479"/>
                <a:gd name="connsiteY3" fmla="*/ 0 h 30479"/>
                <a:gd name="connsiteX4" fmla="*/ 30480 w 30479"/>
                <a:gd name="connsiteY4" fmla="*/ 15240 h 30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479" h="30479">
                  <a:moveTo>
                    <a:pt x="30480" y="15240"/>
                  </a:moveTo>
                  <a:cubicBezTo>
                    <a:pt x="30480" y="23657"/>
                    <a:pt x="23657" y="30480"/>
                    <a:pt x="15240" y="30480"/>
                  </a:cubicBezTo>
                  <a:cubicBezTo>
                    <a:pt x="6823" y="30480"/>
                    <a:pt x="0" y="23657"/>
                    <a:pt x="0" y="15240"/>
                  </a:cubicBezTo>
                  <a:cubicBezTo>
                    <a:pt x="0" y="6823"/>
                    <a:pt x="6823" y="0"/>
                    <a:pt x="15240" y="0"/>
                  </a:cubicBezTo>
                  <a:cubicBezTo>
                    <a:pt x="23657" y="0"/>
                    <a:pt x="30480" y="6824"/>
                    <a:pt x="30480" y="15240"/>
                  </a:cubicBezTo>
                  <a:close/>
                </a:path>
              </a:pathLst>
            </a:custGeom>
            <a:solidFill>
              <a:schemeClr val="bg2"/>
            </a:solidFill>
            <a:ln w="1373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" name="Freeform: Shape 36">
              <a:extLst>
                <a:ext uri="{FF2B5EF4-FFF2-40B4-BE49-F238E27FC236}">
                  <a16:creationId xmlns:a16="http://schemas.microsoft.com/office/drawing/2014/main" id="{ABFC80D3-D60A-0429-7B77-A24B5C3DFA51}"/>
                </a:ext>
              </a:extLst>
            </p:cNvPr>
            <p:cNvSpPr/>
            <p:nvPr/>
          </p:nvSpPr>
          <p:spPr>
            <a:xfrm>
              <a:off x="1927822" y="4447838"/>
              <a:ext cx="128328" cy="128328"/>
            </a:xfrm>
            <a:custGeom>
              <a:avLst/>
              <a:gdLst>
                <a:gd name="connsiteX0" fmla="*/ 30480 w 30480"/>
                <a:gd name="connsiteY0" fmla="*/ 15240 h 30480"/>
                <a:gd name="connsiteX1" fmla="*/ 15240 w 30480"/>
                <a:gd name="connsiteY1" fmla="*/ 30480 h 30480"/>
                <a:gd name="connsiteX2" fmla="*/ 0 w 30480"/>
                <a:gd name="connsiteY2" fmla="*/ 15240 h 30480"/>
                <a:gd name="connsiteX3" fmla="*/ 15240 w 30480"/>
                <a:gd name="connsiteY3" fmla="*/ 0 h 30480"/>
                <a:gd name="connsiteX4" fmla="*/ 30480 w 30480"/>
                <a:gd name="connsiteY4" fmla="*/ 15240 h 30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480" h="30480">
                  <a:moveTo>
                    <a:pt x="30480" y="15240"/>
                  </a:moveTo>
                  <a:cubicBezTo>
                    <a:pt x="30480" y="23615"/>
                    <a:pt x="23615" y="30480"/>
                    <a:pt x="15240" y="30480"/>
                  </a:cubicBezTo>
                  <a:cubicBezTo>
                    <a:pt x="6865" y="30480"/>
                    <a:pt x="0" y="23615"/>
                    <a:pt x="0" y="15240"/>
                  </a:cubicBezTo>
                  <a:cubicBezTo>
                    <a:pt x="0" y="6865"/>
                    <a:pt x="6865" y="0"/>
                    <a:pt x="15240" y="0"/>
                  </a:cubicBezTo>
                  <a:cubicBezTo>
                    <a:pt x="23615" y="0"/>
                    <a:pt x="30480" y="6865"/>
                    <a:pt x="30480" y="15240"/>
                  </a:cubicBezTo>
                  <a:close/>
                </a:path>
              </a:pathLst>
            </a:custGeom>
            <a:solidFill>
              <a:schemeClr val="bg2"/>
            </a:solidFill>
            <a:ln w="1373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" name="Freeform: Shape 39">
              <a:extLst>
                <a:ext uri="{FF2B5EF4-FFF2-40B4-BE49-F238E27FC236}">
                  <a16:creationId xmlns:a16="http://schemas.microsoft.com/office/drawing/2014/main" id="{E7099C2F-C30D-0008-8482-90E4D75B82B0}"/>
                </a:ext>
              </a:extLst>
            </p:cNvPr>
            <p:cNvSpPr/>
            <p:nvPr/>
          </p:nvSpPr>
          <p:spPr>
            <a:xfrm>
              <a:off x="2368484" y="4447839"/>
              <a:ext cx="128324" cy="128324"/>
            </a:xfrm>
            <a:custGeom>
              <a:avLst/>
              <a:gdLst>
                <a:gd name="connsiteX0" fmla="*/ 30480 w 30479"/>
                <a:gd name="connsiteY0" fmla="*/ 15240 h 30479"/>
                <a:gd name="connsiteX1" fmla="*/ 15240 w 30479"/>
                <a:gd name="connsiteY1" fmla="*/ 30480 h 30479"/>
                <a:gd name="connsiteX2" fmla="*/ 0 w 30479"/>
                <a:gd name="connsiteY2" fmla="*/ 15240 h 30479"/>
                <a:gd name="connsiteX3" fmla="*/ 15240 w 30479"/>
                <a:gd name="connsiteY3" fmla="*/ 0 h 30479"/>
                <a:gd name="connsiteX4" fmla="*/ 30480 w 30479"/>
                <a:gd name="connsiteY4" fmla="*/ 15240 h 30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479" h="30479">
                  <a:moveTo>
                    <a:pt x="30480" y="15240"/>
                  </a:moveTo>
                  <a:cubicBezTo>
                    <a:pt x="30480" y="23657"/>
                    <a:pt x="23657" y="30480"/>
                    <a:pt x="15240" y="30480"/>
                  </a:cubicBezTo>
                  <a:cubicBezTo>
                    <a:pt x="6823" y="30480"/>
                    <a:pt x="0" y="23657"/>
                    <a:pt x="0" y="15240"/>
                  </a:cubicBezTo>
                  <a:cubicBezTo>
                    <a:pt x="0" y="6823"/>
                    <a:pt x="6823" y="0"/>
                    <a:pt x="15240" y="0"/>
                  </a:cubicBezTo>
                  <a:cubicBezTo>
                    <a:pt x="23657" y="0"/>
                    <a:pt x="30480" y="6824"/>
                    <a:pt x="30480" y="15240"/>
                  </a:cubicBezTo>
                  <a:close/>
                </a:path>
              </a:pathLst>
            </a:custGeom>
            <a:solidFill>
              <a:schemeClr val="bg2"/>
            </a:solidFill>
            <a:ln w="1373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" name="Freeform: Shape 40">
              <a:extLst>
                <a:ext uri="{FF2B5EF4-FFF2-40B4-BE49-F238E27FC236}">
                  <a16:creationId xmlns:a16="http://schemas.microsoft.com/office/drawing/2014/main" id="{68B94521-C619-90B6-F6E8-DFDC6F0BF984}"/>
                </a:ext>
              </a:extLst>
            </p:cNvPr>
            <p:cNvSpPr/>
            <p:nvPr/>
          </p:nvSpPr>
          <p:spPr>
            <a:xfrm>
              <a:off x="604894" y="4888973"/>
              <a:ext cx="128324" cy="128324"/>
            </a:xfrm>
            <a:custGeom>
              <a:avLst/>
              <a:gdLst>
                <a:gd name="connsiteX0" fmla="*/ 30480 w 30479"/>
                <a:gd name="connsiteY0" fmla="*/ 15240 h 30479"/>
                <a:gd name="connsiteX1" fmla="*/ 15240 w 30479"/>
                <a:gd name="connsiteY1" fmla="*/ 30480 h 30479"/>
                <a:gd name="connsiteX2" fmla="*/ 0 w 30479"/>
                <a:gd name="connsiteY2" fmla="*/ 15240 h 30479"/>
                <a:gd name="connsiteX3" fmla="*/ 15240 w 30479"/>
                <a:gd name="connsiteY3" fmla="*/ 0 h 30479"/>
                <a:gd name="connsiteX4" fmla="*/ 30480 w 30479"/>
                <a:gd name="connsiteY4" fmla="*/ 15240 h 30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479" h="30479">
                  <a:moveTo>
                    <a:pt x="30480" y="15240"/>
                  </a:moveTo>
                  <a:cubicBezTo>
                    <a:pt x="30480" y="23657"/>
                    <a:pt x="23657" y="30480"/>
                    <a:pt x="15240" y="30480"/>
                  </a:cubicBezTo>
                  <a:cubicBezTo>
                    <a:pt x="6823" y="30480"/>
                    <a:pt x="0" y="23656"/>
                    <a:pt x="0" y="15240"/>
                  </a:cubicBezTo>
                  <a:cubicBezTo>
                    <a:pt x="0" y="6823"/>
                    <a:pt x="6823" y="0"/>
                    <a:pt x="15240" y="0"/>
                  </a:cubicBezTo>
                  <a:cubicBezTo>
                    <a:pt x="23657" y="0"/>
                    <a:pt x="30480" y="6823"/>
                    <a:pt x="30480" y="15240"/>
                  </a:cubicBezTo>
                  <a:close/>
                </a:path>
              </a:pathLst>
            </a:custGeom>
            <a:solidFill>
              <a:schemeClr val="bg2"/>
            </a:solidFill>
            <a:ln w="1373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" name="Freeform: Shape 42">
              <a:extLst>
                <a:ext uri="{FF2B5EF4-FFF2-40B4-BE49-F238E27FC236}">
                  <a16:creationId xmlns:a16="http://schemas.microsoft.com/office/drawing/2014/main" id="{74DFA832-4B4A-BA2C-2D5C-9745C6C0B317}"/>
                </a:ext>
              </a:extLst>
            </p:cNvPr>
            <p:cNvSpPr/>
            <p:nvPr/>
          </p:nvSpPr>
          <p:spPr>
            <a:xfrm>
              <a:off x="1045792" y="4888973"/>
              <a:ext cx="128324" cy="128324"/>
            </a:xfrm>
            <a:custGeom>
              <a:avLst/>
              <a:gdLst>
                <a:gd name="connsiteX0" fmla="*/ 30480 w 30479"/>
                <a:gd name="connsiteY0" fmla="*/ 15240 h 30479"/>
                <a:gd name="connsiteX1" fmla="*/ 15240 w 30479"/>
                <a:gd name="connsiteY1" fmla="*/ 30480 h 30479"/>
                <a:gd name="connsiteX2" fmla="*/ 0 w 30479"/>
                <a:gd name="connsiteY2" fmla="*/ 15240 h 30479"/>
                <a:gd name="connsiteX3" fmla="*/ 15240 w 30479"/>
                <a:gd name="connsiteY3" fmla="*/ 0 h 30479"/>
                <a:gd name="connsiteX4" fmla="*/ 30480 w 30479"/>
                <a:gd name="connsiteY4" fmla="*/ 15240 h 30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479" h="30479">
                  <a:moveTo>
                    <a:pt x="30480" y="15240"/>
                  </a:moveTo>
                  <a:cubicBezTo>
                    <a:pt x="30480" y="23657"/>
                    <a:pt x="23657" y="30480"/>
                    <a:pt x="15240" y="30480"/>
                  </a:cubicBezTo>
                  <a:cubicBezTo>
                    <a:pt x="6823" y="30480"/>
                    <a:pt x="0" y="23656"/>
                    <a:pt x="0" y="15240"/>
                  </a:cubicBezTo>
                  <a:cubicBezTo>
                    <a:pt x="0" y="6823"/>
                    <a:pt x="6823" y="0"/>
                    <a:pt x="15240" y="0"/>
                  </a:cubicBezTo>
                  <a:cubicBezTo>
                    <a:pt x="23657" y="0"/>
                    <a:pt x="30480" y="6823"/>
                    <a:pt x="30480" y="15240"/>
                  </a:cubicBezTo>
                  <a:close/>
                </a:path>
              </a:pathLst>
            </a:custGeom>
            <a:solidFill>
              <a:schemeClr val="bg2"/>
            </a:solidFill>
            <a:ln w="1373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" name="Freeform: Shape 43">
              <a:extLst>
                <a:ext uri="{FF2B5EF4-FFF2-40B4-BE49-F238E27FC236}">
                  <a16:creationId xmlns:a16="http://schemas.microsoft.com/office/drawing/2014/main" id="{2DF856A0-94CB-B9FD-C649-F20AF5300CED}"/>
                </a:ext>
              </a:extLst>
            </p:cNvPr>
            <p:cNvSpPr/>
            <p:nvPr/>
          </p:nvSpPr>
          <p:spPr>
            <a:xfrm>
              <a:off x="1486689" y="4888973"/>
              <a:ext cx="128324" cy="128324"/>
            </a:xfrm>
            <a:custGeom>
              <a:avLst/>
              <a:gdLst>
                <a:gd name="connsiteX0" fmla="*/ 30480 w 30479"/>
                <a:gd name="connsiteY0" fmla="*/ 15240 h 30479"/>
                <a:gd name="connsiteX1" fmla="*/ 15240 w 30479"/>
                <a:gd name="connsiteY1" fmla="*/ 30480 h 30479"/>
                <a:gd name="connsiteX2" fmla="*/ 0 w 30479"/>
                <a:gd name="connsiteY2" fmla="*/ 15240 h 30479"/>
                <a:gd name="connsiteX3" fmla="*/ 15240 w 30479"/>
                <a:gd name="connsiteY3" fmla="*/ 0 h 30479"/>
                <a:gd name="connsiteX4" fmla="*/ 30480 w 30479"/>
                <a:gd name="connsiteY4" fmla="*/ 15240 h 30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479" h="30479">
                  <a:moveTo>
                    <a:pt x="30480" y="15240"/>
                  </a:moveTo>
                  <a:cubicBezTo>
                    <a:pt x="30480" y="23657"/>
                    <a:pt x="23657" y="30480"/>
                    <a:pt x="15240" y="30480"/>
                  </a:cubicBezTo>
                  <a:cubicBezTo>
                    <a:pt x="6823" y="30480"/>
                    <a:pt x="0" y="23656"/>
                    <a:pt x="0" y="15240"/>
                  </a:cubicBezTo>
                  <a:cubicBezTo>
                    <a:pt x="0" y="6823"/>
                    <a:pt x="6823" y="0"/>
                    <a:pt x="15240" y="0"/>
                  </a:cubicBezTo>
                  <a:cubicBezTo>
                    <a:pt x="23657" y="0"/>
                    <a:pt x="30480" y="6823"/>
                    <a:pt x="30480" y="15240"/>
                  </a:cubicBezTo>
                  <a:close/>
                </a:path>
              </a:pathLst>
            </a:custGeom>
            <a:solidFill>
              <a:schemeClr val="bg2"/>
            </a:solidFill>
            <a:ln w="1373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" name="Freeform: Shape 44">
              <a:extLst>
                <a:ext uri="{FF2B5EF4-FFF2-40B4-BE49-F238E27FC236}">
                  <a16:creationId xmlns:a16="http://schemas.microsoft.com/office/drawing/2014/main" id="{DE06AA07-F3BC-B873-A606-C2BD8A9F47AE}"/>
                </a:ext>
              </a:extLst>
            </p:cNvPr>
            <p:cNvSpPr/>
            <p:nvPr/>
          </p:nvSpPr>
          <p:spPr>
            <a:xfrm>
              <a:off x="1927822" y="4888972"/>
              <a:ext cx="128328" cy="128328"/>
            </a:xfrm>
            <a:custGeom>
              <a:avLst/>
              <a:gdLst>
                <a:gd name="connsiteX0" fmla="*/ 30480 w 30480"/>
                <a:gd name="connsiteY0" fmla="*/ 15240 h 30480"/>
                <a:gd name="connsiteX1" fmla="*/ 15240 w 30480"/>
                <a:gd name="connsiteY1" fmla="*/ 30480 h 30480"/>
                <a:gd name="connsiteX2" fmla="*/ 0 w 30480"/>
                <a:gd name="connsiteY2" fmla="*/ 15240 h 30480"/>
                <a:gd name="connsiteX3" fmla="*/ 15240 w 30480"/>
                <a:gd name="connsiteY3" fmla="*/ 0 h 30480"/>
                <a:gd name="connsiteX4" fmla="*/ 30480 w 30480"/>
                <a:gd name="connsiteY4" fmla="*/ 15240 h 30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480" h="30480">
                  <a:moveTo>
                    <a:pt x="30480" y="15240"/>
                  </a:moveTo>
                  <a:cubicBezTo>
                    <a:pt x="30480" y="23615"/>
                    <a:pt x="23615" y="30480"/>
                    <a:pt x="15240" y="30480"/>
                  </a:cubicBezTo>
                  <a:cubicBezTo>
                    <a:pt x="6865" y="30480"/>
                    <a:pt x="0" y="23615"/>
                    <a:pt x="0" y="15240"/>
                  </a:cubicBezTo>
                  <a:cubicBezTo>
                    <a:pt x="0" y="6865"/>
                    <a:pt x="6865" y="0"/>
                    <a:pt x="15240" y="0"/>
                  </a:cubicBezTo>
                  <a:cubicBezTo>
                    <a:pt x="23615" y="0"/>
                    <a:pt x="30480" y="6865"/>
                    <a:pt x="30480" y="15240"/>
                  </a:cubicBezTo>
                  <a:close/>
                </a:path>
              </a:pathLst>
            </a:custGeom>
            <a:solidFill>
              <a:schemeClr val="bg2"/>
            </a:solidFill>
            <a:ln w="1373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" name="Freeform: Shape 45">
              <a:extLst>
                <a:ext uri="{FF2B5EF4-FFF2-40B4-BE49-F238E27FC236}">
                  <a16:creationId xmlns:a16="http://schemas.microsoft.com/office/drawing/2014/main" id="{1456EC0B-C7F1-3E39-DA0A-FF7791984511}"/>
                </a:ext>
              </a:extLst>
            </p:cNvPr>
            <p:cNvSpPr/>
            <p:nvPr/>
          </p:nvSpPr>
          <p:spPr>
            <a:xfrm>
              <a:off x="2368484" y="4888973"/>
              <a:ext cx="128324" cy="128324"/>
            </a:xfrm>
            <a:custGeom>
              <a:avLst/>
              <a:gdLst>
                <a:gd name="connsiteX0" fmla="*/ 30480 w 30479"/>
                <a:gd name="connsiteY0" fmla="*/ 15240 h 30479"/>
                <a:gd name="connsiteX1" fmla="*/ 15240 w 30479"/>
                <a:gd name="connsiteY1" fmla="*/ 30480 h 30479"/>
                <a:gd name="connsiteX2" fmla="*/ 0 w 30479"/>
                <a:gd name="connsiteY2" fmla="*/ 15240 h 30479"/>
                <a:gd name="connsiteX3" fmla="*/ 15240 w 30479"/>
                <a:gd name="connsiteY3" fmla="*/ 0 h 30479"/>
                <a:gd name="connsiteX4" fmla="*/ 30480 w 30479"/>
                <a:gd name="connsiteY4" fmla="*/ 15240 h 30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479" h="30479">
                  <a:moveTo>
                    <a:pt x="30480" y="15240"/>
                  </a:moveTo>
                  <a:cubicBezTo>
                    <a:pt x="30480" y="23657"/>
                    <a:pt x="23657" y="30480"/>
                    <a:pt x="15240" y="30480"/>
                  </a:cubicBezTo>
                  <a:cubicBezTo>
                    <a:pt x="6823" y="30480"/>
                    <a:pt x="0" y="23656"/>
                    <a:pt x="0" y="15240"/>
                  </a:cubicBezTo>
                  <a:cubicBezTo>
                    <a:pt x="0" y="6823"/>
                    <a:pt x="6823" y="0"/>
                    <a:pt x="15240" y="0"/>
                  </a:cubicBezTo>
                  <a:cubicBezTo>
                    <a:pt x="23657" y="0"/>
                    <a:pt x="30480" y="6823"/>
                    <a:pt x="30480" y="15240"/>
                  </a:cubicBezTo>
                  <a:close/>
                </a:path>
              </a:pathLst>
            </a:custGeom>
            <a:solidFill>
              <a:schemeClr val="bg2"/>
            </a:solidFill>
            <a:ln w="1373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" name="Freeform: Shape 46">
              <a:extLst>
                <a:ext uri="{FF2B5EF4-FFF2-40B4-BE49-F238E27FC236}">
                  <a16:creationId xmlns:a16="http://schemas.microsoft.com/office/drawing/2014/main" id="{1B4DC2E8-3BE0-89E9-13BF-80A2FF208436}"/>
                </a:ext>
              </a:extLst>
            </p:cNvPr>
            <p:cNvSpPr/>
            <p:nvPr/>
          </p:nvSpPr>
          <p:spPr>
            <a:xfrm>
              <a:off x="604894" y="5329870"/>
              <a:ext cx="128324" cy="128324"/>
            </a:xfrm>
            <a:custGeom>
              <a:avLst/>
              <a:gdLst>
                <a:gd name="connsiteX0" fmla="*/ 30480 w 30479"/>
                <a:gd name="connsiteY0" fmla="*/ 15240 h 30479"/>
                <a:gd name="connsiteX1" fmla="*/ 15240 w 30479"/>
                <a:gd name="connsiteY1" fmla="*/ 30480 h 30479"/>
                <a:gd name="connsiteX2" fmla="*/ 0 w 30479"/>
                <a:gd name="connsiteY2" fmla="*/ 15240 h 30479"/>
                <a:gd name="connsiteX3" fmla="*/ 15240 w 30479"/>
                <a:gd name="connsiteY3" fmla="*/ 0 h 30479"/>
                <a:gd name="connsiteX4" fmla="*/ 30480 w 30479"/>
                <a:gd name="connsiteY4" fmla="*/ 15240 h 30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479" h="30479">
                  <a:moveTo>
                    <a:pt x="30480" y="15240"/>
                  </a:moveTo>
                  <a:cubicBezTo>
                    <a:pt x="30480" y="23657"/>
                    <a:pt x="23657" y="30480"/>
                    <a:pt x="15240" y="30480"/>
                  </a:cubicBezTo>
                  <a:cubicBezTo>
                    <a:pt x="6823" y="30480"/>
                    <a:pt x="0" y="23657"/>
                    <a:pt x="0" y="15240"/>
                  </a:cubicBezTo>
                  <a:cubicBezTo>
                    <a:pt x="0" y="6823"/>
                    <a:pt x="6823" y="0"/>
                    <a:pt x="15240" y="0"/>
                  </a:cubicBezTo>
                  <a:cubicBezTo>
                    <a:pt x="23657" y="0"/>
                    <a:pt x="30480" y="6824"/>
                    <a:pt x="30480" y="15240"/>
                  </a:cubicBezTo>
                  <a:close/>
                </a:path>
              </a:pathLst>
            </a:custGeom>
            <a:solidFill>
              <a:schemeClr val="bg2"/>
            </a:solidFill>
            <a:ln w="1373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" name="Freeform: Shape 47">
              <a:extLst>
                <a:ext uri="{FF2B5EF4-FFF2-40B4-BE49-F238E27FC236}">
                  <a16:creationId xmlns:a16="http://schemas.microsoft.com/office/drawing/2014/main" id="{C15642AC-59F9-C462-7258-FB00902E3114}"/>
                </a:ext>
              </a:extLst>
            </p:cNvPr>
            <p:cNvSpPr/>
            <p:nvPr/>
          </p:nvSpPr>
          <p:spPr>
            <a:xfrm>
              <a:off x="1045792" y="5329870"/>
              <a:ext cx="128324" cy="128324"/>
            </a:xfrm>
            <a:custGeom>
              <a:avLst/>
              <a:gdLst>
                <a:gd name="connsiteX0" fmla="*/ 30480 w 30479"/>
                <a:gd name="connsiteY0" fmla="*/ 15240 h 30479"/>
                <a:gd name="connsiteX1" fmla="*/ 15240 w 30479"/>
                <a:gd name="connsiteY1" fmla="*/ 30480 h 30479"/>
                <a:gd name="connsiteX2" fmla="*/ 0 w 30479"/>
                <a:gd name="connsiteY2" fmla="*/ 15240 h 30479"/>
                <a:gd name="connsiteX3" fmla="*/ 15240 w 30479"/>
                <a:gd name="connsiteY3" fmla="*/ 0 h 30479"/>
                <a:gd name="connsiteX4" fmla="*/ 30480 w 30479"/>
                <a:gd name="connsiteY4" fmla="*/ 15240 h 30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479" h="30479">
                  <a:moveTo>
                    <a:pt x="30480" y="15240"/>
                  </a:moveTo>
                  <a:cubicBezTo>
                    <a:pt x="30480" y="23657"/>
                    <a:pt x="23657" y="30480"/>
                    <a:pt x="15240" y="30480"/>
                  </a:cubicBezTo>
                  <a:cubicBezTo>
                    <a:pt x="6823" y="30480"/>
                    <a:pt x="0" y="23657"/>
                    <a:pt x="0" y="15240"/>
                  </a:cubicBezTo>
                  <a:cubicBezTo>
                    <a:pt x="0" y="6823"/>
                    <a:pt x="6823" y="0"/>
                    <a:pt x="15240" y="0"/>
                  </a:cubicBezTo>
                  <a:cubicBezTo>
                    <a:pt x="23657" y="0"/>
                    <a:pt x="30480" y="6824"/>
                    <a:pt x="30480" y="15240"/>
                  </a:cubicBezTo>
                  <a:close/>
                </a:path>
              </a:pathLst>
            </a:custGeom>
            <a:solidFill>
              <a:schemeClr val="bg2"/>
            </a:solidFill>
            <a:ln w="1373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" name="Freeform: Shape 48">
              <a:extLst>
                <a:ext uri="{FF2B5EF4-FFF2-40B4-BE49-F238E27FC236}">
                  <a16:creationId xmlns:a16="http://schemas.microsoft.com/office/drawing/2014/main" id="{B21A83EB-4AA9-A21D-52D4-D024CCDB9964}"/>
                </a:ext>
              </a:extLst>
            </p:cNvPr>
            <p:cNvSpPr/>
            <p:nvPr/>
          </p:nvSpPr>
          <p:spPr>
            <a:xfrm>
              <a:off x="1486689" y="5329870"/>
              <a:ext cx="128324" cy="128324"/>
            </a:xfrm>
            <a:custGeom>
              <a:avLst/>
              <a:gdLst>
                <a:gd name="connsiteX0" fmla="*/ 30480 w 30479"/>
                <a:gd name="connsiteY0" fmla="*/ 15240 h 30479"/>
                <a:gd name="connsiteX1" fmla="*/ 15240 w 30479"/>
                <a:gd name="connsiteY1" fmla="*/ 30480 h 30479"/>
                <a:gd name="connsiteX2" fmla="*/ 0 w 30479"/>
                <a:gd name="connsiteY2" fmla="*/ 15240 h 30479"/>
                <a:gd name="connsiteX3" fmla="*/ 15240 w 30479"/>
                <a:gd name="connsiteY3" fmla="*/ 0 h 30479"/>
                <a:gd name="connsiteX4" fmla="*/ 30480 w 30479"/>
                <a:gd name="connsiteY4" fmla="*/ 15240 h 30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479" h="30479">
                  <a:moveTo>
                    <a:pt x="30480" y="15240"/>
                  </a:moveTo>
                  <a:cubicBezTo>
                    <a:pt x="30480" y="23657"/>
                    <a:pt x="23657" y="30480"/>
                    <a:pt x="15240" y="30480"/>
                  </a:cubicBezTo>
                  <a:cubicBezTo>
                    <a:pt x="6823" y="30480"/>
                    <a:pt x="0" y="23657"/>
                    <a:pt x="0" y="15240"/>
                  </a:cubicBezTo>
                  <a:cubicBezTo>
                    <a:pt x="0" y="6823"/>
                    <a:pt x="6823" y="0"/>
                    <a:pt x="15240" y="0"/>
                  </a:cubicBezTo>
                  <a:cubicBezTo>
                    <a:pt x="23657" y="0"/>
                    <a:pt x="30480" y="6824"/>
                    <a:pt x="30480" y="15240"/>
                  </a:cubicBezTo>
                  <a:close/>
                </a:path>
              </a:pathLst>
            </a:custGeom>
            <a:solidFill>
              <a:schemeClr val="bg2"/>
            </a:solidFill>
            <a:ln w="1373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" name="Freeform: Shape 49">
              <a:extLst>
                <a:ext uri="{FF2B5EF4-FFF2-40B4-BE49-F238E27FC236}">
                  <a16:creationId xmlns:a16="http://schemas.microsoft.com/office/drawing/2014/main" id="{176D7FDF-1F8E-DA92-6B2B-A040AA076321}"/>
                </a:ext>
              </a:extLst>
            </p:cNvPr>
            <p:cNvSpPr/>
            <p:nvPr/>
          </p:nvSpPr>
          <p:spPr>
            <a:xfrm>
              <a:off x="1927822" y="5329869"/>
              <a:ext cx="128328" cy="128328"/>
            </a:xfrm>
            <a:custGeom>
              <a:avLst/>
              <a:gdLst>
                <a:gd name="connsiteX0" fmla="*/ 30480 w 30480"/>
                <a:gd name="connsiteY0" fmla="*/ 15240 h 30480"/>
                <a:gd name="connsiteX1" fmla="*/ 15240 w 30480"/>
                <a:gd name="connsiteY1" fmla="*/ 30480 h 30480"/>
                <a:gd name="connsiteX2" fmla="*/ 0 w 30480"/>
                <a:gd name="connsiteY2" fmla="*/ 15240 h 30480"/>
                <a:gd name="connsiteX3" fmla="*/ 15240 w 30480"/>
                <a:gd name="connsiteY3" fmla="*/ 0 h 30480"/>
                <a:gd name="connsiteX4" fmla="*/ 30480 w 30480"/>
                <a:gd name="connsiteY4" fmla="*/ 15240 h 30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480" h="30480">
                  <a:moveTo>
                    <a:pt x="30480" y="15240"/>
                  </a:moveTo>
                  <a:cubicBezTo>
                    <a:pt x="30480" y="23615"/>
                    <a:pt x="23615" y="30480"/>
                    <a:pt x="15240" y="30480"/>
                  </a:cubicBezTo>
                  <a:cubicBezTo>
                    <a:pt x="6865" y="30480"/>
                    <a:pt x="0" y="23615"/>
                    <a:pt x="0" y="15240"/>
                  </a:cubicBezTo>
                  <a:cubicBezTo>
                    <a:pt x="0" y="6865"/>
                    <a:pt x="6865" y="0"/>
                    <a:pt x="15240" y="0"/>
                  </a:cubicBezTo>
                  <a:cubicBezTo>
                    <a:pt x="23615" y="0"/>
                    <a:pt x="30480" y="6865"/>
                    <a:pt x="30480" y="15240"/>
                  </a:cubicBezTo>
                  <a:close/>
                </a:path>
              </a:pathLst>
            </a:custGeom>
            <a:solidFill>
              <a:schemeClr val="bg2"/>
            </a:solidFill>
            <a:ln w="1373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" name="Freeform: Shape 50">
              <a:extLst>
                <a:ext uri="{FF2B5EF4-FFF2-40B4-BE49-F238E27FC236}">
                  <a16:creationId xmlns:a16="http://schemas.microsoft.com/office/drawing/2014/main" id="{2EEA353D-9DEE-DDFF-8CFD-DAE53A86B0DB}"/>
                </a:ext>
              </a:extLst>
            </p:cNvPr>
            <p:cNvSpPr/>
            <p:nvPr/>
          </p:nvSpPr>
          <p:spPr>
            <a:xfrm>
              <a:off x="2368484" y="5329870"/>
              <a:ext cx="128324" cy="128324"/>
            </a:xfrm>
            <a:custGeom>
              <a:avLst/>
              <a:gdLst>
                <a:gd name="connsiteX0" fmla="*/ 30480 w 30479"/>
                <a:gd name="connsiteY0" fmla="*/ 15240 h 30479"/>
                <a:gd name="connsiteX1" fmla="*/ 15240 w 30479"/>
                <a:gd name="connsiteY1" fmla="*/ 30480 h 30479"/>
                <a:gd name="connsiteX2" fmla="*/ 0 w 30479"/>
                <a:gd name="connsiteY2" fmla="*/ 15240 h 30479"/>
                <a:gd name="connsiteX3" fmla="*/ 15240 w 30479"/>
                <a:gd name="connsiteY3" fmla="*/ 0 h 30479"/>
                <a:gd name="connsiteX4" fmla="*/ 30480 w 30479"/>
                <a:gd name="connsiteY4" fmla="*/ 15240 h 30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479" h="30479">
                  <a:moveTo>
                    <a:pt x="30480" y="15240"/>
                  </a:moveTo>
                  <a:cubicBezTo>
                    <a:pt x="30480" y="23657"/>
                    <a:pt x="23657" y="30480"/>
                    <a:pt x="15240" y="30480"/>
                  </a:cubicBezTo>
                  <a:cubicBezTo>
                    <a:pt x="6823" y="30480"/>
                    <a:pt x="0" y="23657"/>
                    <a:pt x="0" y="15240"/>
                  </a:cubicBezTo>
                  <a:cubicBezTo>
                    <a:pt x="0" y="6823"/>
                    <a:pt x="6823" y="0"/>
                    <a:pt x="15240" y="0"/>
                  </a:cubicBezTo>
                  <a:cubicBezTo>
                    <a:pt x="23657" y="0"/>
                    <a:pt x="30480" y="6824"/>
                    <a:pt x="30480" y="15240"/>
                  </a:cubicBezTo>
                  <a:close/>
                </a:path>
              </a:pathLst>
            </a:custGeom>
            <a:solidFill>
              <a:schemeClr val="bg2"/>
            </a:solidFill>
            <a:ln w="1373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29" name="Rectangle: Single Corner Rounded 28">
            <a:extLst>
              <a:ext uri="{FF2B5EF4-FFF2-40B4-BE49-F238E27FC236}">
                <a16:creationId xmlns:a16="http://schemas.microsoft.com/office/drawing/2014/main" id="{CD78616E-69AD-9AA7-2097-9EB3C37621F4}"/>
              </a:ext>
            </a:extLst>
          </p:cNvPr>
          <p:cNvSpPr/>
          <p:nvPr userDrawn="1"/>
        </p:nvSpPr>
        <p:spPr>
          <a:xfrm rot="10800000" flipH="1">
            <a:off x="6925823" y="-3435"/>
            <a:ext cx="4882152" cy="2318265"/>
          </a:xfrm>
          <a:prstGeom prst="round1Rect">
            <a:avLst>
              <a:gd name="adj" fmla="val 50000"/>
            </a:avLst>
          </a:prstGeom>
          <a:solidFill>
            <a:schemeClr val="bg2"/>
          </a:solidFill>
          <a:ln w="13730" cap="flat">
            <a:noFill/>
            <a:prstDash val="solid"/>
            <a:miter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0" name="Rectangle: Single Corner Rounded 29">
            <a:extLst>
              <a:ext uri="{FF2B5EF4-FFF2-40B4-BE49-F238E27FC236}">
                <a16:creationId xmlns:a16="http://schemas.microsoft.com/office/drawing/2014/main" id="{1089C2C6-EA1F-2659-9060-91E6A380A8AC}"/>
              </a:ext>
            </a:extLst>
          </p:cNvPr>
          <p:cNvSpPr/>
          <p:nvPr userDrawn="1"/>
        </p:nvSpPr>
        <p:spPr>
          <a:xfrm rot="10800000" flipH="1">
            <a:off x="1" y="1959429"/>
            <a:ext cx="293688" cy="3652320"/>
          </a:xfrm>
          <a:prstGeom prst="round1Rect">
            <a:avLst>
              <a:gd name="adj" fmla="val 50000"/>
            </a:avLst>
          </a:prstGeom>
          <a:solidFill>
            <a:srgbClr val="2A446F"/>
          </a:solidFill>
          <a:ln w="13730" cap="flat">
            <a:noFill/>
            <a:prstDash val="solid"/>
            <a:miter/>
          </a:ln>
          <a:effectLst>
            <a:outerShdw blurRad="495300" dist="38100" dir="2700000" algn="tl" rotWithShape="0">
              <a:schemeClr val="tx2">
                <a:lumMod val="50000"/>
                <a:alpha val="7000"/>
              </a:scheme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604894" y="1852015"/>
            <a:ext cx="5486400" cy="1231106"/>
          </a:xfrm>
          <a:noFill/>
        </p:spPr>
        <p:txBody>
          <a:bodyPr wrap="square" lIns="0" tIns="0" rIns="0" bIns="0" anchor="b" anchorCtr="0">
            <a:spAutoFit/>
          </a:bodyPr>
          <a:lstStyle>
            <a:lvl1pPr>
              <a:defRPr kumimoji="0" lang="en-US" sz="4000" b="0" i="0" u="none" strike="noStrike" kern="1200" cap="none" spc="0" normalizeH="0" baseline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604894" y="3464888"/>
            <a:ext cx="5486400" cy="492443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kumimoji="0" lang="en-US" sz="3200" b="0" i="0" u="none" strike="noStrike" kern="1200" cap="none" spc="0" normalizeH="0" baseline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en-US"/>
              <a:t>Speaker nam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2BE9B4C-457B-DAE3-024C-78127F20AD6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4894" y="4298751"/>
            <a:ext cx="5486400" cy="1255728"/>
          </a:xfrm>
        </p:spPr>
        <p:txBody>
          <a:bodyPr/>
          <a:lstStyle>
            <a:lvl1pPr marL="0" indent="0">
              <a:spcBef>
                <a:spcPts val="24"/>
              </a:spcBef>
              <a:buNone/>
              <a:defRPr kumimoji="0" lang="en-US" sz="2400" b="0" i="0" u="none" strike="noStrike" kern="1200" cap="none" spc="0" normalizeH="0" baseline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en-US"/>
              <a:t>Title</a:t>
            </a:r>
          </a:p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en-US"/>
              <a:t>Company</a:t>
            </a:r>
          </a:p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en-US"/>
              <a:t>Other information</a:t>
            </a:r>
          </a:p>
        </p:txBody>
      </p:sp>
      <p:pic>
        <p:nvPicPr>
          <p:cNvPr id="4" name="Graphic 3" descr="Microsoft Power Platform logo">
            <a:extLst>
              <a:ext uri="{FF2B5EF4-FFF2-40B4-BE49-F238E27FC236}">
                <a16:creationId xmlns:a16="http://schemas.microsoft.com/office/drawing/2014/main" id="{31317760-255A-F997-1C6F-9BA54EE54D7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4894" y="597820"/>
            <a:ext cx="306832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13005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384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re Pattern Pitch Deck Intr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604894" y="2183027"/>
            <a:ext cx="5486400" cy="1107996"/>
          </a:xfrm>
          <a:noFill/>
        </p:spPr>
        <p:txBody>
          <a:bodyPr wrap="square" lIns="0" tIns="0" rIns="0" bIns="0" anchor="b" anchorCtr="0">
            <a:spAutoFit/>
          </a:bodyPr>
          <a:lstStyle>
            <a:lvl1pPr marL="0"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604894" y="3645228"/>
            <a:ext cx="54864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kumimoji="0" lang="en-US" sz="200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en-US"/>
              <a:t>Speaker nam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2BE9B4C-457B-DAE3-024C-78127F20AD6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4894" y="4398497"/>
            <a:ext cx="5486400" cy="837152"/>
          </a:xfrm>
        </p:spPr>
        <p:txBody>
          <a:bodyPr/>
          <a:lstStyle>
            <a:lvl1pPr marL="0" indent="0">
              <a:spcBef>
                <a:spcPts val="24"/>
              </a:spcBef>
              <a:buNone/>
              <a:defRPr kumimoji="0" lang="en-US" sz="160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en-US"/>
              <a:t>Title</a:t>
            </a:r>
          </a:p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en-US"/>
              <a:t>Company</a:t>
            </a:r>
          </a:p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en-US"/>
              <a:t>Other information</a:t>
            </a:r>
          </a:p>
        </p:txBody>
      </p:sp>
      <p:pic>
        <p:nvPicPr>
          <p:cNvPr id="2" name="Graphic 1" descr="Microsoft Power Platform logo">
            <a:extLst>
              <a:ext uri="{FF2B5EF4-FFF2-40B4-BE49-F238E27FC236}">
                <a16:creationId xmlns:a16="http://schemas.microsoft.com/office/drawing/2014/main" id="{6300AC69-214E-ECBA-3398-D1A4679FBEC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4894" y="597820"/>
            <a:ext cx="3068320" cy="292608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350C324E-32D3-1C69-EF84-7E1FC6B3B503}"/>
              </a:ext>
            </a:extLst>
          </p:cNvPr>
          <p:cNvSpPr/>
          <p:nvPr userDrawn="1"/>
        </p:nvSpPr>
        <p:spPr>
          <a:xfrm rot="10800000" flipH="1">
            <a:off x="1" y="2182947"/>
            <a:ext cx="241159" cy="3052244"/>
          </a:xfrm>
          <a:prstGeom prst="rect">
            <a:avLst/>
          </a:prstGeom>
          <a:solidFill>
            <a:schemeClr val="tx2"/>
          </a:solidFill>
          <a:ln w="13730" cap="flat">
            <a:noFill/>
            <a:prstDash val="solid"/>
            <a:miter/>
          </a:ln>
          <a:effectLst>
            <a:outerShdw blurRad="495300" dist="38100" dir="2700000" algn="tl" rotWithShape="0">
              <a:schemeClr val="tx2">
                <a:lumMod val="50000"/>
                <a:alpha val="7000"/>
              </a:scheme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772A3802-B85A-97B4-3A70-28B587C9F745}"/>
              </a:ext>
            </a:extLst>
          </p:cNvPr>
          <p:cNvSpPr/>
          <p:nvPr userDrawn="1"/>
        </p:nvSpPr>
        <p:spPr>
          <a:xfrm>
            <a:off x="7919518" y="1729547"/>
            <a:ext cx="5156975" cy="5134490"/>
          </a:xfrm>
          <a:custGeom>
            <a:avLst/>
            <a:gdLst>
              <a:gd name="connsiteX0" fmla="*/ 5156975 w 5156975"/>
              <a:gd name="connsiteY0" fmla="*/ 785571 h 5134490"/>
              <a:gd name="connsiteX1" fmla="*/ 5156975 w 5156975"/>
              <a:gd name="connsiteY1" fmla="*/ 5134491 h 5134490"/>
              <a:gd name="connsiteX2" fmla="*/ 763069 w 5156975"/>
              <a:gd name="connsiteY2" fmla="*/ 5134491 h 5134490"/>
              <a:gd name="connsiteX3" fmla="*/ 160654 w 5156975"/>
              <a:gd name="connsiteY3" fmla="*/ 4532074 h 5134490"/>
              <a:gd name="connsiteX4" fmla="*/ 160654 w 5156975"/>
              <a:gd name="connsiteY4" fmla="*/ 3756253 h 5134490"/>
              <a:gd name="connsiteX5" fmla="*/ 853071 w 5156975"/>
              <a:gd name="connsiteY5" fmla="*/ 3063984 h 5134490"/>
              <a:gd name="connsiteX6" fmla="*/ 3434334 w 5156975"/>
              <a:gd name="connsiteY6" fmla="*/ 482563 h 5134490"/>
              <a:gd name="connsiteX7" fmla="*/ 3756241 w 5156975"/>
              <a:gd name="connsiteY7" fmla="*/ 160654 h 5134490"/>
              <a:gd name="connsiteX8" fmla="*/ 4532061 w 5156975"/>
              <a:gd name="connsiteY8" fmla="*/ 160654 h 5134490"/>
              <a:gd name="connsiteX9" fmla="*/ 5156975 w 5156975"/>
              <a:gd name="connsiteY9" fmla="*/ 785571 h 51344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156975" h="5134490">
                <a:moveTo>
                  <a:pt x="5156975" y="785571"/>
                </a:moveTo>
                <a:lnTo>
                  <a:pt x="5156975" y="5134491"/>
                </a:lnTo>
                <a:lnTo>
                  <a:pt x="763069" y="5134491"/>
                </a:lnTo>
                <a:lnTo>
                  <a:pt x="160654" y="4532074"/>
                </a:lnTo>
                <a:cubicBezTo>
                  <a:pt x="-53551" y="4317868"/>
                  <a:pt x="-53551" y="3970609"/>
                  <a:pt x="160654" y="3756253"/>
                </a:cubicBezTo>
                <a:lnTo>
                  <a:pt x="853071" y="3063984"/>
                </a:lnTo>
                <a:lnTo>
                  <a:pt x="3434334" y="482563"/>
                </a:lnTo>
                <a:lnTo>
                  <a:pt x="3756241" y="160654"/>
                </a:lnTo>
                <a:cubicBezTo>
                  <a:pt x="3970447" y="-53551"/>
                  <a:pt x="4317855" y="-53551"/>
                  <a:pt x="4532061" y="160654"/>
                </a:cubicBezTo>
                <a:lnTo>
                  <a:pt x="5156975" y="785571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77000">
                <a:schemeClr val="bg2">
                  <a:lumMod val="90000"/>
                </a:schemeClr>
              </a:gs>
            </a:gsLst>
            <a:lin ang="18939382" scaled="1"/>
          </a:gradFill>
          <a:ln w="13581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A316D2AA-7880-089D-E2E0-EB59C8ABFDD8}"/>
              </a:ext>
            </a:extLst>
          </p:cNvPr>
          <p:cNvSpPr/>
          <p:nvPr userDrawn="1"/>
        </p:nvSpPr>
        <p:spPr>
          <a:xfrm>
            <a:off x="9141748" y="0"/>
            <a:ext cx="3934745" cy="2430216"/>
          </a:xfrm>
          <a:custGeom>
            <a:avLst/>
            <a:gdLst>
              <a:gd name="connsiteX0" fmla="*/ 3934746 w 3934745"/>
              <a:gd name="connsiteY0" fmla="*/ 0 h 2430216"/>
              <a:gd name="connsiteX1" fmla="*/ 3934746 w 3934745"/>
              <a:gd name="connsiteY1" fmla="*/ 1380188 h 2430216"/>
              <a:gd name="connsiteX2" fmla="*/ 3367282 w 3934745"/>
              <a:gd name="connsiteY2" fmla="*/ 1947653 h 2430216"/>
              <a:gd name="connsiteX3" fmla="*/ 3045375 w 3934745"/>
              <a:gd name="connsiteY3" fmla="*/ 2269562 h 2430216"/>
              <a:gd name="connsiteX4" fmla="*/ 2269555 w 3934745"/>
              <a:gd name="connsiteY4" fmla="*/ 2269562 h 2430216"/>
              <a:gd name="connsiteX5" fmla="*/ 0 w 3934745"/>
              <a:gd name="connsiteY5" fmla="*/ 0 h 2430216"/>
              <a:gd name="connsiteX6" fmla="*/ 3934746 w 3934745"/>
              <a:gd name="connsiteY6" fmla="*/ 0 h 24302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34745" h="2430216">
                <a:moveTo>
                  <a:pt x="3934746" y="0"/>
                </a:moveTo>
                <a:lnTo>
                  <a:pt x="3934746" y="1380188"/>
                </a:lnTo>
                <a:lnTo>
                  <a:pt x="3367282" y="1947653"/>
                </a:lnTo>
                <a:lnTo>
                  <a:pt x="3045375" y="2269562"/>
                </a:lnTo>
                <a:cubicBezTo>
                  <a:pt x="2831169" y="2483768"/>
                  <a:pt x="2483761" y="2483768"/>
                  <a:pt x="2269555" y="2269562"/>
                </a:cubicBezTo>
                <a:lnTo>
                  <a:pt x="0" y="0"/>
                </a:lnTo>
                <a:lnTo>
                  <a:pt x="3934746" y="0"/>
                </a:lnTo>
                <a:close/>
              </a:path>
            </a:pathLst>
          </a:custGeom>
          <a:gradFill flip="none" rotWithShape="1">
            <a:gsLst>
              <a:gs pos="0">
                <a:schemeClr val="bg2">
                  <a:lumMod val="60000"/>
                  <a:lumOff val="40000"/>
                </a:schemeClr>
              </a:gs>
              <a:gs pos="73000">
                <a:schemeClr val="bg2">
                  <a:lumMod val="75000"/>
                </a:schemeClr>
              </a:gs>
            </a:gsLst>
            <a:lin ang="7200000" scaled="0"/>
            <a:tileRect/>
          </a:gradFill>
          <a:ln w="13581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C91AB830-0DD9-9E64-68E1-DAEA840A12C1}"/>
              </a:ext>
            </a:extLst>
          </p:cNvPr>
          <p:cNvSpPr/>
          <p:nvPr userDrawn="1"/>
        </p:nvSpPr>
        <p:spPr>
          <a:xfrm>
            <a:off x="5184576" y="0"/>
            <a:ext cx="2360607" cy="1442814"/>
          </a:xfrm>
          <a:custGeom>
            <a:avLst/>
            <a:gdLst>
              <a:gd name="connsiteX0" fmla="*/ 2254180 w 2360607"/>
              <a:gd name="connsiteY0" fmla="*/ 519614 h 1442814"/>
              <a:gd name="connsiteX1" fmla="*/ 1437410 w 2360607"/>
              <a:gd name="connsiteY1" fmla="*/ 1336387 h 1442814"/>
              <a:gd name="connsiteX2" fmla="*/ 923198 w 2360607"/>
              <a:gd name="connsiteY2" fmla="*/ 1336387 h 1442814"/>
              <a:gd name="connsiteX3" fmla="*/ 106428 w 2360607"/>
              <a:gd name="connsiteY3" fmla="*/ 519614 h 1442814"/>
              <a:gd name="connsiteX4" fmla="*/ 106428 w 2360607"/>
              <a:gd name="connsiteY4" fmla="*/ 5550 h 1442814"/>
              <a:gd name="connsiteX5" fmla="*/ 111978 w 2360607"/>
              <a:gd name="connsiteY5" fmla="*/ 0 h 1442814"/>
              <a:gd name="connsiteX6" fmla="*/ 2248630 w 2360607"/>
              <a:gd name="connsiteY6" fmla="*/ 0 h 1442814"/>
              <a:gd name="connsiteX7" fmla="*/ 2254180 w 2360607"/>
              <a:gd name="connsiteY7" fmla="*/ 5550 h 1442814"/>
              <a:gd name="connsiteX8" fmla="*/ 2254180 w 2360607"/>
              <a:gd name="connsiteY8" fmla="*/ 519614 h 14428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60607" h="1442814">
                <a:moveTo>
                  <a:pt x="2254180" y="519614"/>
                </a:moveTo>
                <a:lnTo>
                  <a:pt x="1437410" y="1336387"/>
                </a:lnTo>
                <a:cubicBezTo>
                  <a:pt x="1295357" y="1478291"/>
                  <a:pt x="1065251" y="1478291"/>
                  <a:pt x="923198" y="1336387"/>
                </a:cubicBezTo>
                <a:lnTo>
                  <a:pt x="106428" y="519614"/>
                </a:lnTo>
                <a:cubicBezTo>
                  <a:pt x="-35476" y="377560"/>
                  <a:pt x="-35476" y="147454"/>
                  <a:pt x="106428" y="5550"/>
                </a:cubicBezTo>
                <a:lnTo>
                  <a:pt x="111978" y="0"/>
                </a:lnTo>
                <a:lnTo>
                  <a:pt x="2248630" y="0"/>
                </a:lnTo>
                <a:lnTo>
                  <a:pt x="2254180" y="5550"/>
                </a:lnTo>
                <a:cubicBezTo>
                  <a:pt x="2396083" y="147454"/>
                  <a:pt x="2396083" y="377560"/>
                  <a:pt x="2254180" y="519614"/>
                </a:cubicBezTo>
                <a:close/>
              </a:path>
            </a:pathLst>
          </a:custGeom>
          <a:gradFill>
            <a:gsLst>
              <a:gs pos="8000">
                <a:schemeClr val="bg2">
                  <a:lumMod val="60000"/>
                  <a:lumOff val="40000"/>
                </a:schemeClr>
              </a:gs>
              <a:gs pos="100000">
                <a:schemeClr val="bg2">
                  <a:lumMod val="75000"/>
                </a:schemeClr>
              </a:gs>
            </a:gsLst>
            <a:lin ang="18939382" scaled="1"/>
          </a:gradFill>
          <a:ln w="13581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4C372781-F25F-7ECB-32AB-CCFFB3DB9D3C}"/>
              </a:ext>
            </a:extLst>
          </p:cNvPr>
          <p:cNvSpPr/>
          <p:nvPr userDrawn="1"/>
        </p:nvSpPr>
        <p:spPr>
          <a:xfrm rot="2700000">
            <a:off x="6791395" y="1394362"/>
            <a:ext cx="2688966" cy="2688974"/>
          </a:xfrm>
          <a:custGeom>
            <a:avLst/>
            <a:gdLst>
              <a:gd name="connsiteX0" fmla="*/ 2214955 w 2688966"/>
              <a:gd name="connsiteY0" fmla="*/ 0 h 2688974"/>
              <a:gd name="connsiteX1" fmla="*/ 2688966 w 2688966"/>
              <a:gd name="connsiteY1" fmla="*/ 474013 h 2688974"/>
              <a:gd name="connsiteX2" fmla="*/ 2688966 w 2688966"/>
              <a:gd name="connsiteY2" fmla="*/ 2214961 h 2688974"/>
              <a:gd name="connsiteX3" fmla="*/ 2214955 w 2688966"/>
              <a:gd name="connsiteY3" fmla="*/ 2688975 h 2688974"/>
              <a:gd name="connsiteX4" fmla="*/ 474012 w 2688966"/>
              <a:gd name="connsiteY4" fmla="*/ 2688975 h 2688974"/>
              <a:gd name="connsiteX5" fmla="*/ 0 w 2688966"/>
              <a:gd name="connsiteY5" fmla="*/ 2214961 h 2688974"/>
              <a:gd name="connsiteX6" fmla="*/ 0 w 2688966"/>
              <a:gd name="connsiteY6" fmla="*/ 474013 h 2688974"/>
              <a:gd name="connsiteX7" fmla="*/ 474012 w 2688966"/>
              <a:gd name="connsiteY7" fmla="*/ 0 h 2688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88966" h="2688974">
                <a:moveTo>
                  <a:pt x="2214955" y="0"/>
                </a:moveTo>
                <a:cubicBezTo>
                  <a:pt x="2476744" y="0"/>
                  <a:pt x="2688966" y="212223"/>
                  <a:pt x="2688966" y="474013"/>
                </a:cubicBezTo>
                <a:lnTo>
                  <a:pt x="2688966" y="2214961"/>
                </a:lnTo>
                <a:cubicBezTo>
                  <a:pt x="2688966" y="2476752"/>
                  <a:pt x="2476744" y="2688975"/>
                  <a:pt x="2214955" y="2688975"/>
                </a:cubicBezTo>
                <a:lnTo>
                  <a:pt x="474012" y="2688975"/>
                </a:lnTo>
                <a:cubicBezTo>
                  <a:pt x="212222" y="2688975"/>
                  <a:pt x="0" y="2476752"/>
                  <a:pt x="0" y="2214961"/>
                </a:cubicBezTo>
                <a:lnTo>
                  <a:pt x="0" y="474013"/>
                </a:lnTo>
                <a:cubicBezTo>
                  <a:pt x="0" y="212223"/>
                  <a:pt x="212222" y="0"/>
                  <a:pt x="474012" y="0"/>
                </a:cubicBezTo>
                <a:close/>
              </a:path>
            </a:pathLst>
          </a:custGeom>
          <a:gradFill>
            <a:gsLst>
              <a:gs pos="0">
                <a:schemeClr val="bg2"/>
              </a:gs>
              <a:gs pos="77000">
                <a:schemeClr val="bg2">
                  <a:lumMod val="75000"/>
                </a:schemeClr>
              </a:gs>
            </a:gsLst>
            <a:lin ang="18939382" scaled="1"/>
          </a:gradFill>
          <a:ln w="13581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38D21CF1-C34B-AC32-0489-E35EA258E62E}"/>
              </a:ext>
            </a:extLst>
          </p:cNvPr>
          <p:cNvSpPr/>
          <p:nvPr userDrawn="1"/>
        </p:nvSpPr>
        <p:spPr>
          <a:xfrm>
            <a:off x="7558759" y="0"/>
            <a:ext cx="5517734" cy="6864037"/>
          </a:xfrm>
          <a:custGeom>
            <a:avLst/>
            <a:gdLst>
              <a:gd name="connsiteX0" fmla="*/ 5517734 w 5517734"/>
              <a:gd name="connsiteY0" fmla="*/ 774771 h 6864037"/>
              <a:gd name="connsiteX1" fmla="*/ 5517734 w 5517734"/>
              <a:gd name="connsiteY1" fmla="*/ 5930262 h 6864037"/>
              <a:gd name="connsiteX2" fmla="*/ 4583962 w 5517734"/>
              <a:gd name="connsiteY2" fmla="*/ 6864038 h 6864037"/>
              <a:gd name="connsiteX3" fmla="*/ 3284330 w 5517734"/>
              <a:gd name="connsiteY3" fmla="*/ 6864038 h 6864037"/>
              <a:gd name="connsiteX4" fmla="*/ 160654 w 5517734"/>
              <a:gd name="connsiteY4" fmla="*/ 3740353 h 6864037"/>
              <a:gd name="connsiteX5" fmla="*/ 160654 w 5517734"/>
              <a:gd name="connsiteY5" fmla="*/ 2964681 h 6864037"/>
              <a:gd name="connsiteX6" fmla="*/ 1348233 w 5517734"/>
              <a:gd name="connsiteY6" fmla="*/ 1777249 h 6864037"/>
              <a:gd name="connsiteX7" fmla="*/ 2354157 w 5517734"/>
              <a:gd name="connsiteY7" fmla="*/ 771171 h 6864037"/>
              <a:gd name="connsiteX8" fmla="*/ 3125326 w 5517734"/>
              <a:gd name="connsiteY8" fmla="*/ 0 h 6864037"/>
              <a:gd name="connsiteX9" fmla="*/ 4742965 w 5517734"/>
              <a:gd name="connsiteY9" fmla="*/ 0 h 6864037"/>
              <a:gd name="connsiteX10" fmla="*/ 5517734 w 5517734"/>
              <a:gd name="connsiteY10" fmla="*/ 774771 h 68640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517734" h="6864037">
                <a:moveTo>
                  <a:pt x="5517734" y="774771"/>
                </a:moveTo>
                <a:lnTo>
                  <a:pt x="5517734" y="5930262"/>
                </a:lnTo>
                <a:lnTo>
                  <a:pt x="4583962" y="6864038"/>
                </a:lnTo>
                <a:lnTo>
                  <a:pt x="3284330" y="6864038"/>
                </a:lnTo>
                <a:lnTo>
                  <a:pt x="160654" y="3740353"/>
                </a:lnTo>
                <a:cubicBezTo>
                  <a:pt x="-53551" y="3526147"/>
                  <a:pt x="-53551" y="3178887"/>
                  <a:pt x="160654" y="2964681"/>
                </a:cubicBezTo>
                <a:lnTo>
                  <a:pt x="1348233" y="1777249"/>
                </a:lnTo>
                <a:lnTo>
                  <a:pt x="2354157" y="771171"/>
                </a:lnTo>
                <a:lnTo>
                  <a:pt x="3125326" y="0"/>
                </a:lnTo>
                <a:lnTo>
                  <a:pt x="4742965" y="0"/>
                </a:lnTo>
                <a:lnTo>
                  <a:pt x="5517734" y="774771"/>
                </a:lnTo>
                <a:close/>
              </a:path>
            </a:pathLst>
          </a:custGeom>
          <a:solidFill>
            <a:schemeClr val="bg2">
              <a:lumMod val="75000"/>
              <a:alpha val="77000"/>
            </a:schemeClr>
          </a:solidFill>
          <a:ln w="13581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EA47473F-CD05-86EC-6AD3-C621C78751AB}"/>
              </a:ext>
            </a:extLst>
          </p:cNvPr>
          <p:cNvSpPr/>
          <p:nvPr userDrawn="1"/>
        </p:nvSpPr>
        <p:spPr>
          <a:xfrm>
            <a:off x="6284703" y="0"/>
            <a:ext cx="2859782" cy="2035743"/>
          </a:xfrm>
          <a:custGeom>
            <a:avLst/>
            <a:gdLst>
              <a:gd name="connsiteX0" fmla="*/ 2753242 w 2859782"/>
              <a:gd name="connsiteY0" fmla="*/ 862824 h 2035743"/>
              <a:gd name="connsiteX1" fmla="*/ 2230629 w 2859782"/>
              <a:gd name="connsiteY1" fmla="*/ 1385588 h 2035743"/>
              <a:gd name="connsiteX2" fmla="*/ 1686866 w 2859782"/>
              <a:gd name="connsiteY2" fmla="*/ 1929203 h 2035743"/>
              <a:gd name="connsiteX3" fmla="*/ 1172804 w 2859782"/>
              <a:gd name="connsiteY3" fmla="*/ 1929203 h 2035743"/>
              <a:gd name="connsiteX4" fmla="*/ 881947 w 2859782"/>
              <a:gd name="connsiteY4" fmla="*/ 1638345 h 2035743"/>
              <a:gd name="connsiteX5" fmla="*/ 458636 w 2859782"/>
              <a:gd name="connsiteY5" fmla="*/ 1215033 h 2035743"/>
              <a:gd name="connsiteX6" fmla="*/ 106428 w 2859782"/>
              <a:gd name="connsiteY6" fmla="*/ 862824 h 2035743"/>
              <a:gd name="connsiteX7" fmla="*/ 106428 w 2859782"/>
              <a:gd name="connsiteY7" fmla="*/ 348760 h 2035743"/>
              <a:gd name="connsiteX8" fmla="*/ 455186 w 2859782"/>
              <a:gd name="connsiteY8" fmla="*/ 0 h 2035743"/>
              <a:gd name="connsiteX9" fmla="*/ 2404484 w 2859782"/>
              <a:gd name="connsiteY9" fmla="*/ 0 h 2035743"/>
              <a:gd name="connsiteX10" fmla="*/ 2753242 w 2859782"/>
              <a:gd name="connsiteY10" fmla="*/ 348760 h 2035743"/>
              <a:gd name="connsiteX11" fmla="*/ 2753242 w 2859782"/>
              <a:gd name="connsiteY11" fmla="*/ 862824 h 2035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859782" h="2035743">
                <a:moveTo>
                  <a:pt x="2753242" y="862824"/>
                </a:moveTo>
                <a:lnTo>
                  <a:pt x="2230629" y="1385588"/>
                </a:lnTo>
                <a:lnTo>
                  <a:pt x="1686866" y="1929203"/>
                </a:lnTo>
                <a:cubicBezTo>
                  <a:pt x="1544963" y="2071257"/>
                  <a:pt x="1314857" y="2071257"/>
                  <a:pt x="1172804" y="1929203"/>
                </a:cubicBezTo>
                <a:lnTo>
                  <a:pt x="881947" y="1638345"/>
                </a:lnTo>
                <a:lnTo>
                  <a:pt x="458636" y="1215033"/>
                </a:lnTo>
                <a:lnTo>
                  <a:pt x="106428" y="862824"/>
                </a:lnTo>
                <a:cubicBezTo>
                  <a:pt x="-35476" y="720920"/>
                  <a:pt x="-35476" y="490663"/>
                  <a:pt x="106428" y="348760"/>
                </a:cubicBezTo>
                <a:lnTo>
                  <a:pt x="455186" y="0"/>
                </a:lnTo>
                <a:lnTo>
                  <a:pt x="2404484" y="0"/>
                </a:lnTo>
                <a:lnTo>
                  <a:pt x="2753242" y="348760"/>
                </a:lnTo>
                <a:cubicBezTo>
                  <a:pt x="2895295" y="490663"/>
                  <a:pt x="2895295" y="720920"/>
                  <a:pt x="2753242" y="862824"/>
                </a:cubicBezTo>
                <a:close/>
              </a:path>
            </a:pathLst>
          </a:custGeom>
          <a:solidFill>
            <a:schemeClr val="bg2">
              <a:lumMod val="75000"/>
              <a:alpha val="65000"/>
            </a:schemeClr>
          </a:solidFill>
          <a:ln w="13581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F2C4CA-58D7-8A58-3A90-D911CB08229D}"/>
              </a:ext>
            </a:extLst>
          </p:cNvPr>
          <p:cNvSpPr/>
          <p:nvPr userDrawn="1"/>
        </p:nvSpPr>
        <p:spPr>
          <a:xfrm>
            <a:off x="5733027" y="5296795"/>
            <a:ext cx="2049387" cy="1567242"/>
          </a:xfrm>
          <a:custGeom>
            <a:avLst/>
            <a:gdLst>
              <a:gd name="connsiteX0" fmla="*/ 1956235 w 2049387"/>
              <a:gd name="connsiteY0" fmla="*/ 1249384 h 1567242"/>
              <a:gd name="connsiteX1" fmla="*/ 1638377 w 2049387"/>
              <a:gd name="connsiteY1" fmla="*/ 1567243 h 1567242"/>
              <a:gd name="connsiteX2" fmla="*/ 410898 w 2049387"/>
              <a:gd name="connsiteY2" fmla="*/ 1567243 h 1567242"/>
              <a:gd name="connsiteX3" fmla="*/ 93040 w 2049387"/>
              <a:gd name="connsiteY3" fmla="*/ 1249384 h 1567242"/>
              <a:gd name="connsiteX4" fmla="*/ 93040 w 2049387"/>
              <a:gd name="connsiteY4" fmla="*/ 799972 h 1567242"/>
              <a:gd name="connsiteX5" fmla="*/ 799857 w 2049387"/>
              <a:gd name="connsiteY5" fmla="*/ 93153 h 1567242"/>
              <a:gd name="connsiteX6" fmla="*/ 1249418 w 2049387"/>
              <a:gd name="connsiteY6" fmla="*/ 93153 h 1567242"/>
              <a:gd name="connsiteX7" fmla="*/ 1956235 w 2049387"/>
              <a:gd name="connsiteY7" fmla="*/ 799972 h 1567242"/>
              <a:gd name="connsiteX8" fmla="*/ 1956235 w 2049387"/>
              <a:gd name="connsiteY8" fmla="*/ 1249384 h 15672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49387" h="1567242">
                <a:moveTo>
                  <a:pt x="1956235" y="1249384"/>
                </a:moveTo>
                <a:lnTo>
                  <a:pt x="1638377" y="1567243"/>
                </a:lnTo>
                <a:lnTo>
                  <a:pt x="410898" y="1567243"/>
                </a:lnTo>
                <a:lnTo>
                  <a:pt x="93040" y="1249384"/>
                </a:lnTo>
                <a:cubicBezTo>
                  <a:pt x="-31013" y="1125331"/>
                  <a:pt x="-31013" y="924025"/>
                  <a:pt x="93040" y="799972"/>
                </a:cubicBezTo>
                <a:lnTo>
                  <a:pt x="799857" y="93153"/>
                </a:lnTo>
                <a:cubicBezTo>
                  <a:pt x="924060" y="-31051"/>
                  <a:pt x="1125215" y="-31051"/>
                  <a:pt x="1249418" y="93153"/>
                </a:cubicBezTo>
                <a:lnTo>
                  <a:pt x="1956235" y="799972"/>
                </a:lnTo>
                <a:cubicBezTo>
                  <a:pt x="2080438" y="924025"/>
                  <a:pt x="2080438" y="1125331"/>
                  <a:pt x="1956235" y="1249384"/>
                </a:cubicBezTo>
                <a:close/>
              </a:path>
            </a:pathLst>
          </a:custGeom>
          <a:gradFill>
            <a:gsLst>
              <a:gs pos="0">
                <a:schemeClr val="bg2">
                  <a:lumMod val="60000"/>
                  <a:lumOff val="40000"/>
                </a:schemeClr>
              </a:gs>
              <a:gs pos="73000">
                <a:schemeClr val="bg2">
                  <a:lumMod val="75000"/>
                </a:schemeClr>
              </a:gs>
            </a:gsLst>
            <a:lin ang="18939382" scaled="1"/>
          </a:gradFill>
          <a:ln w="13581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D6064D69-EC27-B88A-285A-B7FCA5547F8F}"/>
              </a:ext>
            </a:extLst>
          </p:cNvPr>
          <p:cNvSpPr/>
          <p:nvPr userDrawn="1"/>
        </p:nvSpPr>
        <p:spPr>
          <a:xfrm>
            <a:off x="3673215" y="0"/>
            <a:ext cx="1509186" cy="604104"/>
          </a:xfrm>
          <a:custGeom>
            <a:avLst/>
            <a:gdLst>
              <a:gd name="connsiteX0" fmla="*/ 1509187 w 1509186"/>
              <a:gd name="connsiteY0" fmla="*/ 0 h 604104"/>
              <a:gd name="connsiteX1" fmla="*/ 1011625 w 1509186"/>
              <a:gd name="connsiteY1" fmla="*/ 497564 h 604104"/>
              <a:gd name="connsiteX2" fmla="*/ 497562 w 1509186"/>
              <a:gd name="connsiteY2" fmla="*/ 497564 h 604104"/>
              <a:gd name="connsiteX3" fmla="*/ 0 w 1509186"/>
              <a:gd name="connsiteY3" fmla="*/ 0 h 604104"/>
              <a:gd name="connsiteX4" fmla="*/ 1509187 w 1509186"/>
              <a:gd name="connsiteY4" fmla="*/ 0 h 6041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9186" h="604104">
                <a:moveTo>
                  <a:pt x="1509187" y="0"/>
                </a:moveTo>
                <a:lnTo>
                  <a:pt x="1011625" y="497564"/>
                </a:lnTo>
                <a:cubicBezTo>
                  <a:pt x="869721" y="639618"/>
                  <a:pt x="639466" y="639618"/>
                  <a:pt x="497562" y="497564"/>
                </a:cubicBezTo>
                <a:lnTo>
                  <a:pt x="0" y="0"/>
                </a:lnTo>
                <a:lnTo>
                  <a:pt x="1509187" y="0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77000">
                <a:schemeClr val="bg2">
                  <a:lumMod val="75000"/>
                </a:schemeClr>
              </a:gs>
            </a:gsLst>
            <a:lin ang="18939382" scaled="1"/>
          </a:gradFill>
          <a:ln w="13581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07167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72">
          <p15:clr>
            <a:srgbClr val="5ACBF0"/>
          </p15:clr>
        </p15:guide>
        <p15:guide id="3" pos="384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2.sv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image" Target="../media/image1.png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59.xml"/><Relationship Id="rId21" Type="http://schemas.openxmlformats.org/officeDocument/2006/relationships/slideLayout" Target="../slideLayouts/slideLayout54.xml"/><Relationship Id="rId34" Type="http://schemas.openxmlformats.org/officeDocument/2006/relationships/slideLayout" Target="../slideLayouts/slideLayout67.xml"/><Relationship Id="rId42" Type="http://schemas.openxmlformats.org/officeDocument/2006/relationships/slideLayout" Target="../slideLayouts/slideLayout75.xml"/><Relationship Id="rId47" Type="http://schemas.openxmlformats.org/officeDocument/2006/relationships/slideLayout" Target="../slideLayouts/slideLayout80.xml"/><Relationship Id="rId50" Type="http://schemas.openxmlformats.org/officeDocument/2006/relationships/slideLayout" Target="../slideLayouts/slideLayout83.xml"/><Relationship Id="rId55" Type="http://schemas.openxmlformats.org/officeDocument/2006/relationships/slideLayout" Target="../slideLayouts/slideLayout88.xml"/><Relationship Id="rId63" Type="http://schemas.openxmlformats.org/officeDocument/2006/relationships/slideLayout" Target="../slideLayouts/slideLayout96.xml"/><Relationship Id="rId7" Type="http://schemas.openxmlformats.org/officeDocument/2006/relationships/slideLayout" Target="../slideLayouts/slideLayout40.xml"/><Relationship Id="rId2" Type="http://schemas.openxmlformats.org/officeDocument/2006/relationships/slideLayout" Target="../slideLayouts/slideLayout35.xml"/><Relationship Id="rId16" Type="http://schemas.openxmlformats.org/officeDocument/2006/relationships/slideLayout" Target="../slideLayouts/slideLayout49.xml"/><Relationship Id="rId29" Type="http://schemas.openxmlformats.org/officeDocument/2006/relationships/slideLayout" Target="../slideLayouts/slideLayout62.xml"/><Relationship Id="rId11" Type="http://schemas.openxmlformats.org/officeDocument/2006/relationships/slideLayout" Target="../slideLayouts/slideLayout44.xml"/><Relationship Id="rId24" Type="http://schemas.openxmlformats.org/officeDocument/2006/relationships/slideLayout" Target="../slideLayouts/slideLayout57.xml"/><Relationship Id="rId32" Type="http://schemas.openxmlformats.org/officeDocument/2006/relationships/slideLayout" Target="../slideLayouts/slideLayout65.xml"/><Relationship Id="rId37" Type="http://schemas.openxmlformats.org/officeDocument/2006/relationships/slideLayout" Target="../slideLayouts/slideLayout70.xml"/><Relationship Id="rId40" Type="http://schemas.openxmlformats.org/officeDocument/2006/relationships/slideLayout" Target="../slideLayouts/slideLayout73.xml"/><Relationship Id="rId45" Type="http://schemas.openxmlformats.org/officeDocument/2006/relationships/slideLayout" Target="../slideLayouts/slideLayout78.xml"/><Relationship Id="rId53" Type="http://schemas.openxmlformats.org/officeDocument/2006/relationships/slideLayout" Target="../slideLayouts/slideLayout86.xml"/><Relationship Id="rId58" Type="http://schemas.openxmlformats.org/officeDocument/2006/relationships/slideLayout" Target="../slideLayouts/slideLayout91.xml"/><Relationship Id="rId66" Type="http://schemas.openxmlformats.org/officeDocument/2006/relationships/image" Target="../media/image1.png"/><Relationship Id="rId5" Type="http://schemas.openxmlformats.org/officeDocument/2006/relationships/slideLayout" Target="../slideLayouts/slideLayout38.xml"/><Relationship Id="rId61" Type="http://schemas.openxmlformats.org/officeDocument/2006/relationships/slideLayout" Target="../slideLayouts/slideLayout94.xml"/><Relationship Id="rId19" Type="http://schemas.openxmlformats.org/officeDocument/2006/relationships/slideLayout" Target="../slideLayouts/slideLayout52.xml"/><Relationship Id="rId14" Type="http://schemas.openxmlformats.org/officeDocument/2006/relationships/slideLayout" Target="../slideLayouts/slideLayout47.xml"/><Relationship Id="rId22" Type="http://schemas.openxmlformats.org/officeDocument/2006/relationships/slideLayout" Target="../slideLayouts/slideLayout55.xml"/><Relationship Id="rId27" Type="http://schemas.openxmlformats.org/officeDocument/2006/relationships/slideLayout" Target="../slideLayouts/slideLayout60.xml"/><Relationship Id="rId30" Type="http://schemas.openxmlformats.org/officeDocument/2006/relationships/slideLayout" Target="../slideLayouts/slideLayout63.xml"/><Relationship Id="rId35" Type="http://schemas.openxmlformats.org/officeDocument/2006/relationships/slideLayout" Target="../slideLayouts/slideLayout68.xml"/><Relationship Id="rId43" Type="http://schemas.openxmlformats.org/officeDocument/2006/relationships/slideLayout" Target="../slideLayouts/slideLayout76.xml"/><Relationship Id="rId48" Type="http://schemas.openxmlformats.org/officeDocument/2006/relationships/slideLayout" Target="../slideLayouts/slideLayout81.xml"/><Relationship Id="rId56" Type="http://schemas.openxmlformats.org/officeDocument/2006/relationships/slideLayout" Target="../slideLayouts/slideLayout89.xml"/><Relationship Id="rId64" Type="http://schemas.openxmlformats.org/officeDocument/2006/relationships/slideLayout" Target="../slideLayouts/slideLayout97.xml"/><Relationship Id="rId8" Type="http://schemas.openxmlformats.org/officeDocument/2006/relationships/slideLayout" Target="../slideLayouts/slideLayout41.xml"/><Relationship Id="rId51" Type="http://schemas.openxmlformats.org/officeDocument/2006/relationships/slideLayout" Target="../slideLayouts/slideLayout84.xml"/><Relationship Id="rId3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5.xml"/><Relationship Id="rId17" Type="http://schemas.openxmlformats.org/officeDocument/2006/relationships/slideLayout" Target="../slideLayouts/slideLayout50.xml"/><Relationship Id="rId25" Type="http://schemas.openxmlformats.org/officeDocument/2006/relationships/slideLayout" Target="../slideLayouts/slideLayout58.xml"/><Relationship Id="rId33" Type="http://schemas.openxmlformats.org/officeDocument/2006/relationships/slideLayout" Target="../slideLayouts/slideLayout66.xml"/><Relationship Id="rId38" Type="http://schemas.openxmlformats.org/officeDocument/2006/relationships/slideLayout" Target="../slideLayouts/slideLayout71.xml"/><Relationship Id="rId46" Type="http://schemas.openxmlformats.org/officeDocument/2006/relationships/slideLayout" Target="../slideLayouts/slideLayout79.xml"/><Relationship Id="rId59" Type="http://schemas.openxmlformats.org/officeDocument/2006/relationships/slideLayout" Target="../slideLayouts/slideLayout92.xml"/><Relationship Id="rId67" Type="http://schemas.openxmlformats.org/officeDocument/2006/relationships/image" Target="../media/image2.svg"/><Relationship Id="rId20" Type="http://schemas.openxmlformats.org/officeDocument/2006/relationships/slideLayout" Target="../slideLayouts/slideLayout53.xml"/><Relationship Id="rId41" Type="http://schemas.openxmlformats.org/officeDocument/2006/relationships/slideLayout" Target="../slideLayouts/slideLayout74.xml"/><Relationship Id="rId54" Type="http://schemas.openxmlformats.org/officeDocument/2006/relationships/slideLayout" Target="../slideLayouts/slideLayout87.xml"/><Relationship Id="rId62" Type="http://schemas.openxmlformats.org/officeDocument/2006/relationships/slideLayout" Target="../slideLayouts/slideLayout9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5" Type="http://schemas.openxmlformats.org/officeDocument/2006/relationships/slideLayout" Target="../slideLayouts/slideLayout48.xml"/><Relationship Id="rId23" Type="http://schemas.openxmlformats.org/officeDocument/2006/relationships/slideLayout" Target="../slideLayouts/slideLayout56.xml"/><Relationship Id="rId28" Type="http://schemas.openxmlformats.org/officeDocument/2006/relationships/slideLayout" Target="../slideLayouts/slideLayout61.xml"/><Relationship Id="rId36" Type="http://schemas.openxmlformats.org/officeDocument/2006/relationships/slideLayout" Target="../slideLayouts/slideLayout69.xml"/><Relationship Id="rId49" Type="http://schemas.openxmlformats.org/officeDocument/2006/relationships/slideLayout" Target="../slideLayouts/slideLayout82.xml"/><Relationship Id="rId57" Type="http://schemas.openxmlformats.org/officeDocument/2006/relationships/slideLayout" Target="../slideLayouts/slideLayout90.xml"/><Relationship Id="rId10" Type="http://schemas.openxmlformats.org/officeDocument/2006/relationships/slideLayout" Target="../slideLayouts/slideLayout43.xml"/><Relationship Id="rId31" Type="http://schemas.openxmlformats.org/officeDocument/2006/relationships/slideLayout" Target="../slideLayouts/slideLayout64.xml"/><Relationship Id="rId44" Type="http://schemas.openxmlformats.org/officeDocument/2006/relationships/slideLayout" Target="../slideLayouts/slideLayout77.xml"/><Relationship Id="rId52" Type="http://schemas.openxmlformats.org/officeDocument/2006/relationships/slideLayout" Target="../slideLayouts/slideLayout85.xml"/><Relationship Id="rId60" Type="http://schemas.openxmlformats.org/officeDocument/2006/relationships/slideLayout" Target="../slideLayouts/slideLayout93.xml"/><Relationship Id="rId65" Type="http://schemas.openxmlformats.org/officeDocument/2006/relationships/theme" Target="../theme/theme2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3" Type="http://schemas.openxmlformats.org/officeDocument/2006/relationships/slideLayout" Target="../slideLayouts/slideLayout46.xml"/><Relationship Id="rId18" Type="http://schemas.openxmlformats.org/officeDocument/2006/relationships/slideLayout" Target="../slideLayouts/slideLayout51.xml"/><Relationship Id="rId39" Type="http://schemas.openxmlformats.org/officeDocument/2006/relationships/slideLayout" Target="../slideLayouts/slideLayout7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5.xml"/><Relationship Id="rId13" Type="http://schemas.openxmlformats.org/officeDocument/2006/relationships/slideLayout" Target="../slideLayouts/slideLayout110.xml"/><Relationship Id="rId3" Type="http://schemas.openxmlformats.org/officeDocument/2006/relationships/slideLayout" Target="../slideLayouts/slideLayout100.xml"/><Relationship Id="rId7" Type="http://schemas.openxmlformats.org/officeDocument/2006/relationships/slideLayout" Target="../slideLayouts/slideLayout104.xml"/><Relationship Id="rId12" Type="http://schemas.openxmlformats.org/officeDocument/2006/relationships/slideLayout" Target="../slideLayouts/slideLayout109.xml"/><Relationship Id="rId2" Type="http://schemas.openxmlformats.org/officeDocument/2006/relationships/slideLayout" Target="../slideLayouts/slideLayout99.xml"/><Relationship Id="rId16" Type="http://schemas.openxmlformats.org/officeDocument/2006/relationships/theme" Target="../theme/theme3.xml"/><Relationship Id="rId1" Type="http://schemas.openxmlformats.org/officeDocument/2006/relationships/slideLayout" Target="../slideLayouts/slideLayout98.xml"/><Relationship Id="rId6" Type="http://schemas.openxmlformats.org/officeDocument/2006/relationships/slideLayout" Target="../slideLayouts/slideLayout103.xml"/><Relationship Id="rId11" Type="http://schemas.openxmlformats.org/officeDocument/2006/relationships/slideLayout" Target="../slideLayouts/slideLayout108.xml"/><Relationship Id="rId5" Type="http://schemas.openxmlformats.org/officeDocument/2006/relationships/slideLayout" Target="../slideLayouts/slideLayout102.xml"/><Relationship Id="rId15" Type="http://schemas.openxmlformats.org/officeDocument/2006/relationships/slideLayout" Target="../slideLayouts/slideLayout112.xml"/><Relationship Id="rId10" Type="http://schemas.openxmlformats.org/officeDocument/2006/relationships/slideLayout" Target="../slideLayouts/slideLayout107.xml"/><Relationship Id="rId4" Type="http://schemas.openxmlformats.org/officeDocument/2006/relationships/slideLayout" Target="../slideLayouts/slideLayout101.xml"/><Relationship Id="rId9" Type="http://schemas.openxmlformats.org/officeDocument/2006/relationships/slideLayout" Target="../slideLayouts/slideLayout106.xml"/><Relationship Id="rId14" Type="http://schemas.openxmlformats.org/officeDocument/2006/relationships/slideLayout" Target="../slideLayouts/slideLayout1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blackWhite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44" name="Graphic 143">
            <a:extLst>
              <a:ext uri="{FF2B5EF4-FFF2-40B4-BE49-F238E27FC236}">
                <a16:creationId xmlns:a16="http://schemas.microsoft.com/office/drawing/2014/main" id="{55FCE7D5-5796-0746-3173-EB75FBE85E45}"/>
              </a:ext>
            </a:extLst>
          </p:cNvPr>
          <p:cNvPicPr>
            <a:picLocks noChangeAspect="1"/>
          </p:cNvPicPr>
          <p:nvPr/>
        </p:nvPicPr>
        <p:blipFill>
          <a:blip r:embed="rId35">
            <a:extLst>
              <a:ext uri="{96DAC541-7B7A-43D3-8B79-37D633B846F1}">
                <asvg:svgBlip xmlns:asvg="http://schemas.microsoft.com/office/drawing/2016/SVG/main" r:embed="rId36"/>
              </a:ext>
            </a:extLst>
          </a:blip>
          <a:srcRect/>
          <a:stretch/>
        </p:blipFill>
        <p:spPr>
          <a:xfrm rot="5400000">
            <a:off x="9509919" y="2743200"/>
            <a:ext cx="6858000" cy="1371600"/>
          </a:xfrm>
          <a:prstGeom prst="rect">
            <a:avLst/>
          </a:prstGeom>
        </p:spPr>
      </p:pic>
      <p:sp>
        <p:nvSpPr>
          <p:cNvPr id="5" name="TextBox 7">
            <a:extLst>
              <a:ext uri="{FF2B5EF4-FFF2-40B4-BE49-F238E27FC236}">
                <a16:creationId xmlns:a16="http://schemas.microsoft.com/office/drawing/2014/main" id="{5D04F243-C97D-F8A1-0A64-81A31D0C02A3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1828800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lassified as Microsoft Confidential</a:t>
            </a:r>
          </a:p>
        </p:txBody>
      </p:sp>
    </p:spTree>
    <p:extLst>
      <p:ext uri="{BB962C8B-B14F-4D97-AF65-F5344CB8AC3E}">
        <p14:creationId xmlns:p14="http://schemas.microsoft.com/office/powerpoint/2010/main" val="8182621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5613" r:id="rId1"/>
    <p:sldLayoutId id="2147485614" r:id="rId2"/>
    <p:sldLayoutId id="2147485615" r:id="rId3"/>
    <p:sldLayoutId id="2147485616" r:id="rId4"/>
    <p:sldLayoutId id="2147485617" r:id="rId5"/>
    <p:sldLayoutId id="2147485618" r:id="rId6"/>
    <p:sldLayoutId id="2147485619" r:id="rId7"/>
    <p:sldLayoutId id="2147485620" r:id="rId8"/>
    <p:sldLayoutId id="2147485621" r:id="rId9"/>
    <p:sldLayoutId id="2147485622" r:id="rId10"/>
    <p:sldLayoutId id="2147485623" r:id="rId11"/>
    <p:sldLayoutId id="2147485624" r:id="rId12"/>
    <p:sldLayoutId id="2147485625" r:id="rId13"/>
    <p:sldLayoutId id="2147485626" r:id="rId14"/>
    <p:sldLayoutId id="2147485627" r:id="rId15"/>
    <p:sldLayoutId id="2147485628" r:id="rId16"/>
    <p:sldLayoutId id="2147485629" r:id="rId17"/>
    <p:sldLayoutId id="2147485630" r:id="rId18"/>
    <p:sldLayoutId id="2147485631" r:id="rId19"/>
    <p:sldLayoutId id="2147485632" r:id="rId20"/>
    <p:sldLayoutId id="2147485633" r:id="rId21"/>
    <p:sldLayoutId id="2147485634" r:id="rId22"/>
    <p:sldLayoutId id="2147485635" r:id="rId23"/>
    <p:sldLayoutId id="2147485636" r:id="rId24"/>
    <p:sldLayoutId id="2147485637" r:id="rId25"/>
    <p:sldLayoutId id="2147485638" r:id="rId26"/>
    <p:sldLayoutId id="2147485639" r:id="rId27"/>
    <p:sldLayoutId id="2147485640" r:id="rId28"/>
    <p:sldLayoutId id="2147485641" r:id="rId29"/>
    <p:sldLayoutId id="2147485642" r:id="rId30"/>
    <p:sldLayoutId id="2147485643" r:id="rId31"/>
    <p:sldLayoutId id="2147485644" r:id="rId32"/>
    <p:sldLayoutId id="2147485645" r:id="rId33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0" kern="1200" cap="none" spc="-50" baseline="0" dirty="0" smtClean="0">
          <a:ln w="3175">
            <a:noFill/>
          </a:ln>
          <a:solidFill>
            <a:schemeClr val="tx1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solidFill>
            <a:schemeClr val="tx1"/>
          </a:solidFill>
          <a:latin typeface="+mn-lt"/>
          <a:ea typeface="+mn-ea"/>
          <a:cs typeface="Segoe UI" panose="020B05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  <p15:guide id="31" orient="horz" pos="400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blackWhite">
      <p:bgPr>
        <a:solidFill>
          <a:srgbClr val="FFF8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44" name="Graphic 143">
            <a:extLst>
              <a:ext uri="{FF2B5EF4-FFF2-40B4-BE49-F238E27FC236}">
                <a16:creationId xmlns:a16="http://schemas.microsoft.com/office/drawing/2014/main" id="{55FCE7D5-5796-0746-3173-EB75FBE85E45}"/>
              </a:ext>
            </a:extLst>
          </p:cNvPr>
          <p:cNvPicPr>
            <a:picLocks noChangeAspect="1"/>
          </p:cNvPicPr>
          <p:nvPr/>
        </p:nvPicPr>
        <p:blipFill>
          <a:blip r:embed="rId66">
            <a:extLst>
              <a:ext uri="{96DAC541-7B7A-43D3-8B79-37D633B846F1}">
                <asvg:svgBlip xmlns:asvg="http://schemas.microsoft.com/office/drawing/2016/SVG/main" r:embed="rId67"/>
              </a:ext>
            </a:extLst>
          </a:blip>
          <a:srcRect/>
          <a:stretch/>
        </p:blipFill>
        <p:spPr>
          <a:xfrm rot="5400000">
            <a:off x="9509919" y="2743200"/>
            <a:ext cx="6858000" cy="1371600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D5732E20-D956-500D-8A8F-B2C0E85A5D86}"/>
              </a:ext>
            </a:extLst>
          </p:cNvPr>
          <p:cNvGrpSpPr/>
          <p:nvPr userDrawn="1"/>
        </p:nvGrpSpPr>
        <p:grpSpPr>
          <a:xfrm>
            <a:off x="13785819" y="-19050"/>
            <a:ext cx="3785616" cy="6858000"/>
            <a:chOff x="22177344" y="0"/>
            <a:chExt cx="3785616" cy="6858000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9A8386A4-E82F-2BB0-BBD7-C8C373D557BA}"/>
                </a:ext>
              </a:extLst>
            </p:cNvPr>
            <p:cNvGrpSpPr/>
            <p:nvPr userDrawn="1"/>
          </p:nvGrpSpPr>
          <p:grpSpPr>
            <a:xfrm>
              <a:off x="22177344" y="0"/>
              <a:ext cx="3785616" cy="772614"/>
              <a:chOff x="15862269" y="26282"/>
              <a:chExt cx="3785616" cy="772614"/>
            </a:xfrm>
          </p:grpSpPr>
          <p:sp>
            <p:nvSpPr>
              <p:cNvPr id="228" name="TextBox 227">
                <a:extLst>
                  <a:ext uri="{FF2B5EF4-FFF2-40B4-BE49-F238E27FC236}">
                    <a16:creationId xmlns:a16="http://schemas.microsoft.com/office/drawing/2014/main" id="{25014E0E-3932-D7EC-5ED3-D155D7CC24D3}"/>
                  </a:ext>
                </a:extLst>
              </p:cNvPr>
              <p:cNvSpPr txBox="1"/>
              <p:nvPr/>
            </p:nvSpPr>
            <p:spPr>
              <a:xfrm>
                <a:off x="15862269" y="26282"/>
                <a:ext cx="365760" cy="366254"/>
              </a:xfrm>
              <a:prstGeom prst="rect">
                <a:avLst/>
              </a:prstGeom>
              <a:noFill/>
            </p:spPr>
            <p:txBody>
              <a:bodyPr wrap="square" lIns="0" tIns="0" rIns="0" bIns="256032" rtlCol="0" anchor="b" anchorCtr="0">
                <a:spAutoFit/>
              </a:bodyPr>
              <a:lstStyle/>
              <a:p>
                <a:r>
                  <a:rPr lang="en-US" sz="700" b="1">
                    <a:ln w="3175">
                      <a:noFill/>
                    </a:ln>
                    <a:gradFill>
                      <a:gsLst>
                        <a:gs pos="9174">
                          <a:schemeClr val="tx1"/>
                        </a:gs>
                        <a:gs pos="42000">
                          <a:schemeClr val="tx1"/>
                        </a:gs>
                      </a:gsLst>
                      <a:path path="circle">
                        <a:fillToRect l="100000" t="100000"/>
                      </a:path>
                    </a:gradFill>
                    <a:latin typeface="Segoe UI Variable Display Semibold" pitchFamily="2" charset="0"/>
                    <a:cs typeface="Segoe UI" pitchFamily="34" charset="0"/>
                  </a:rPr>
                  <a:t>Theme 1</a:t>
                </a:r>
              </a:p>
            </p:txBody>
          </p:sp>
          <p:sp>
            <p:nvSpPr>
              <p:cNvPr id="229" name="TextBox 228">
                <a:extLst>
                  <a:ext uri="{FF2B5EF4-FFF2-40B4-BE49-F238E27FC236}">
                    <a16:creationId xmlns:a16="http://schemas.microsoft.com/office/drawing/2014/main" id="{300F468A-C57F-AC86-3ED4-8097BA35E113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5862269" y="150880"/>
                <a:ext cx="457200" cy="241657"/>
              </a:xfrm>
              <a:prstGeom prst="rect">
                <a:avLst/>
              </a:prstGeom>
              <a:solidFill>
                <a:srgbClr val="318581"/>
              </a:solidFill>
              <a:ln>
                <a:noFill/>
              </a:ln>
            </p:spPr>
            <p:txBody>
              <a:bodyPr wrap="square" lIns="45720" tIns="18288" rIns="0" bIns="0" rtlCol="0" anchor="t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>
                  <a:defRPr>
                    <a:solidFill>
                      <a:schemeClr val="tx1"/>
                    </a:solidFill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marL="0" marR="0" lvl="1" indent="0" algn="l" defTabSz="932780" rtl="0" eaLnBrk="1" fontAlgn="auto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Tx/>
                  <a:buNone/>
                  <a:tabLst/>
                  <a:defRPr/>
                </a:pPr>
                <a:endParaRPr lang="en-CA" sz="600" b="1">
                  <a:ln w="3175">
                    <a:noFill/>
                  </a:ln>
                  <a:gradFill>
                    <a:gsLst>
                      <a:gs pos="90826">
                        <a:srgbClr val="FFFFFF"/>
                      </a:gs>
                      <a:gs pos="65000">
                        <a:srgbClr val="FFFFFF"/>
                      </a:gs>
                    </a:gsLst>
                    <a:path path="circle">
                      <a:fillToRect l="100000" t="100000"/>
                    </a:path>
                  </a:gradFill>
                  <a:latin typeface="Segoe UI Variable Display Semibold" pitchFamily="2" charset="0"/>
                  <a:cs typeface="Segoe UI" pitchFamily="34" charset="0"/>
                </a:endParaRPr>
              </a:p>
            </p:txBody>
          </p:sp>
          <p:sp>
            <p:nvSpPr>
              <p:cNvPr id="230" name="TextBox 229">
                <a:extLst>
                  <a:ext uri="{FF2B5EF4-FFF2-40B4-BE49-F238E27FC236}">
                    <a16:creationId xmlns:a16="http://schemas.microsoft.com/office/drawing/2014/main" id="{0A871ECA-7AD3-8F49-3E95-94F7A4915145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6337757" y="150880"/>
                <a:ext cx="457200" cy="241657"/>
              </a:xfrm>
              <a:prstGeom prst="rect">
                <a:avLst/>
              </a:prstGeom>
              <a:solidFill>
                <a:srgbClr val="0A6BBA"/>
              </a:solidFill>
              <a:ln>
                <a:noFill/>
              </a:ln>
            </p:spPr>
            <p:txBody>
              <a:bodyPr wrap="square" lIns="45720" tIns="18288" rIns="0" bIns="0" rtlCol="0" anchor="t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>
                  <a:defRPr>
                    <a:solidFill>
                      <a:schemeClr val="tx1"/>
                    </a:solidFill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marL="0" marR="0" lvl="1" indent="0" algn="l" defTabSz="932780" rtl="0" eaLnBrk="1" fontAlgn="auto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Tx/>
                  <a:buNone/>
                  <a:tabLst/>
                  <a:defRPr/>
                </a:pPr>
                <a:endParaRPr kumimoji="0" lang="en-CA" sz="500" b="1" i="0" u="none" strike="noStrike" kern="1200" cap="none" spc="0" normalizeH="0" baseline="0" noProof="0">
                  <a:ln w="3175">
                    <a:noFill/>
                  </a:ln>
                  <a:gradFill>
                    <a:gsLst>
                      <a:gs pos="90826">
                        <a:srgbClr val="FFFFFF"/>
                      </a:gs>
                      <a:gs pos="65000">
                        <a:srgbClr val="FFFFFF"/>
                      </a:gs>
                    </a:gsLst>
                    <a:path path="circle">
                      <a:fillToRect l="100000" t="100000"/>
                    </a:path>
                  </a:gradFill>
                  <a:effectLst/>
                  <a:uLnTx/>
                  <a:uFillTx/>
                  <a:latin typeface="Segoe UI Variable Display Semibold" pitchFamily="2" charset="0"/>
                  <a:ea typeface="+mn-ea"/>
                  <a:cs typeface="Segoe UI" pitchFamily="34" charset="0"/>
                </a:endParaRPr>
              </a:p>
            </p:txBody>
          </p:sp>
          <p:sp>
            <p:nvSpPr>
              <p:cNvPr id="231" name="TextBox 230">
                <a:extLst>
                  <a:ext uri="{FF2B5EF4-FFF2-40B4-BE49-F238E27FC236}">
                    <a16:creationId xmlns:a16="http://schemas.microsoft.com/office/drawing/2014/main" id="{07612886-5154-CCB7-455D-BEB88D777363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6813245" y="150880"/>
                <a:ext cx="457200" cy="241657"/>
              </a:xfrm>
              <a:prstGeom prst="rect">
                <a:avLst/>
              </a:prstGeom>
              <a:solidFill>
                <a:srgbClr val="AC35AF"/>
              </a:solidFill>
              <a:ln>
                <a:noFill/>
              </a:ln>
            </p:spPr>
            <p:txBody>
              <a:bodyPr wrap="square" lIns="45720" tIns="18288" rIns="0" bIns="0" rtlCol="0" anchor="t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>
                  <a:defRPr>
                    <a:solidFill>
                      <a:schemeClr val="tx1"/>
                    </a:solidFill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marL="0" marR="0" lvl="1" indent="0" algn="l" defTabSz="932780" rtl="0" eaLnBrk="1" fontAlgn="auto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Tx/>
                  <a:buNone/>
                  <a:tabLst/>
                  <a:defRPr/>
                </a:pPr>
                <a:endParaRPr lang="en-CA" sz="600" b="1">
                  <a:ln w="3175">
                    <a:noFill/>
                  </a:ln>
                  <a:gradFill>
                    <a:gsLst>
                      <a:gs pos="90826">
                        <a:srgbClr val="FFFFFF"/>
                      </a:gs>
                      <a:gs pos="65000">
                        <a:srgbClr val="FFFFFF"/>
                      </a:gs>
                    </a:gsLst>
                    <a:path path="circle">
                      <a:fillToRect l="100000" t="100000"/>
                    </a:path>
                  </a:gradFill>
                  <a:latin typeface="Segoe UI Variable Display Semibold" pitchFamily="2" charset="0"/>
                  <a:cs typeface="Segoe UI" pitchFamily="34" charset="0"/>
                </a:endParaRPr>
              </a:p>
            </p:txBody>
          </p:sp>
          <p:sp>
            <p:nvSpPr>
              <p:cNvPr id="232" name="TextBox 231">
                <a:extLst>
                  <a:ext uri="{FF2B5EF4-FFF2-40B4-BE49-F238E27FC236}">
                    <a16:creationId xmlns:a16="http://schemas.microsoft.com/office/drawing/2014/main" id="{2F859231-C283-29B5-E248-FA1509A47D86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7288733" y="150880"/>
                <a:ext cx="457200" cy="241657"/>
              </a:xfrm>
              <a:prstGeom prst="rect">
                <a:avLst/>
              </a:prstGeom>
              <a:solidFill>
                <a:srgbClr val="F65567"/>
              </a:solidFill>
              <a:ln>
                <a:noFill/>
              </a:ln>
            </p:spPr>
            <p:txBody>
              <a:bodyPr wrap="square" lIns="45720" tIns="18288" rIns="0" bIns="0" rtlCol="0" anchor="t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>
                  <a:defRPr>
                    <a:solidFill>
                      <a:schemeClr val="tx1"/>
                    </a:solidFill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marL="0" marR="0" lvl="1" indent="0" algn="l" defTabSz="932780" rtl="0" eaLnBrk="1" fontAlgn="auto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Tx/>
                  <a:buNone/>
                  <a:tabLst/>
                  <a:defRPr/>
                </a:pPr>
                <a:endParaRPr lang="en-CA" sz="600" b="1">
                  <a:ln w="3175">
                    <a:noFill/>
                  </a:ln>
                  <a:gradFill>
                    <a:gsLst>
                      <a:gs pos="90826">
                        <a:srgbClr val="FFFFFF"/>
                      </a:gs>
                      <a:gs pos="65000">
                        <a:srgbClr val="FFFFFF"/>
                      </a:gs>
                    </a:gsLst>
                    <a:path path="circle">
                      <a:fillToRect l="100000" t="100000"/>
                    </a:path>
                  </a:gradFill>
                  <a:latin typeface="Segoe UI Variable Display Semibold" pitchFamily="2" charset="0"/>
                  <a:cs typeface="Segoe UI" pitchFamily="34" charset="0"/>
                </a:endParaRPr>
              </a:p>
            </p:txBody>
          </p:sp>
          <p:sp>
            <p:nvSpPr>
              <p:cNvPr id="233" name="TextBox 232">
                <a:extLst>
                  <a:ext uri="{FF2B5EF4-FFF2-40B4-BE49-F238E27FC236}">
                    <a16:creationId xmlns:a16="http://schemas.microsoft.com/office/drawing/2014/main" id="{612DF851-FBCD-D55E-E6EF-7C14DC07634C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 flipH="1">
                <a:off x="15862269" y="150880"/>
                <a:ext cx="457200" cy="241657"/>
              </a:xfrm>
              <a:prstGeom prst="rtTriangle">
                <a:avLst/>
              </a:prstGeom>
              <a:solidFill>
                <a:srgbClr val="41AFA1"/>
              </a:solidFill>
              <a:ln>
                <a:noFill/>
              </a:ln>
            </p:spPr>
            <p:txBody>
              <a:bodyPr wrap="square" lIns="45720" tIns="18288" rIns="0" bIns="0" rtlCol="0" anchor="t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>
                  <a:defRPr>
                    <a:solidFill>
                      <a:schemeClr val="tx1"/>
                    </a:solidFill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marL="0" lvl="1" defTabSz="932780">
                  <a:spcBef>
                    <a:spcPct val="20000"/>
                  </a:spcBef>
                  <a:buSzPct val="90000"/>
                  <a:defRPr/>
                </a:pPr>
                <a:endParaRPr lang="en-CA" sz="600" b="1">
                  <a:ln w="3175">
                    <a:noFill/>
                  </a:ln>
                  <a:gradFill>
                    <a:gsLst>
                      <a:gs pos="9174">
                        <a:schemeClr val="tx1"/>
                      </a:gs>
                      <a:gs pos="42000">
                        <a:schemeClr val="tx1"/>
                      </a:gs>
                    </a:gsLst>
                    <a:path path="circle">
                      <a:fillToRect l="100000" t="100000"/>
                    </a:path>
                  </a:gradFill>
                  <a:latin typeface="Segoe UI Variable Display Semibold" pitchFamily="2" charset="0"/>
                  <a:cs typeface="Segoe UI" pitchFamily="34" charset="0"/>
                </a:endParaRPr>
              </a:p>
            </p:txBody>
          </p:sp>
          <p:sp>
            <p:nvSpPr>
              <p:cNvPr id="234" name="TextBox 233">
                <a:extLst>
                  <a:ext uri="{FF2B5EF4-FFF2-40B4-BE49-F238E27FC236}">
                    <a16:creationId xmlns:a16="http://schemas.microsoft.com/office/drawing/2014/main" id="{4F15DFB8-B351-4AC5-3EA3-A596EC1A5F2E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 flipH="1">
                <a:off x="16337757" y="150880"/>
                <a:ext cx="457200" cy="241657"/>
              </a:xfrm>
              <a:prstGeom prst="rtTriangle">
                <a:avLst/>
              </a:prstGeom>
              <a:solidFill>
                <a:srgbClr val="46A0DE"/>
              </a:solidFill>
              <a:ln>
                <a:noFill/>
              </a:ln>
            </p:spPr>
            <p:txBody>
              <a:bodyPr wrap="square" lIns="45720" tIns="18288" rIns="0" bIns="0" rtlCol="0" anchor="t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>
                  <a:defRPr>
                    <a:solidFill>
                      <a:schemeClr val="tx1"/>
                    </a:solidFill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marL="0" lvl="1" defTabSz="932780">
                  <a:spcBef>
                    <a:spcPct val="20000"/>
                  </a:spcBef>
                  <a:buSzPct val="90000"/>
                  <a:defRPr/>
                </a:pPr>
                <a:endParaRPr lang="en-CA" sz="600" b="1">
                  <a:ln w="3175">
                    <a:noFill/>
                  </a:ln>
                  <a:gradFill>
                    <a:gsLst>
                      <a:gs pos="9174">
                        <a:schemeClr val="tx1"/>
                      </a:gs>
                      <a:gs pos="42000">
                        <a:schemeClr val="tx1"/>
                      </a:gs>
                    </a:gsLst>
                    <a:path path="circle">
                      <a:fillToRect l="100000" t="100000"/>
                    </a:path>
                  </a:gradFill>
                  <a:latin typeface="Segoe UI Variable Display Semibold" pitchFamily="2" charset="0"/>
                  <a:cs typeface="Segoe UI" pitchFamily="34" charset="0"/>
                </a:endParaRPr>
              </a:p>
            </p:txBody>
          </p:sp>
          <p:sp>
            <p:nvSpPr>
              <p:cNvPr id="235" name="TextBox 234">
                <a:extLst>
                  <a:ext uri="{FF2B5EF4-FFF2-40B4-BE49-F238E27FC236}">
                    <a16:creationId xmlns:a16="http://schemas.microsoft.com/office/drawing/2014/main" id="{49987C8E-AC3D-BAD0-ACFB-01A894F30705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 flipH="1">
                <a:off x="16813245" y="150880"/>
                <a:ext cx="457200" cy="241657"/>
              </a:xfrm>
              <a:prstGeom prst="rtTriangle">
                <a:avLst/>
              </a:prstGeom>
              <a:solidFill>
                <a:srgbClr val="CA6CCD"/>
              </a:solidFill>
              <a:ln>
                <a:noFill/>
              </a:ln>
            </p:spPr>
            <p:txBody>
              <a:bodyPr wrap="square" lIns="45720" tIns="18288" rIns="0" bIns="0" rtlCol="0" anchor="t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>
                  <a:defRPr>
                    <a:solidFill>
                      <a:schemeClr val="tx1"/>
                    </a:solidFill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marL="0" lvl="1" defTabSz="932780">
                  <a:spcBef>
                    <a:spcPct val="20000"/>
                  </a:spcBef>
                  <a:buSzPct val="90000"/>
                  <a:defRPr/>
                </a:pPr>
                <a:endParaRPr lang="en-CA" sz="600" b="1">
                  <a:ln w="3175">
                    <a:noFill/>
                  </a:ln>
                  <a:gradFill>
                    <a:gsLst>
                      <a:gs pos="9174">
                        <a:schemeClr val="tx1"/>
                      </a:gs>
                      <a:gs pos="42000">
                        <a:schemeClr val="tx1"/>
                      </a:gs>
                    </a:gsLst>
                    <a:path path="circle">
                      <a:fillToRect l="100000" t="100000"/>
                    </a:path>
                  </a:gradFill>
                  <a:latin typeface="Segoe UI Variable Display Semibold" pitchFamily="2" charset="0"/>
                  <a:cs typeface="Segoe UI" pitchFamily="34" charset="0"/>
                </a:endParaRPr>
              </a:p>
            </p:txBody>
          </p:sp>
          <p:sp>
            <p:nvSpPr>
              <p:cNvPr id="236" name="TextBox 235">
                <a:extLst>
                  <a:ext uri="{FF2B5EF4-FFF2-40B4-BE49-F238E27FC236}">
                    <a16:creationId xmlns:a16="http://schemas.microsoft.com/office/drawing/2014/main" id="{F9F8E1AD-20F8-17CE-0B29-C5EDF32FEF2F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 flipH="1">
                <a:off x="17288733" y="150880"/>
                <a:ext cx="457200" cy="241657"/>
              </a:xfrm>
              <a:prstGeom prst="rtTriangle">
                <a:avLst/>
              </a:prstGeom>
              <a:solidFill>
                <a:srgbClr val="F97483"/>
              </a:solidFill>
              <a:ln>
                <a:noFill/>
              </a:ln>
            </p:spPr>
            <p:txBody>
              <a:bodyPr wrap="square" lIns="45720" tIns="18288" rIns="0" bIns="0" rtlCol="0" anchor="t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>
                  <a:defRPr>
                    <a:solidFill>
                      <a:schemeClr val="tx1"/>
                    </a:solidFill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marL="0" lvl="1" defTabSz="932780">
                  <a:spcBef>
                    <a:spcPct val="20000"/>
                  </a:spcBef>
                  <a:buSzPct val="90000"/>
                  <a:defRPr/>
                </a:pPr>
                <a:endParaRPr lang="en-CA" sz="600" b="1">
                  <a:ln w="3175">
                    <a:noFill/>
                  </a:ln>
                  <a:gradFill>
                    <a:gsLst>
                      <a:gs pos="9174">
                        <a:schemeClr val="tx1"/>
                      </a:gs>
                      <a:gs pos="42000">
                        <a:schemeClr val="tx1"/>
                      </a:gs>
                    </a:gsLst>
                    <a:path path="circle">
                      <a:fillToRect l="100000" t="100000"/>
                    </a:path>
                  </a:gradFill>
                  <a:latin typeface="Segoe UI Variable Display Semibold" pitchFamily="2" charset="0"/>
                  <a:cs typeface="Segoe UI" pitchFamily="34" charset="0"/>
                </a:endParaRPr>
              </a:p>
            </p:txBody>
          </p:sp>
          <p:sp>
            <p:nvSpPr>
              <p:cNvPr id="237" name="TextBox 236">
                <a:extLst>
                  <a:ext uri="{FF2B5EF4-FFF2-40B4-BE49-F238E27FC236}">
                    <a16:creationId xmlns:a16="http://schemas.microsoft.com/office/drawing/2014/main" id="{73159531-2CFC-A11C-E16B-F62949C1D100}"/>
                  </a:ext>
                </a:extLst>
              </p:cNvPr>
              <p:cNvSpPr txBox="1"/>
              <p:nvPr/>
            </p:nvSpPr>
            <p:spPr>
              <a:xfrm>
                <a:off x="17764221" y="26282"/>
                <a:ext cx="731520" cy="366254"/>
              </a:xfrm>
              <a:prstGeom prst="rect">
                <a:avLst/>
              </a:prstGeom>
              <a:noFill/>
            </p:spPr>
            <p:txBody>
              <a:bodyPr wrap="square" lIns="0" tIns="0" rIns="0" bIns="256032" rtlCol="0" anchor="b" anchorCtr="0">
                <a:spAutoFit/>
              </a:bodyPr>
              <a:lstStyle>
                <a:defPPr>
                  <a:defRPr lang="en-US"/>
                </a:defPPr>
                <a:lvl1pPr>
                  <a:defRPr sz="700" b="1">
                    <a:ln w="3175">
                      <a:noFill/>
                    </a:ln>
                    <a:gradFill>
                      <a:gsLst>
                        <a:gs pos="9174">
                          <a:schemeClr val="tx1"/>
                        </a:gs>
                        <a:gs pos="42000">
                          <a:schemeClr val="tx1"/>
                        </a:gs>
                      </a:gsLst>
                      <a:path path="circle">
                        <a:fillToRect l="100000" t="100000"/>
                      </a:path>
                    </a:gradFill>
                    <a:latin typeface="Segoe UI Variable Display Semibold" pitchFamily="2" charset="0"/>
                    <a:cs typeface="Segoe UI" pitchFamily="34" charset="0"/>
                  </a:defRPr>
                </a:lvl1pPr>
              </a:lstStyle>
              <a:p>
                <a:r>
                  <a:rPr lang="en-US"/>
                  <a:t>Colored header</a:t>
                </a:r>
              </a:p>
            </p:txBody>
          </p:sp>
          <p:sp>
            <p:nvSpPr>
              <p:cNvPr id="238" name="TextBox 237">
                <a:extLst>
                  <a:ext uri="{FF2B5EF4-FFF2-40B4-BE49-F238E27FC236}">
                    <a16:creationId xmlns:a16="http://schemas.microsoft.com/office/drawing/2014/main" id="{25F3D5BD-94D0-7DE7-5A3F-9721F6304AF7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7764221" y="150880"/>
                <a:ext cx="457200" cy="241657"/>
              </a:xfrm>
              <a:prstGeom prst="rect">
                <a:avLst/>
              </a:prstGeom>
              <a:solidFill>
                <a:srgbClr val="2E231C"/>
              </a:solidFill>
              <a:ln>
                <a:noFill/>
              </a:ln>
            </p:spPr>
            <p:txBody>
              <a:bodyPr wrap="square" lIns="45720" tIns="18288" rIns="0" bIns="0" rtlCol="0" anchor="t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>
                  <a:defRPr>
                    <a:solidFill>
                      <a:schemeClr val="tx1"/>
                    </a:solidFill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marL="0" lvl="1" defTabSz="932780">
                  <a:spcBef>
                    <a:spcPct val="20000"/>
                  </a:spcBef>
                  <a:buSzPct val="90000"/>
                  <a:defRPr/>
                </a:pPr>
                <a:endParaRPr lang="en-CA" sz="600" b="1">
                  <a:ln w="3175">
                    <a:noFill/>
                  </a:ln>
                  <a:gradFill>
                    <a:gsLst>
                      <a:gs pos="90826">
                        <a:srgbClr val="FFFFFF"/>
                      </a:gs>
                      <a:gs pos="65000">
                        <a:srgbClr val="FFFFFF"/>
                      </a:gs>
                    </a:gsLst>
                    <a:path path="circle">
                      <a:fillToRect l="100000" t="100000"/>
                    </a:path>
                  </a:gradFill>
                  <a:latin typeface="Segoe UI Variable Display Semibold" pitchFamily="2" charset="0"/>
                  <a:cs typeface="Segoe UI" pitchFamily="34" charset="0"/>
                </a:endParaRPr>
              </a:p>
            </p:txBody>
          </p:sp>
          <p:sp>
            <p:nvSpPr>
              <p:cNvPr id="239" name="TextBox 238">
                <a:extLst>
                  <a:ext uri="{FF2B5EF4-FFF2-40B4-BE49-F238E27FC236}">
                    <a16:creationId xmlns:a16="http://schemas.microsoft.com/office/drawing/2014/main" id="{1177CB0A-ABC6-7B5D-291F-E3534D183D19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 flipH="1">
                <a:off x="17764221" y="150880"/>
                <a:ext cx="457200" cy="241657"/>
              </a:xfrm>
              <a:prstGeom prst="rtTriangle">
                <a:avLst/>
              </a:prstGeom>
              <a:solidFill>
                <a:srgbClr val="D7D2CB"/>
              </a:solidFill>
              <a:ln>
                <a:noFill/>
              </a:ln>
            </p:spPr>
            <p:txBody>
              <a:bodyPr wrap="square" lIns="45720" tIns="18288" rIns="0" bIns="0" rtlCol="0" anchor="t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>
                  <a:defRPr>
                    <a:solidFill>
                      <a:schemeClr val="tx1"/>
                    </a:solidFill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marL="0" lvl="1" defTabSz="932780">
                  <a:spcBef>
                    <a:spcPct val="20000"/>
                  </a:spcBef>
                  <a:buSzPct val="90000"/>
                  <a:defRPr/>
                </a:pPr>
                <a:endParaRPr lang="en-CA" sz="600" b="1">
                  <a:ln w="3175">
                    <a:noFill/>
                  </a:ln>
                  <a:gradFill>
                    <a:gsLst>
                      <a:gs pos="9174">
                        <a:schemeClr val="tx1"/>
                      </a:gs>
                      <a:gs pos="42000">
                        <a:schemeClr val="tx1"/>
                      </a:gs>
                    </a:gsLst>
                    <a:path path="circle">
                      <a:fillToRect l="100000" t="100000"/>
                    </a:path>
                  </a:gradFill>
                  <a:latin typeface="Segoe UI Variable Display Semibold" pitchFamily="2" charset="0"/>
                  <a:cs typeface="Segoe UI" pitchFamily="34" charset="0"/>
                </a:endParaRPr>
              </a:p>
            </p:txBody>
          </p:sp>
          <p:sp>
            <p:nvSpPr>
              <p:cNvPr id="240" name="TextBox 239">
                <a:extLst>
                  <a:ext uri="{FF2B5EF4-FFF2-40B4-BE49-F238E27FC236}">
                    <a16:creationId xmlns:a16="http://schemas.microsoft.com/office/drawing/2014/main" id="{4A30C2AD-A67A-676A-DD79-46DCD9B264C8}"/>
                  </a:ext>
                </a:extLst>
              </p:cNvPr>
              <p:cNvSpPr txBox="1"/>
              <p:nvPr/>
            </p:nvSpPr>
            <p:spPr>
              <a:xfrm>
                <a:off x="15862269" y="432642"/>
                <a:ext cx="546261" cy="366254"/>
              </a:xfrm>
              <a:prstGeom prst="rect">
                <a:avLst/>
              </a:prstGeom>
              <a:noFill/>
            </p:spPr>
            <p:txBody>
              <a:bodyPr wrap="square" lIns="0" tIns="0" rIns="0" bIns="256032" rtlCol="0" anchor="b" anchorCtr="0">
                <a:spAutoFit/>
              </a:bodyPr>
              <a:lstStyle>
                <a:defPPr>
                  <a:defRPr lang="en-US"/>
                </a:defPPr>
                <a:lvl1pPr>
                  <a:defRPr sz="700" b="1">
                    <a:ln w="3175">
                      <a:noFill/>
                    </a:ln>
                    <a:gradFill>
                      <a:gsLst>
                        <a:gs pos="9174">
                          <a:schemeClr val="tx1"/>
                        </a:gs>
                        <a:gs pos="42000">
                          <a:schemeClr val="tx1"/>
                        </a:gs>
                      </a:gsLst>
                      <a:path path="circle">
                        <a:fillToRect l="100000" t="100000"/>
                      </a:path>
                    </a:gradFill>
                    <a:latin typeface="Segoe UI Variable Display Semibold" pitchFamily="2" charset="0"/>
                    <a:cs typeface="Segoe UI" pitchFamily="34" charset="0"/>
                  </a:defRPr>
                </a:lvl1pPr>
              </a:lstStyle>
              <a:p>
                <a:r>
                  <a:rPr lang="en-US"/>
                  <a:t>Container</a:t>
                </a:r>
              </a:p>
            </p:txBody>
          </p:sp>
          <p:sp>
            <p:nvSpPr>
              <p:cNvPr id="241" name="TextBox 240">
                <a:extLst>
                  <a:ext uri="{FF2B5EF4-FFF2-40B4-BE49-F238E27FC236}">
                    <a16:creationId xmlns:a16="http://schemas.microsoft.com/office/drawing/2014/main" id="{91FFA29B-C73B-E723-18EE-89587EED738D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5862269" y="557239"/>
                <a:ext cx="457200" cy="241657"/>
              </a:xfrm>
              <a:prstGeom prst="rect">
                <a:avLst/>
              </a:prstGeom>
              <a:solidFill>
                <a:srgbClr val="73391D"/>
              </a:solidFill>
              <a:ln>
                <a:noFill/>
              </a:ln>
            </p:spPr>
            <p:txBody>
              <a:bodyPr wrap="square" lIns="45720" tIns="18288" rIns="0" bIns="0" rtlCol="0" anchor="t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>
                  <a:defRPr>
                    <a:solidFill>
                      <a:schemeClr val="tx1"/>
                    </a:solidFill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marL="0" marR="0" lvl="1" indent="0" defTabSz="93278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Tx/>
                  <a:buNone/>
                  <a:tabLst/>
                  <a:defRPr/>
                </a:pPr>
                <a:endParaRPr lang="en-CA" sz="600" b="1">
                  <a:ln w="3175">
                    <a:noFill/>
                  </a:ln>
                  <a:gradFill>
                    <a:gsLst>
                      <a:gs pos="90826">
                        <a:srgbClr val="FFFFFF"/>
                      </a:gs>
                      <a:gs pos="65000">
                        <a:srgbClr val="FFFFFF"/>
                      </a:gs>
                    </a:gsLst>
                    <a:path path="circle">
                      <a:fillToRect l="100000" t="100000"/>
                    </a:path>
                  </a:gradFill>
                  <a:latin typeface="Segoe UI Variable Display Semibold" pitchFamily="2" charset="0"/>
                  <a:cs typeface="Segoe UI" pitchFamily="34" charset="0"/>
                </a:endParaRPr>
              </a:p>
            </p:txBody>
          </p:sp>
          <p:sp>
            <p:nvSpPr>
              <p:cNvPr id="242" name="TextBox 241">
                <a:extLst>
                  <a:ext uri="{FF2B5EF4-FFF2-40B4-BE49-F238E27FC236}">
                    <a16:creationId xmlns:a16="http://schemas.microsoft.com/office/drawing/2014/main" id="{64951D4B-C1B1-1ACD-836C-7452BF02CA35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6337757" y="557239"/>
                <a:ext cx="457200" cy="241657"/>
              </a:xfrm>
              <a:prstGeom prst="rect">
                <a:avLst/>
              </a:prstGeom>
              <a:solidFill>
                <a:srgbClr val="454142"/>
              </a:solidFill>
              <a:ln>
                <a:noFill/>
              </a:ln>
            </p:spPr>
            <p:txBody>
              <a:bodyPr wrap="square" lIns="45720" tIns="18288" rIns="0" bIns="0" rtlCol="0" anchor="t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>
                  <a:defRPr>
                    <a:solidFill>
                      <a:schemeClr val="tx1"/>
                    </a:solidFill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marL="0" marR="0" lvl="1" indent="0" defTabSz="93278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Tx/>
                  <a:buNone/>
                  <a:tabLst/>
                  <a:defRPr/>
                </a:pPr>
                <a:endParaRPr lang="en-CA" sz="600" b="1">
                  <a:ln w="3175">
                    <a:noFill/>
                  </a:ln>
                  <a:gradFill>
                    <a:gsLst>
                      <a:gs pos="90826">
                        <a:srgbClr val="FFFFFF"/>
                      </a:gs>
                      <a:gs pos="65000">
                        <a:srgbClr val="FFFFFF"/>
                      </a:gs>
                    </a:gsLst>
                    <a:path path="circle">
                      <a:fillToRect l="100000" t="100000"/>
                    </a:path>
                  </a:gradFill>
                  <a:latin typeface="Segoe UI Variable Display Semibold" pitchFamily="2" charset="0"/>
                  <a:cs typeface="Segoe UI" pitchFamily="34" charset="0"/>
                </a:endParaRPr>
              </a:p>
            </p:txBody>
          </p:sp>
          <p:sp>
            <p:nvSpPr>
              <p:cNvPr id="243" name="TextBox 242">
                <a:extLst>
                  <a:ext uri="{FF2B5EF4-FFF2-40B4-BE49-F238E27FC236}">
                    <a16:creationId xmlns:a16="http://schemas.microsoft.com/office/drawing/2014/main" id="{950B429D-01B8-E105-E270-2787C59FF68C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 flipH="1">
                <a:off x="16337757" y="557239"/>
                <a:ext cx="457200" cy="241657"/>
              </a:xfrm>
              <a:prstGeom prst="rtTriangle">
                <a:avLst/>
              </a:prstGeom>
              <a:solidFill>
                <a:srgbClr val="FFE8E2"/>
              </a:solidFill>
              <a:ln>
                <a:noFill/>
              </a:ln>
            </p:spPr>
            <p:txBody>
              <a:bodyPr wrap="square" lIns="45720" tIns="18288" rIns="0" bIns="0" rtlCol="0" anchor="t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 marL="0" marR="0" lvl="1" indent="0" defTabSz="93278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Tx/>
                  <a:buNone/>
                  <a:tabLst/>
                  <a:defRPr sz="1000" b="1">
                    <a:ln w="3175">
                      <a:noFill/>
                    </a:ln>
                    <a:gradFill>
                      <a:gsLst>
                        <a:gs pos="9174">
                          <a:schemeClr val="tx1"/>
                        </a:gs>
                        <a:gs pos="42000">
                          <a:schemeClr val="tx1"/>
                        </a:gs>
                      </a:gsLst>
                      <a:path path="circle">
                        <a:fillToRect l="100000" t="100000"/>
                      </a:path>
                    </a:gradFill>
                    <a:latin typeface="Segoe UI Variable Display Semibold" pitchFamily="2" charset="0"/>
                    <a:cs typeface="Segoe UI" pitchFamily="34" charset="0"/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lvl="1"/>
                <a:endParaRPr lang="en-CA" sz="600"/>
              </a:p>
            </p:txBody>
          </p:sp>
          <p:sp>
            <p:nvSpPr>
              <p:cNvPr id="244" name="TextBox 243">
                <a:extLst>
                  <a:ext uri="{FF2B5EF4-FFF2-40B4-BE49-F238E27FC236}">
                    <a16:creationId xmlns:a16="http://schemas.microsoft.com/office/drawing/2014/main" id="{9A48568B-F8FA-229D-5DC3-CC068341C885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 flipH="1">
                <a:off x="15862269" y="557239"/>
                <a:ext cx="457200" cy="241657"/>
              </a:xfrm>
              <a:prstGeom prst="rtTriangle">
                <a:avLst/>
              </a:prstGeom>
              <a:solidFill>
                <a:srgbClr val="ECECEA"/>
              </a:solidFill>
              <a:ln>
                <a:noFill/>
              </a:ln>
            </p:spPr>
            <p:txBody>
              <a:bodyPr wrap="square" lIns="45720" tIns="18288" rIns="0" bIns="0" rtlCol="0" anchor="t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 marL="0" marR="0" lvl="1" indent="0" defTabSz="93278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Tx/>
                  <a:buNone/>
                  <a:tabLst/>
                  <a:defRPr sz="1000" b="1">
                    <a:ln w="3175">
                      <a:noFill/>
                    </a:ln>
                    <a:gradFill>
                      <a:gsLst>
                        <a:gs pos="9174">
                          <a:schemeClr val="tx1"/>
                        </a:gs>
                        <a:gs pos="42000">
                          <a:schemeClr val="tx1"/>
                        </a:gs>
                      </a:gsLst>
                      <a:path path="circle">
                        <a:fillToRect l="100000" t="100000"/>
                      </a:path>
                    </a:gradFill>
                    <a:latin typeface="Segoe UI Variable Display Semibold" pitchFamily="2" charset="0"/>
                    <a:cs typeface="Segoe UI" pitchFamily="34" charset="0"/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lvl="1"/>
                <a:endParaRPr lang="en-CA" sz="600"/>
              </a:p>
            </p:txBody>
          </p:sp>
          <p:sp>
            <p:nvSpPr>
              <p:cNvPr id="245" name="TextBox 244">
                <a:extLst>
                  <a:ext uri="{FF2B5EF4-FFF2-40B4-BE49-F238E27FC236}">
                    <a16:creationId xmlns:a16="http://schemas.microsoft.com/office/drawing/2014/main" id="{16C30039-0610-E9F5-386F-1238852265CA}"/>
                  </a:ext>
                </a:extLst>
              </p:cNvPr>
              <p:cNvSpPr txBox="1"/>
              <p:nvPr/>
            </p:nvSpPr>
            <p:spPr>
              <a:xfrm>
                <a:off x="16813245" y="432642"/>
                <a:ext cx="592763" cy="366254"/>
              </a:xfrm>
              <a:prstGeom prst="rect">
                <a:avLst/>
              </a:prstGeom>
              <a:noFill/>
            </p:spPr>
            <p:txBody>
              <a:bodyPr wrap="square" lIns="0" tIns="0" rIns="0" bIns="256032" rtlCol="0" anchor="b" anchorCtr="0">
                <a:spAutoFit/>
              </a:bodyPr>
              <a:lstStyle>
                <a:defPPr>
                  <a:defRPr lang="en-US"/>
                </a:defPPr>
                <a:lvl1pPr>
                  <a:defRPr sz="700" b="1">
                    <a:ln w="3175">
                      <a:noFill/>
                    </a:ln>
                    <a:gradFill>
                      <a:gsLst>
                        <a:gs pos="9174">
                          <a:schemeClr val="tx1"/>
                        </a:gs>
                        <a:gs pos="42000">
                          <a:schemeClr val="tx1"/>
                        </a:gs>
                      </a:gsLst>
                      <a:path path="circle">
                        <a:fillToRect l="100000" t="100000"/>
                      </a:path>
                    </a:gradFill>
                    <a:latin typeface="Segoe UI Variable Display Semibold" pitchFamily="2" charset="0"/>
                    <a:cs typeface="Segoe UI" pitchFamily="34" charset="0"/>
                  </a:defRPr>
                </a:lvl1pPr>
              </a:lstStyle>
              <a:p>
                <a:r>
                  <a:rPr lang="en-US"/>
                  <a:t>Light overlay</a:t>
                </a:r>
              </a:p>
            </p:txBody>
          </p:sp>
          <p:sp>
            <p:nvSpPr>
              <p:cNvPr id="246" name="TextBox 245">
                <a:extLst>
                  <a:ext uri="{FF2B5EF4-FFF2-40B4-BE49-F238E27FC236}">
                    <a16:creationId xmlns:a16="http://schemas.microsoft.com/office/drawing/2014/main" id="{0C8FE8E3-6618-09A8-93CB-9A7814D9E76D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7288733" y="557239"/>
                <a:ext cx="457200" cy="241657"/>
              </a:xfrm>
              <a:prstGeom prst="rect">
                <a:avLst/>
              </a:prstGeom>
              <a:solidFill>
                <a:srgbClr val="FFE8E2"/>
              </a:solidFill>
              <a:ln>
                <a:noFill/>
              </a:ln>
            </p:spPr>
            <p:txBody>
              <a:bodyPr wrap="square" lIns="45720" tIns="18288" rIns="0" bIns="0" rtlCol="0" anchor="t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 marL="0" marR="0" lvl="1" indent="0" defTabSz="93278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Tx/>
                  <a:buNone/>
                  <a:tabLst/>
                  <a:defRPr sz="1000" b="1">
                    <a:ln w="3175">
                      <a:noFill/>
                    </a:ln>
                    <a:gradFill>
                      <a:gsLst>
                        <a:gs pos="9174">
                          <a:schemeClr val="tx1"/>
                        </a:gs>
                        <a:gs pos="42000">
                          <a:schemeClr val="tx1"/>
                        </a:gs>
                      </a:gsLst>
                      <a:path path="circle">
                        <a:fillToRect l="100000" t="100000"/>
                      </a:path>
                    </a:gradFill>
                    <a:latin typeface="Segoe UI Variable Display Semibold" pitchFamily="2" charset="0"/>
                    <a:cs typeface="Segoe UI" pitchFamily="34" charset="0"/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lvl="1"/>
                <a:endParaRPr lang="en-CA" sz="600"/>
              </a:p>
            </p:txBody>
          </p:sp>
          <p:sp>
            <p:nvSpPr>
              <p:cNvPr id="247" name="TextBox 246">
                <a:extLst>
                  <a:ext uri="{FF2B5EF4-FFF2-40B4-BE49-F238E27FC236}">
                    <a16:creationId xmlns:a16="http://schemas.microsoft.com/office/drawing/2014/main" id="{25732DB2-483B-D709-936C-4FA13FA48DE7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6813245" y="557239"/>
                <a:ext cx="457200" cy="241657"/>
              </a:xfrm>
              <a:prstGeom prst="rect">
                <a:avLst/>
              </a:prstGeom>
              <a:solidFill>
                <a:srgbClr val="ECECEA"/>
              </a:solidFill>
              <a:ln>
                <a:noFill/>
              </a:ln>
            </p:spPr>
            <p:txBody>
              <a:bodyPr wrap="square" lIns="45720" tIns="18288" rIns="0" bIns="0" rtlCol="0" anchor="t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 marL="0" marR="0" lvl="1" indent="0" defTabSz="93278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Tx/>
                  <a:buNone/>
                  <a:tabLst/>
                  <a:defRPr sz="1000" b="1">
                    <a:ln w="3175">
                      <a:noFill/>
                    </a:ln>
                    <a:gradFill>
                      <a:gsLst>
                        <a:gs pos="9174">
                          <a:schemeClr val="tx1"/>
                        </a:gs>
                        <a:gs pos="42000">
                          <a:schemeClr val="tx1"/>
                        </a:gs>
                      </a:gsLst>
                      <a:path path="circle">
                        <a:fillToRect l="100000" t="100000"/>
                      </a:path>
                    </a:gradFill>
                    <a:latin typeface="Segoe UI Variable Display Semibold" pitchFamily="2" charset="0"/>
                    <a:cs typeface="Segoe UI" pitchFamily="34" charset="0"/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lvl="1"/>
                <a:endParaRPr lang="en-CA" sz="600"/>
              </a:p>
            </p:txBody>
          </p:sp>
          <p:sp>
            <p:nvSpPr>
              <p:cNvPr id="248" name="TextBox 247">
                <a:extLst>
                  <a:ext uri="{FF2B5EF4-FFF2-40B4-BE49-F238E27FC236}">
                    <a16:creationId xmlns:a16="http://schemas.microsoft.com/office/drawing/2014/main" id="{61198765-55DB-A426-840D-D2137E88AF66}"/>
                  </a:ext>
                </a:extLst>
              </p:cNvPr>
              <p:cNvSpPr txBox="1"/>
              <p:nvPr/>
            </p:nvSpPr>
            <p:spPr>
              <a:xfrm>
                <a:off x="17764221" y="432642"/>
                <a:ext cx="546261" cy="366254"/>
              </a:xfrm>
              <a:prstGeom prst="rect">
                <a:avLst/>
              </a:prstGeom>
              <a:noFill/>
            </p:spPr>
            <p:txBody>
              <a:bodyPr wrap="square" lIns="0" tIns="0" rIns="0" bIns="256032" rtlCol="0" anchor="b" anchorCtr="0">
                <a:spAutoFit/>
              </a:bodyPr>
              <a:lstStyle>
                <a:defPPr>
                  <a:defRPr lang="en-US"/>
                </a:defPPr>
                <a:lvl1pPr>
                  <a:defRPr sz="700" b="1">
                    <a:ln w="3175">
                      <a:noFill/>
                    </a:ln>
                    <a:gradFill>
                      <a:gsLst>
                        <a:gs pos="9174">
                          <a:schemeClr val="tx1"/>
                        </a:gs>
                        <a:gs pos="42000">
                          <a:schemeClr val="tx1"/>
                        </a:gs>
                      </a:gsLst>
                      <a:path path="circle">
                        <a:fillToRect l="100000" t="100000"/>
                      </a:path>
                    </a:gradFill>
                    <a:latin typeface="Segoe UI Variable Display Semibold" pitchFamily="2" charset="0"/>
                    <a:cs typeface="Segoe UI" pitchFamily="34" charset="0"/>
                  </a:defRPr>
                </a:lvl1pPr>
              </a:lstStyle>
              <a:p>
                <a:r>
                  <a:rPr lang="en-US"/>
                  <a:t>Dark overlay</a:t>
                </a:r>
              </a:p>
            </p:txBody>
          </p:sp>
          <p:sp>
            <p:nvSpPr>
              <p:cNvPr id="249" name="TextBox 248">
                <a:extLst>
                  <a:ext uri="{FF2B5EF4-FFF2-40B4-BE49-F238E27FC236}">
                    <a16:creationId xmlns:a16="http://schemas.microsoft.com/office/drawing/2014/main" id="{A1E50AD3-B981-3EAC-B6BA-58EF0BD11827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7764221" y="557239"/>
                <a:ext cx="457200" cy="241657"/>
              </a:xfrm>
              <a:prstGeom prst="rect">
                <a:avLst/>
              </a:prstGeom>
              <a:solidFill>
                <a:srgbClr val="225B62"/>
              </a:solidFill>
              <a:ln>
                <a:noFill/>
              </a:ln>
            </p:spPr>
            <p:txBody>
              <a:bodyPr wrap="square" lIns="45720" tIns="18288" rIns="0" bIns="0" rtlCol="0" anchor="t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>
                  <a:defRPr>
                    <a:solidFill>
                      <a:schemeClr val="tx1"/>
                    </a:solidFill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marL="0" marR="0" lvl="1" indent="0" defTabSz="93278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Tx/>
                  <a:buNone/>
                  <a:tabLst/>
                  <a:defRPr/>
                </a:pPr>
                <a:endParaRPr lang="en-CA" sz="600" b="1">
                  <a:ln w="3175">
                    <a:noFill/>
                  </a:ln>
                  <a:gradFill>
                    <a:gsLst>
                      <a:gs pos="90826">
                        <a:srgbClr val="FFFFFF"/>
                      </a:gs>
                      <a:gs pos="65000">
                        <a:srgbClr val="FFFFFF"/>
                      </a:gs>
                    </a:gsLst>
                    <a:path path="circle">
                      <a:fillToRect l="100000" t="100000"/>
                    </a:path>
                  </a:gradFill>
                  <a:latin typeface="Segoe UI Variable Display Semibold" pitchFamily="2" charset="0"/>
                  <a:cs typeface="Segoe UI" pitchFamily="34" charset="0"/>
                </a:endParaRPr>
              </a:p>
            </p:txBody>
          </p:sp>
          <p:sp>
            <p:nvSpPr>
              <p:cNvPr id="250" name="TextBox 249">
                <a:extLst>
                  <a:ext uri="{FF2B5EF4-FFF2-40B4-BE49-F238E27FC236}">
                    <a16:creationId xmlns:a16="http://schemas.microsoft.com/office/drawing/2014/main" id="{353E8528-662F-9122-EE0D-0BB749DCD38C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8239709" y="557239"/>
                <a:ext cx="457200" cy="241657"/>
              </a:xfrm>
              <a:prstGeom prst="rect">
                <a:avLst/>
              </a:prstGeom>
              <a:solidFill>
                <a:srgbClr val="2A446F"/>
              </a:solidFill>
              <a:ln>
                <a:noFill/>
              </a:ln>
            </p:spPr>
            <p:txBody>
              <a:bodyPr wrap="square" lIns="45720" tIns="18288" rIns="0" bIns="0" rtlCol="0" anchor="t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>
                  <a:defRPr>
                    <a:solidFill>
                      <a:schemeClr val="tx1"/>
                    </a:solidFill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marL="0" marR="0" lvl="1" indent="0" defTabSz="93278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Tx/>
                  <a:buNone/>
                  <a:tabLst/>
                  <a:defRPr/>
                </a:pPr>
                <a:endParaRPr lang="en-CA" sz="600" b="1">
                  <a:ln w="3175">
                    <a:noFill/>
                  </a:ln>
                  <a:gradFill>
                    <a:gsLst>
                      <a:gs pos="90826">
                        <a:srgbClr val="FFFFFF"/>
                      </a:gs>
                      <a:gs pos="65000">
                        <a:srgbClr val="FFFFFF"/>
                      </a:gs>
                    </a:gsLst>
                    <a:path path="circle">
                      <a:fillToRect l="100000" t="100000"/>
                    </a:path>
                  </a:gradFill>
                  <a:latin typeface="Segoe UI Variable Display Semibold" pitchFamily="2" charset="0"/>
                  <a:cs typeface="Segoe UI" pitchFamily="34" charset="0"/>
                </a:endParaRPr>
              </a:p>
            </p:txBody>
          </p:sp>
          <p:sp>
            <p:nvSpPr>
              <p:cNvPr id="251" name="TextBox 250">
                <a:extLst>
                  <a:ext uri="{FF2B5EF4-FFF2-40B4-BE49-F238E27FC236}">
                    <a16:creationId xmlns:a16="http://schemas.microsoft.com/office/drawing/2014/main" id="{C6882721-0AB8-0C86-4997-1E69F6E0FCB8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8715197" y="557239"/>
                <a:ext cx="457200" cy="241657"/>
              </a:xfrm>
              <a:prstGeom prst="rect">
                <a:avLst/>
              </a:prstGeom>
              <a:solidFill>
                <a:srgbClr val="463668"/>
              </a:solidFill>
              <a:ln>
                <a:noFill/>
              </a:ln>
            </p:spPr>
            <p:txBody>
              <a:bodyPr wrap="square" lIns="45720" tIns="18288" rIns="0" bIns="0" rtlCol="0" anchor="t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>
                  <a:defRPr>
                    <a:solidFill>
                      <a:schemeClr val="tx1"/>
                    </a:solidFill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marL="0" marR="0" lvl="1" indent="0" defTabSz="93278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Tx/>
                  <a:buNone/>
                  <a:tabLst/>
                  <a:defRPr/>
                </a:pPr>
                <a:endParaRPr lang="en-CA" sz="600" b="1">
                  <a:ln w="3175">
                    <a:noFill/>
                  </a:ln>
                  <a:gradFill>
                    <a:gsLst>
                      <a:gs pos="90826">
                        <a:srgbClr val="FFFFFF"/>
                      </a:gs>
                      <a:gs pos="65000">
                        <a:srgbClr val="FFFFFF"/>
                      </a:gs>
                    </a:gsLst>
                    <a:path path="circle">
                      <a:fillToRect l="100000" t="100000"/>
                    </a:path>
                  </a:gradFill>
                  <a:latin typeface="Segoe UI Variable Display Semibold" pitchFamily="2" charset="0"/>
                  <a:cs typeface="Segoe UI" pitchFamily="34" charset="0"/>
                </a:endParaRPr>
              </a:p>
            </p:txBody>
          </p:sp>
          <p:sp>
            <p:nvSpPr>
              <p:cNvPr id="252" name="TextBox 251">
                <a:extLst>
                  <a:ext uri="{FF2B5EF4-FFF2-40B4-BE49-F238E27FC236}">
                    <a16:creationId xmlns:a16="http://schemas.microsoft.com/office/drawing/2014/main" id="{897EA6A9-A6B2-2037-9C88-8E9DBEDAC57D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9190685" y="557239"/>
                <a:ext cx="457200" cy="241657"/>
              </a:xfrm>
              <a:prstGeom prst="rect">
                <a:avLst/>
              </a:prstGeom>
              <a:solidFill>
                <a:srgbClr val="73391D"/>
              </a:solidFill>
              <a:ln>
                <a:noFill/>
              </a:ln>
            </p:spPr>
            <p:txBody>
              <a:bodyPr wrap="square" lIns="45720" tIns="18288" rIns="0" bIns="0" rtlCol="0" anchor="t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>
                  <a:defRPr>
                    <a:solidFill>
                      <a:schemeClr val="tx1"/>
                    </a:solidFill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marL="0" marR="0" lvl="1" indent="0" defTabSz="93278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Tx/>
                  <a:buNone/>
                  <a:tabLst/>
                  <a:defRPr/>
                </a:pPr>
                <a:endParaRPr lang="en-CA" sz="600" b="1">
                  <a:ln w="3175">
                    <a:noFill/>
                  </a:ln>
                  <a:gradFill>
                    <a:gsLst>
                      <a:gs pos="90826">
                        <a:srgbClr val="FFFFFF"/>
                      </a:gs>
                      <a:gs pos="65000">
                        <a:srgbClr val="FFFFFF"/>
                      </a:gs>
                    </a:gsLst>
                    <a:path path="circle">
                      <a:fillToRect l="100000" t="100000"/>
                    </a:path>
                  </a:gradFill>
                  <a:latin typeface="Segoe UI Variable Display Semibold" pitchFamily="2" charset="0"/>
                  <a:cs typeface="Segoe UI" pitchFamily="34" charset="0"/>
                </a:endParaRPr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227F3184-F65A-F23E-7540-92FA0EDE5A44}"/>
                </a:ext>
              </a:extLst>
            </p:cNvPr>
            <p:cNvGrpSpPr/>
            <p:nvPr userDrawn="1"/>
          </p:nvGrpSpPr>
          <p:grpSpPr>
            <a:xfrm>
              <a:off x="22177344" y="1014231"/>
              <a:ext cx="2834640" cy="772614"/>
              <a:chOff x="15862269" y="1033109"/>
              <a:chExt cx="2834640" cy="772614"/>
            </a:xfrm>
          </p:grpSpPr>
          <p:sp>
            <p:nvSpPr>
              <p:cNvPr id="209" name="TextBox 208">
                <a:extLst>
                  <a:ext uri="{FF2B5EF4-FFF2-40B4-BE49-F238E27FC236}">
                    <a16:creationId xmlns:a16="http://schemas.microsoft.com/office/drawing/2014/main" id="{323C6163-C628-65FA-2B89-ECB4F08499E5}"/>
                  </a:ext>
                </a:extLst>
              </p:cNvPr>
              <p:cNvSpPr txBox="1"/>
              <p:nvPr/>
            </p:nvSpPr>
            <p:spPr>
              <a:xfrm>
                <a:off x="15862269" y="1033109"/>
                <a:ext cx="365760" cy="366254"/>
              </a:xfrm>
              <a:prstGeom prst="rect">
                <a:avLst/>
              </a:prstGeom>
              <a:noFill/>
            </p:spPr>
            <p:txBody>
              <a:bodyPr wrap="square" lIns="0" tIns="0" rIns="0" bIns="256032" rtlCol="0" anchor="b" anchorCtr="0">
                <a:spAutoFit/>
              </a:bodyPr>
              <a:lstStyle/>
              <a:p>
                <a:r>
                  <a:rPr lang="en-US" sz="700" b="1">
                    <a:ln w="3175">
                      <a:noFill/>
                    </a:ln>
                    <a:gradFill>
                      <a:gsLst>
                        <a:gs pos="9174">
                          <a:schemeClr val="tx1"/>
                        </a:gs>
                        <a:gs pos="42000">
                          <a:schemeClr val="tx1"/>
                        </a:gs>
                      </a:gsLst>
                      <a:path path="circle">
                        <a:fillToRect l="100000" t="100000"/>
                      </a:path>
                    </a:gradFill>
                    <a:latin typeface="Segoe UI Variable Display Semibold" pitchFamily="2" charset="0"/>
                    <a:cs typeface="Segoe UI" pitchFamily="34" charset="0"/>
                  </a:rPr>
                  <a:t>Theme 2</a:t>
                </a:r>
              </a:p>
            </p:txBody>
          </p:sp>
          <p:sp>
            <p:nvSpPr>
              <p:cNvPr id="210" name="TextBox 209">
                <a:extLst>
                  <a:ext uri="{FF2B5EF4-FFF2-40B4-BE49-F238E27FC236}">
                    <a16:creationId xmlns:a16="http://schemas.microsoft.com/office/drawing/2014/main" id="{760C1B5A-9FB3-39C7-EA5B-D31473EDA9A8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5862269" y="1157707"/>
                <a:ext cx="457200" cy="241657"/>
              </a:xfrm>
              <a:prstGeom prst="rect">
                <a:avLst/>
              </a:prstGeom>
              <a:solidFill>
                <a:srgbClr val="318581"/>
              </a:solidFill>
              <a:ln>
                <a:noFill/>
              </a:ln>
            </p:spPr>
            <p:txBody>
              <a:bodyPr wrap="square" lIns="45720" tIns="18288" rIns="0" bIns="0" rtlCol="0" anchor="t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>
                  <a:defRPr>
                    <a:solidFill>
                      <a:schemeClr val="tx1"/>
                    </a:solidFill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marL="0" marR="0" lvl="1" indent="0" algn="l" defTabSz="932780" rtl="0" eaLnBrk="1" fontAlgn="auto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Tx/>
                  <a:buNone/>
                  <a:tabLst/>
                  <a:defRPr/>
                </a:pPr>
                <a:endParaRPr lang="en-CA" sz="600" b="1">
                  <a:ln w="3175">
                    <a:noFill/>
                  </a:ln>
                  <a:gradFill>
                    <a:gsLst>
                      <a:gs pos="90826">
                        <a:srgbClr val="FFFFFF"/>
                      </a:gs>
                      <a:gs pos="65000">
                        <a:srgbClr val="FFFFFF"/>
                      </a:gs>
                    </a:gsLst>
                    <a:path path="circle">
                      <a:fillToRect l="100000" t="100000"/>
                    </a:path>
                  </a:gradFill>
                  <a:latin typeface="Segoe UI Variable Display Semibold" pitchFamily="2" charset="0"/>
                  <a:cs typeface="Segoe UI" pitchFamily="34" charset="0"/>
                </a:endParaRPr>
              </a:p>
            </p:txBody>
          </p:sp>
          <p:sp>
            <p:nvSpPr>
              <p:cNvPr id="211" name="TextBox 210">
                <a:extLst>
                  <a:ext uri="{FF2B5EF4-FFF2-40B4-BE49-F238E27FC236}">
                    <a16:creationId xmlns:a16="http://schemas.microsoft.com/office/drawing/2014/main" id="{CC5A462E-37DA-C5FE-951E-EF267046A1FD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6337757" y="1157707"/>
                <a:ext cx="457200" cy="241657"/>
              </a:xfrm>
              <a:prstGeom prst="rect">
                <a:avLst/>
              </a:prstGeom>
              <a:solidFill>
                <a:srgbClr val="0A6BBA"/>
              </a:solidFill>
              <a:ln>
                <a:noFill/>
              </a:ln>
            </p:spPr>
            <p:txBody>
              <a:bodyPr wrap="square" lIns="45720" tIns="18288" rIns="0" bIns="0" rtlCol="0" anchor="t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>
                  <a:defRPr>
                    <a:solidFill>
                      <a:schemeClr val="tx1"/>
                    </a:solidFill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marL="0" marR="0" lvl="1" indent="0" algn="l" defTabSz="932780" rtl="0" eaLnBrk="1" fontAlgn="auto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Tx/>
                  <a:buNone/>
                  <a:tabLst/>
                  <a:defRPr/>
                </a:pPr>
                <a:endParaRPr kumimoji="0" lang="en-CA" sz="500" b="1" i="0" u="none" strike="noStrike" kern="1200" cap="none" spc="0" normalizeH="0" baseline="0" noProof="0">
                  <a:ln w="3175">
                    <a:noFill/>
                  </a:ln>
                  <a:gradFill>
                    <a:gsLst>
                      <a:gs pos="90826">
                        <a:srgbClr val="FFFFFF"/>
                      </a:gs>
                      <a:gs pos="65000">
                        <a:srgbClr val="FFFFFF"/>
                      </a:gs>
                    </a:gsLst>
                    <a:path path="circle">
                      <a:fillToRect l="100000" t="100000"/>
                    </a:path>
                  </a:gradFill>
                  <a:effectLst/>
                  <a:uLnTx/>
                  <a:uFillTx/>
                  <a:latin typeface="Segoe UI Variable Display Semibold" pitchFamily="2" charset="0"/>
                  <a:ea typeface="+mn-ea"/>
                  <a:cs typeface="Segoe UI" pitchFamily="34" charset="0"/>
                </a:endParaRPr>
              </a:p>
            </p:txBody>
          </p:sp>
          <p:sp>
            <p:nvSpPr>
              <p:cNvPr id="212" name="TextBox 211">
                <a:extLst>
                  <a:ext uri="{FF2B5EF4-FFF2-40B4-BE49-F238E27FC236}">
                    <a16:creationId xmlns:a16="http://schemas.microsoft.com/office/drawing/2014/main" id="{C0A78035-52C1-76F1-79BA-5DE4EFCD7BCC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 flipH="1">
                <a:off x="15862269" y="1157707"/>
                <a:ext cx="457200" cy="241657"/>
              </a:xfrm>
              <a:prstGeom prst="rtTriangle">
                <a:avLst/>
              </a:prstGeom>
              <a:solidFill>
                <a:srgbClr val="41AFA1"/>
              </a:solidFill>
              <a:ln>
                <a:noFill/>
              </a:ln>
            </p:spPr>
            <p:txBody>
              <a:bodyPr wrap="square" lIns="45720" tIns="18288" rIns="0" bIns="0" rtlCol="0" anchor="t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>
                  <a:defRPr>
                    <a:solidFill>
                      <a:schemeClr val="tx1"/>
                    </a:solidFill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marL="0" lvl="1" defTabSz="932780">
                  <a:spcBef>
                    <a:spcPct val="20000"/>
                  </a:spcBef>
                  <a:buSzPct val="90000"/>
                  <a:defRPr/>
                </a:pPr>
                <a:endParaRPr lang="en-CA" sz="600" b="1">
                  <a:ln w="3175">
                    <a:noFill/>
                  </a:ln>
                  <a:gradFill>
                    <a:gsLst>
                      <a:gs pos="9174">
                        <a:schemeClr val="tx1"/>
                      </a:gs>
                      <a:gs pos="42000">
                        <a:schemeClr val="tx1"/>
                      </a:gs>
                    </a:gsLst>
                    <a:path path="circle">
                      <a:fillToRect l="100000" t="100000"/>
                    </a:path>
                  </a:gradFill>
                  <a:latin typeface="Segoe UI Variable Display Semibold" pitchFamily="2" charset="0"/>
                  <a:cs typeface="Segoe UI" pitchFamily="34" charset="0"/>
                </a:endParaRPr>
              </a:p>
            </p:txBody>
          </p:sp>
          <p:sp>
            <p:nvSpPr>
              <p:cNvPr id="213" name="TextBox 212">
                <a:extLst>
                  <a:ext uri="{FF2B5EF4-FFF2-40B4-BE49-F238E27FC236}">
                    <a16:creationId xmlns:a16="http://schemas.microsoft.com/office/drawing/2014/main" id="{FC06D2C5-F141-2B2E-B485-DE6428AAFE8B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 flipH="1">
                <a:off x="16337757" y="1157707"/>
                <a:ext cx="457200" cy="241657"/>
              </a:xfrm>
              <a:prstGeom prst="rtTriangle">
                <a:avLst/>
              </a:prstGeom>
              <a:solidFill>
                <a:srgbClr val="46A0DE"/>
              </a:solidFill>
              <a:ln>
                <a:noFill/>
              </a:ln>
            </p:spPr>
            <p:txBody>
              <a:bodyPr wrap="square" lIns="45720" tIns="18288" rIns="0" bIns="0" rtlCol="0" anchor="t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>
                  <a:defRPr>
                    <a:solidFill>
                      <a:schemeClr val="tx1"/>
                    </a:solidFill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marL="0" lvl="1" defTabSz="932780">
                  <a:spcBef>
                    <a:spcPct val="20000"/>
                  </a:spcBef>
                  <a:buSzPct val="90000"/>
                  <a:defRPr/>
                </a:pPr>
                <a:endParaRPr lang="en-CA" sz="600" b="1">
                  <a:ln w="3175">
                    <a:noFill/>
                  </a:ln>
                  <a:gradFill>
                    <a:gsLst>
                      <a:gs pos="9174">
                        <a:schemeClr val="tx1"/>
                      </a:gs>
                      <a:gs pos="42000">
                        <a:schemeClr val="tx1"/>
                      </a:gs>
                    </a:gsLst>
                    <a:path path="circle">
                      <a:fillToRect l="100000" t="100000"/>
                    </a:path>
                  </a:gradFill>
                  <a:latin typeface="Segoe UI Variable Display Semibold" pitchFamily="2" charset="0"/>
                  <a:cs typeface="Segoe UI" pitchFamily="34" charset="0"/>
                </a:endParaRPr>
              </a:p>
            </p:txBody>
          </p:sp>
          <p:sp>
            <p:nvSpPr>
              <p:cNvPr id="214" name="TextBox 213">
                <a:extLst>
                  <a:ext uri="{FF2B5EF4-FFF2-40B4-BE49-F238E27FC236}">
                    <a16:creationId xmlns:a16="http://schemas.microsoft.com/office/drawing/2014/main" id="{B102D2C2-4C5A-855D-3966-23E2B08A8B33}"/>
                  </a:ext>
                </a:extLst>
              </p:cNvPr>
              <p:cNvSpPr txBox="1"/>
              <p:nvPr/>
            </p:nvSpPr>
            <p:spPr>
              <a:xfrm>
                <a:off x="16813245" y="1033109"/>
                <a:ext cx="731520" cy="366254"/>
              </a:xfrm>
              <a:prstGeom prst="rect">
                <a:avLst/>
              </a:prstGeom>
              <a:noFill/>
            </p:spPr>
            <p:txBody>
              <a:bodyPr wrap="square" lIns="0" tIns="0" rIns="0" bIns="256032" rtlCol="0" anchor="b" anchorCtr="0">
                <a:spAutoFit/>
              </a:bodyPr>
              <a:lstStyle>
                <a:defPPr>
                  <a:defRPr lang="en-US"/>
                </a:defPPr>
                <a:lvl1pPr>
                  <a:defRPr sz="700" b="1">
                    <a:ln w="3175">
                      <a:noFill/>
                    </a:ln>
                    <a:gradFill>
                      <a:gsLst>
                        <a:gs pos="9174">
                          <a:schemeClr val="tx1"/>
                        </a:gs>
                        <a:gs pos="42000">
                          <a:schemeClr val="tx1"/>
                        </a:gs>
                      </a:gsLst>
                      <a:path path="circle">
                        <a:fillToRect l="100000" t="100000"/>
                      </a:path>
                    </a:gradFill>
                    <a:latin typeface="Segoe UI Variable Display Semibold" pitchFamily="2" charset="0"/>
                    <a:cs typeface="Segoe UI" pitchFamily="34" charset="0"/>
                  </a:defRPr>
                </a:lvl1pPr>
              </a:lstStyle>
              <a:p>
                <a:r>
                  <a:rPr lang="en-US"/>
                  <a:t>Colored header</a:t>
                </a:r>
              </a:p>
            </p:txBody>
          </p:sp>
          <p:sp>
            <p:nvSpPr>
              <p:cNvPr id="215" name="TextBox 214">
                <a:extLst>
                  <a:ext uri="{FF2B5EF4-FFF2-40B4-BE49-F238E27FC236}">
                    <a16:creationId xmlns:a16="http://schemas.microsoft.com/office/drawing/2014/main" id="{E1A91558-7B23-716E-7E41-1E23D3275D98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6813245" y="1157707"/>
                <a:ext cx="457200" cy="241657"/>
              </a:xfrm>
              <a:prstGeom prst="rect">
                <a:avLst/>
              </a:prstGeom>
              <a:solidFill>
                <a:srgbClr val="112D31"/>
              </a:solidFill>
              <a:ln>
                <a:noFill/>
              </a:ln>
            </p:spPr>
            <p:txBody>
              <a:bodyPr wrap="square" lIns="91440" tIns="0" rIns="0" bIns="9144" rtlCol="0" anchor="ctr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 marL="0" lvl="1" defTabSz="932780">
                  <a:spcBef>
                    <a:spcPct val="20000"/>
                  </a:spcBef>
                  <a:buSzPct val="90000"/>
                  <a:defRPr sz="900" b="1">
                    <a:ln w="3175">
                      <a:noFill/>
                    </a:ln>
                    <a:gradFill>
                      <a:gsLst>
                        <a:gs pos="90826">
                          <a:srgbClr val="FFFFFF"/>
                        </a:gs>
                        <a:gs pos="65000">
                          <a:srgbClr val="FFFFFF"/>
                        </a:gs>
                      </a:gsLst>
                      <a:path path="circle">
                        <a:fillToRect l="100000" t="100000"/>
                      </a:path>
                    </a:gradFill>
                    <a:latin typeface="Segoe UI Variable Display Semibold" pitchFamily="2" charset="0"/>
                    <a:cs typeface="Segoe UI" pitchFamily="34" charset="0"/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lvl="1"/>
                <a:endParaRPr lang="en-CA"/>
              </a:p>
            </p:txBody>
          </p:sp>
          <p:sp>
            <p:nvSpPr>
              <p:cNvPr id="216" name="TextBox 215">
                <a:extLst>
                  <a:ext uri="{FF2B5EF4-FFF2-40B4-BE49-F238E27FC236}">
                    <a16:creationId xmlns:a16="http://schemas.microsoft.com/office/drawing/2014/main" id="{BE5BC7E8-0127-46CE-F8BC-D05E10711C20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 flipH="1">
                <a:off x="16813245" y="1157707"/>
                <a:ext cx="457200" cy="241657"/>
              </a:xfrm>
              <a:prstGeom prst="rtTriangle">
                <a:avLst/>
              </a:prstGeom>
              <a:solidFill>
                <a:srgbClr val="B9DCD2"/>
              </a:solidFill>
              <a:ln>
                <a:noFill/>
              </a:ln>
            </p:spPr>
            <p:txBody>
              <a:bodyPr wrap="square" lIns="45720" tIns="18288" rIns="0" bIns="0" rtlCol="0" anchor="t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>
                  <a:defRPr>
                    <a:solidFill>
                      <a:schemeClr val="tx1"/>
                    </a:solidFill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marL="0" lvl="1" defTabSz="932780">
                  <a:spcBef>
                    <a:spcPct val="20000"/>
                  </a:spcBef>
                  <a:buSzPct val="90000"/>
                  <a:defRPr/>
                </a:pPr>
                <a:endParaRPr lang="en-CA" sz="600" b="1">
                  <a:ln w="3175">
                    <a:noFill/>
                  </a:ln>
                  <a:gradFill>
                    <a:gsLst>
                      <a:gs pos="9174">
                        <a:schemeClr val="tx1"/>
                      </a:gs>
                      <a:gs pos="42000">
                        <a:schemeClr val="tx1"/>
                      </a:gs>
                    </a:gsLst>
                    <a:path path="circle">
                      <a:fillToRect l="100000" t="100000"/>
                    </a:path>
                  </a:gradFill>
                  <a:latin typeface="Segoe UI Variable Display Semibold" pitchFamily="2" charset="0"/>
                  <a:cs typeface="Segoe UI" pitchFamily="34" charset="0"/>
                </a:endParaRPr>
              </a:p>
            </p:txBody>
          </p:sp>
          <p:sp>
            <p:nvSpPr>
              <p:cNvPr id="217" name="TextBox 216">
                <a:extLst>
                  <a:ext uri="{FF2B5EF4-FFF2-40B4-BE49-F238E27FC236}">
                    <a16:creationId xmlns:a16="http://schemas.microsoft.com/office/drawing/2014/main" id="{65C438D2-76E5-D688-A36F-B78E36A071F5}"/>
                  </a:ext>
                </a:extLst>
              </p:cNvPr>
              <p:cNvSpPr txBox="1"/>
              <p:nvPr/>
            </p:nvSpPr>
            <p:spPr>
              <a:xfrm>
                <a:off x="15862269" y="1439469"/>
                <a:ext cx="546261" cy="366254"/>
              </a:xfrm>
              <a:prstGeom prst="rect">
                <a:avLst/>
              </a:prstGeom>
              <a:noFill/>
            </p:spPr>
            <p:txBody>
              <a:bodyPr wrap="square" lIns="0" tIns="0" rIns="0" bIns="256032" rtlCol="0" anchor="b" anchorCtr="0">
                <a:spAutoFit/>
              </a:bodyPr>
              <a:lstStyle>
                <a:defPPr>
                  <a:defRPr lang="en-US"/>
                </a:defPPr>
                <a:lvl1pPr>
                  <a:defRPr sz="700" b="1">
                    <a:ln w="3175">
                      <a:noFill/>
                    </a:ln>
                    <a:gradFill>
                      <a:gsLst>
                        <a:gs pos="9174">
                          <a:schemeClr val="tx1"/>
                        </a:gs>
                        <a:gs pos="42000">
                          <a:schemeClr val="tx1"/>
                        </a:gs>
                      </a:gsLst>
                      <a:path path="circle">
                        <a:fillToRect l="100000" t="100000"/>
                      </a:path>
                    </a:gradFill>
                    <a:latin typeface="Segoe UI Variable Display Semibold" pitchFamily="2" charset="0"/>
                    <a:cs typeface="Segoe UI" pitchFamily="34" charset="0"/>
                  </a:defRPr>
                </a:lvl1pPr>
              </a:lstStyle>
              <a:p>
                <a:r>
                  <a:rPr lang="en-US"/>
                  <a:t>Container</a:t>
                </a:r>
              </a:p>
            </p:txBody>
          </p:sp>
          <p:sp>
            <p:nvSpPr>
              <p:cNvPr id="218" name="TextBox 217">
                <a:extLst>
                  <a:ext uri="{FF2B5EF4-FFF2-40B4-BE49-F238E27FC236}">
                    <a16:creationId xmlns:a16="http://schemas.microsoft.com/office/drawing/2014/main" id="{ADC47756-B209-90AE-06BB-E769ABBB373B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5862269" y="1564066"/>
                <a:ext cx="457200" cy="241657"/>
              </a:xfrm>
              <a:prstGeom prst="rect">
                <a:avLst/>
              </a:prstGeom>
              <a:solidFill>
                <a:srgbClr val="225B62"/>
              </a:solidFill>
              <a:ln>
                <a:noFill/>
              </a:ln>
            </p:spPr>
            <p:txBody>
              <a:bodyPr wrap="square" lIns="91440" tIns="0" rIns="0" bIns="9144" rtlCol="0" anchor="ctr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 marL="0" marR="0" lvl="1" indent="0" defTabSz="93278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Tx/>
                  <a:buNone/>
                  <a:tabLst/>
                  <a:defRPr sz="900" b="1">
                    <a:ln w="3175">
                      <a:noFill/>
                    </a:ln>
                    <a:gradFill>
                      <a:gsLst>
                        <a:gs pos="90826">
                          <a:srgbClr val="FFFFFF"/>
                        </a:gs>
                        <a:gs pos="65000">
                          <a:srgbClr val="FFFFFF"/>
                        </a:gs>
                      </a:gsLst>
                      <a:path path="circle">
                        <a:fillToRect l="100000" t="100000"/>
                      </a:path>
                    </a:gradFill>
                    <a:latin typeface="Segoe UI Variable Display Semibold" pitchFamily="2" charset="0"/>
                    <a:cs typeface="Segoe UI" pitchFamily="34" charset="0"/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lvl="1"/>
                <a:endParaRPr lang="en-CA"/>
              </a:p>
            </p:txBody>
          </p:sp>
          <p:sp>
            <p:nvSpPr>
              <p:cNvPr id="219" name="TextBox 218">
                <a:extLst>
                  <a:ext uri="{FF2B5EF4-FFF2-40B4-BE49-F238E27FC236}">
                    <a16:creationId xmlns:a16="http://schemas.microsoft.com/office/drawing/2014/main" id="{AA46F0FC-38D9-4CE1-C288-2E1AB8989871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6337757" y="1564066"/>
                <a:ext cx="457200" cy="241657"/>
              </a:xfrm>
              <a:prstGeom prst="rect">
                <a:avLst/>
              </a:prstGeom>
              <a:solidFill>
                <a:srgbClr val="7F5A1A"/>
              </a:solidFill>
              <a:ln>
                <a:noFill/>
              </a:ln>
            </p:spPr>
            <p:txBody>
              <a:bodyPr wrap="square" lIns="91440" tIns="0" rIns="0" bIns="9144" rtlCol="0" anchor="ctr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 marL="0" marR="0" lvl="1" indent="0" defTabSz="93278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Tx/>
                  <a:buNone/>
                  <a:tabLst/>
                  <a:defRPr sz="900" b="1">
                    <a:ln w="3175">
                      <a:noFill/>
                    </a:ln>
                    <a:gradFill>
                      <a:gsLst>
                        <a:gs pos="90826">
                          <a:srgbClr val="FFFFFF"/>
                        </a:gs>
                        <a:gs pos="65000">
                          <a:srgbClr val="FFFFFF"/>
                        </a:gs>
                      </a:gsLst>
                      <a:path path="circle">
                        <a:fillToRect l="100000" t="100000"/>
                      </a:path>
                    </a:gradFill>
                    <a:latin typeface="Segoe UI Variable Display Semibold" pitchFamily="2" charset="0"/>
                    <a:cs typeface="Segoe UI" pitchFamily="34" charset="0"/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lvl="1"/>
                <a:endParaRPr lang="en-CA"/>
              </a:p>
            </p:txBody>
          </p:sp>
          <p:sp>
            <p:nvSpPr>
              <p:cNvPr id="220" name="TextBox 219">
                <a:extLst>
                  <a:ext uri="{FF2B5EF4-FFF2-40B4-BE49-F238E27FC236}">
                    <a16:creationId xmlns:a16="http://schemas.microsoft.com/office/drawing/2014/main" id="{B07D75B2-F832-71F5-F222-EAA68AC56FB4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 flipH="1">
                <a:off x="16337757" y="1564066"/>
                <a:ext cx="457200" cy="241657"/>
              </a:xfrm>
              <a:prstGeom prst="rtTriangle">
                <a:avLst/>
              </a:prstGeom>
              <a:solidFill>
                <a:srgbClr val="FFF8E5"/>
              </a:solidFill>
              <a:ln>
                <a:noFill/>
              </a:ln>
            </p:spPr>
            <p:txBody>
              <a:bodyPr wrap="square" lIns="91440" tIns="0" rIns="0" bIns="9144" rtlCol="0" anchor="ctr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 marL="0" marR="0" lvl="1" indent="0" defTabSz="93278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Tx/>
                  <a:buNone/>
                  <a:tabLst/>
                  <a:defRPr sz="900" b="1">
                    <a:ln w="3175">
                      <a:noFill/>
                    </a:ln>
                    <a:gradFill>
                      <a:gsLst>
                        <a:gs pos="9174">
                          <a:schemeClr val="tx1"/>
                        </a:gs>
                        <a:gs pos="42000">
                          <a:schemeClr val="tx1"/>
                        </a:gs>
                      </a:gsLst>
                      <a:path path="circle">
                        <a:fillToRect l="100000" t="100000"/>
                      </a:path>
                    </a:gradFill>
                    <a:latin typeface="Segoe UI Variable Display Semibold" pitchFamily="2" charset="0"/>
                    <a:cs typeface="Segoe UI" pitchFamily="34" charset="0"/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lvl="1"/>
                <a:endParaRPr lang="en-CA"/>
              </a:p>
            </p:txBody>
          </p:sp>
          <p:sp>
            <p:nvSpPr>
              <p:cNvPr id="221" name="TextBox 220">
                <a:extLst>
                  <a:ext uri="{FF2B5EF4-FFF2-40B4-BE49-F238E27FC236}">
                    <a16:creationId xmlns:a16="http://schemas.microsoft.com/office/drawing/2014/main" id="{B043A783-FB06-5E23-203D-8CC3860D0E1F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 flipH="1">
                <a:off x="15862269" y="1564066"/>
                <a:ext cx="457200" cy="241657"/>
              </a:xfrm>
              <a:prstGeom prst="rtTriangle">
                <a:avLst/>
              </a:prstGeom>
              <a:solidFill>
                <a:srgbClr val="DCEDE8"/>
              </a:solidFill>
              <a:ln>
                <a:noFill/>
              </a:ln>
            </p:spPr>
            <p:txBody>
              <a:bodyPr wrap="square" lIns="91440" tIns="0" rIns="0" bIns="9144" rtlCol="0" anchor="ctr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 marL="0" marR="0" lvl="1" indent="0" defTabSz="93278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Tx/>
                  <a:buNone/>
                  <a:tabLst/>
                  <a:defRPr sz="900" b="1">
                    <a:ln w="3175">
                      <a:noFill/>
                    </a:ln>
                    <a:gradFill>
                      <a:gsLst>
                        <a:gs pos="9174">
                          <a:schemeClr val="tx1"/>
                        </a:gs>
                        <a:gs pos="42000">
                          <a:schemeClr val="tx1"/>
                        </a:gs>
                      </a:gsLst>
                      <a:path path="circle">
                        <a:fillToRect l="100000" t="100000"/>
                      </a:path>
                    </a:gradFill>
                    <a:latin typeface="Segoe UI Variable Display Semibold" pitchFamily="2" charset="0"/>
                    <a:cs typeface="Segoe UI" pitchFamily="34" charset="0"/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lvl="1"/>
                <a:endParaRPr lang="en-CA"/>
              </a:p>
            </p:txBody>
          </p:sp>
          <p:sp>
            <p:nvSpPr>
              <p:cNvPr id="222" name="TextBox 221">
                <a:extLst>
                  <a:ext uri="{FF2B5EF4-FFF2-40B4-BE49-F238E27FC236}">
                    <a16:creationId xmlns:a16="http://schemas.microsoft.com/office/drawing/2014/main" id="{7312A883-6761-B2DB-3157-A4E8B4DD409D}"/>
                  </a:ext>
                </a:extLst>
              </p:cNvPr>
              <p:cNvSpPr txBox="1"/>
              <p:nvPr/>
            </p:nvSpPr>
            <p:spPr>
              <a:xfrm>
                <a:off x="16813245" y="1439469"/>
                <a:ext cx="592763" cy="366254"/>
              </a:xfrm>
              <a:prstGeom prst="rect">
                <a:avLst/>
              </a:prstGeom>
              <a:noFill/>
            </p:spPr>
            <p:txBody>
              <a:bodyPr wrap="square" lIns="0" tIns="0" rIns="0" bIns="256032" rtlCol="0" anchor="b" anchorCtr="0">
                <a:spAutoFit/>
              </a:bodyPr>
              <a:lstStyle>
                <a:defPPr>
                  <a:defRPr lang="en-US"/>
                </a:defPPr>
                <a:lvl1pPr>
                  <a:defRPr sz="700" b="1">
                    <a:ln w="3175">
                      <a:noFill/>
                    </a:ln>
                    <a:gradFill>
                      <a:gsLst>
                        <a:gs pos="9174">
                          <a:schemeClr val="tx1"/>
                        </a:gs>
                        <a:gs pos="42000">
                          <a:schemeClr val="tx1"/>
                        </a:gs>
                      </a:gsLst>
                      <a:path path="circle">
                        <a:fillToRect l="100000" t="100000"/>
                      </a:path>
                    </a:gradFill>
                    <a:latin typeface="Segoe UI Variable Display Semibold" pitchFamily="2" charset="0"/>
                    <a:cs typeface="Segoe UI" pitchFamily="34" charset="0"/>
                  </a:defRPr>
                </a:lvl1pPr>
              </a:lstStyle>
              <a:p>
                <a:r>
                  <a:rPr lang="en-US"/>
                  <a:t>Light overlay</a:t>
                </a:r>
              </a:p>
            </p:txBody>
          </p:sp>
          <p:sp>
            <p:nvSpPr>
              <p:cNvPr id="223" name="TextBox 222">
                <a:extLst>
                  <a:ext uri="{FF2B5EF4-FFF2-40B4-BE49-F238E27FC236}">
                    <a16:creationId xmlns:a16="http://schemas.microsoft.com/office/drawing/2014/main" id="{113332A1-6118-9EC9-464D-2394EE085A6E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7288733" y="1564066"/>
                <a:ext cx="457200" cy="241657"/>
              </a:xfrm>
              <a:prstGeom prst="rect">
                <a:avLst/>
              </a:prstGeom>
              <a:solidFill>
                <a:srgbClr val="FFF8E5"/>
              </a:solidFill>
              <a:ln>
                <a:noFill/>
              </a:ln>
            </p:spPr>
            <p:txBody>
              <a:bodyPr wrap="square" lIns="91440" tIns="0" rIns="0" bIns="9144" rtlCol="0" anchor="ctr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 marL="0" marR="0" lvl="1" indent="0" defTabSz="93278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Tx/>
                  <a:buNone/>
                  <a:tabLst/>
                  <a:defRPr sz="900" b="1">
                    <a:ln w="3175">
                      <a:noFill/>
                    </a:ln>
                    <a:gradFill>
                      <a:gsLst>
                        <a:gs pos="9174">
                          <a:schemeClr val="tx1"/>
                        </a:gs>
                        <a:gs pos="42000">
                          <a:schemeClr val="tx1"/>
                        </a:gs>
                      </a:gsLst>
                      <a:path path="circle">
                        <a:fillToRect l="100000" t="100000"/>
                      </a:path>
                    </a:gradFill>
                    <a:latin typeface="Segoe UI Variable Display Semibold" pitchFamily="2" charset="0"/>
                    <a:cs typeface="Segoe UI" pitchFamily="34" charset="0"/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lvl="1"/>
                <a:endParaRPr lang="en-CA"/>
              </a:p>
            </p:txBody>
          </p:sp>
          <p:sp>
            <p:nvSpPr>
              <p:cNvPr id="224" name="TextBox 223">
                <a:extLst>
                  <a:ext uri="{FF2B5EF4-FFF2-40B4-BE49-F238E27FC236}">
                    <a16:creationId xmlns:a16="http://schemas.microsoft.com/office/drawing/2014/main" id="{9614819F-09CA-7E05-FA1A-C170EC39F103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6813245" y="1564066"/>
                <a:ext cx="457200" cy="241657"/>
              </a:xfrm>
              <a:prstGeom prst="rect">
                <a:avLst/>
              </a:prstGeom>
              <a:solidFill>
                <a:srgbClr val="DCEDE8"/>
              </a:solidFill>
              <a:ln>
                <a:noFill/>
              </a:ln>
            </p:spPr>
            <p:txBody>
              <a:bodyPr wrap="square" lIns="91440" tIns="0" rIns="0" bIns="9144" rtlCol="0" anchor="ctr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 marL="0" marR="0" lvl="1" indent="0" defTabSz="93278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Tx/>
                  <a:buNone/>
                  <a:tabLst/>
                  <a:defRPr sz="900" b="1">
                    <a:ln w="3175">
                      <a:noFill/>
                    </a:ln>
                    <a:gradFill>
                      <a:gsLst>
                        <a:gs pos="9174">
                          <a:schemeClr val="tx1"/>
                        </a:gs>
                        <a:gs pos="42000">
                          <a:schemeClr val="tx1"/>
                        </a:gs>
                      </a:gsLst>
                      <a:path path="circle">
                        <a:fillToRect l="100000" t="100000"/>
                      </a:path>
                    </a:gradFill>
                    <a:latin typeface="Segoe UI Variable Display Semibold" pitchFamily="2" charset="0"/>
                    <a:cs typeface="Segoe UI" pitchFamily="34" charset="0"/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lvl="1"/>
                <a:endParaRPr lang="en-CA"/>
              </a:p>
            </p:txBody>
          </p:sp>
          <p:sp>
            <p:nvSpPr>
              <p:cNvPr id="225" name="TextBox 224">
                <a:extLst>
                  <a:ext uri="{FF2B5EF4-FFF2-40B4-BE49-F238E27FC236}">
                    <a16:creationId xmlns:a16="http://schemas.microsoft.com/office/drawing/2014/main" id="{6C0CB4E0-CBDC-086D-FB22-4063E0F69AA0}"/>
                  </a:ext>
                </a:extLst>
              </p:cNvPr>
              <p:cNvSpPr txBox="1"/>
              <p:nvPr/>
            </p:nvSpPr>
            <p:spPr>
              <a:xfrm>
                <a:off x="17764221" y="1439469"/>
                <a:ext cx="546261" cy="366254"/>
              </a:xfrm>
              <a:prstGeom prst="rect">
                <a:avLst/>
              </a:prstGeom>
              <a:noFill/>
            </p:spPr>
            <p:txBody>
              <a:bodyPr wrap="square" lIns="0" tIns="0" rIns="0" bIns="256032" rtlCol="0" anchor="b" anchorCtr="0">
                <a:spAutoFit/>
              </a:bodyPr>
              <a:lstStyle>
                <a:defPPr>
                  <a:defRPr lang="en-US"/>
                </a:defPPr>
                <a:lvl1pPr>
                  <a:defRPr sz="700" b="1">
                    <a:ln w="3175">
                      <a:noFill/>
                    </a:ln>
                    <a:gradFill>
                      <a:gsLst>
                        <a:gs pos="9174">
                          <a:schemeClr val="tx1"/>
                        </a:gs>
                        <a:gs pos="42000">
                          <a:schemeClr val="tx1"/>
                        </a:gs>
                      </a:gsLst>
                      <a:path path="circle">
                        <a:fillToRect l="100000" t="100000"/>
                      </a:path>
                    </a:gradFill>
                    <a:latin typeface="Segoe UI Variable Display Semibold" pitchFamily="2" charset="0"/>
                    <a:cs typeface="Segoe UI" pitchFamily="34" charset="0"/>
                  </a:defRPr>
                </a:lvl1pPr>
              </a:lstStyle>
              <a:p>
                <a:r>
                  <a:rPr lang="en-US"/>
                  <a:t>Dark overlay</a:t>
                </a:r>
              </a:p>
            </p:txBody>
          </p:sp>
          <p:sp>
            <p:nvSpPr>
              <p:cNvPr id="226" name="TextBox 225">
                <a:extLst>
                  <a:ext uri="{FF2B5EF4-FFF2-40B4-BE49-F238E27FC236}">
                    <a16:creationId xmlns:a16="http://schemas.microsoft.com/office/drawing/2014/main" id="{57C7E21D-F495-93A3-8022-0BC0EC46421D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7764221" y="1564066"/>
                <a:ext cx="457200" cy="241657"/>
              </a:xfrm>
              <a:prstGeom prst="rect">
                <a:avLst/>
              </a:prstGeom>
              <a:solidFill>
                <a:srgbClr val="225B62"/>
              </a:solidFill>
              <a:ln>
                <a:noFill/>
              </a:ln>
            </p:spPr>
            <p:txBody>
              <a:bodyPr wrap="square" lIns="91440" tIns="0" rIns="0" bIns="9144" rtlCol="0" anchor="ctr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 marL="0" lvl="1" defTabSz="932780">
                  <a:spcBef>
                    <a:spcPct val="20000"/>
                  </a:spcBef>
                  <a:buSzPct val="90000"/>
                  <a:defRPr sz="900" b="1">
                    <a:ln w="3175">
                      <a:noFill/>
                    </a:ln>
                    <a:gradFill>
                      <a:gsLst>
                        <a:gs pos="90826">
                          <a:srgbClr val="FFFFFF"/>
                        </a:gs>
                        <a:gs pos="65000">
                          <a:srgbClr val="FFFFFF"/>
                        </a:gs>
                      </a:gsLst>
                      <a:path path="circle">
                        <a:fillToRect l="100000" t="100000"/>
                      </a:path>
                    </a:gradFill>
                    <a:latin typeface="Segoe UI Variable Display Semibold" pitchFamily="2" charset="0"/>
                    <a:cs typeface="Segoe UI" pitchFamily="34" charset="0"/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lvl="1"/>
                <a:endParaRPr lang="en-CA"/>
              </a:p>
            </p:txBody>
          </p:sp>
          <p:sp>
            <p:nvSpPr>
              <p:cNvPr id="227" name="TextBox 226">
                <a:extLst>
                  <a:ext uri="{FF2B5EF4-FFF2-40B4-BE49-F238E27FC236}">
                    <a16:creationId xmlns:a16="http://schemas.microsoft.com/office/drawing/2014/main" id="{B505A24A-C423-CE1B-ACDA-302DC2BCBBF0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8239709" y="1564066"/>
                <a:ext cx="457200" cy="241657"/>
              </a:xfrm>
              <a:prstGeom prst="rect">
                <a:avLst/>
              </a:prstGeom>
              <a:solidFill>
                <a:srgbClr val="2A446F"/>
              </a:solidFill>
              <a:ln>
                <a:noFill/>
              </a:ln>
            </p:spPr>
            <p:txBody>
              <a:bodyPr wrap="square" lIns="91440" tIns="0" rIns="0" bIns="9144" rtlCol="0" anchor="ctr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 marL="0" marR="0" lvl="1" indent="0" defTabSz="93278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Tx/>
                  <a:buNone/>
                  <a:tabLst/>
                  <a:defRPr sz="900" b="1">
                    <a:ln w="3175">
                      <a:noFill/>
                    </a:ln>
                    <a:gradFill>
                      <a:gsLst>
                        <a:gs pos="90826">
                          <a:srgbClr val="FFFFFF"/>
                        </a:gs>
                        <a:gs pos="65000">
                          <a:srgbClr val="FFFFFF"/>
                        </a:gs>
                      </a:gsLst>
                      <a:path path="circle">
                        <a:fillToRect l="100000" t="100000"/>
                      </a:path>
                    </a:gradFill>
                    <a:latin typeface="Segoe UI Variable Display Semibold" pitchFamily="2" charset="0"/>
                    <a:cs typeface="Segoe UI" pitchFamily="34" charset="0"/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lvl="1"/>
                <a:endParaRPr lang="en-CA"/>
              </a:p>
            </p:txBody>
          </p:sp>
        </p:grp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3D0EEA49-A7FC-6E2C-4292-52BBC07AB7AA}"/>
                </a:ext>
              </a:extLst>
            </p:cNvPr>
            <p:cNvGrpSpPr/>
            <p:nvPr userDrawn="1"/>
          </p:nvGrpSpPr>
          <p:grpSpPr>
            <a:xfrm>
              <a:off x="22177344" y="2028462"/>
              <a:ext cx="2834640" cy="772614"/>
              <a:chOff x="15862269" y="2039936"/>
              <a:chExt cx="2834640" cy="772614"/>
            </a:xfrm>
          </p:grpSpPr>
          <p:sp>
            <p:nvSpPr>
              <p:cNvPr id="190" name="TextBox 189">
                <a:extLst>
                  <a:ext uri="{FF2B5EF4-FFF2-40B4-BE49-F238E27FC236}">
                    <a16:creationId xmlns:a16="http://schemas.microsoft.com/office/drawing/2014/main" id="{3DD5DFF2-FEA9-BE1C-CCAC-F338859EC24A}"/>
                  </a:ext>
                </a:extLst>
              </p:cNvPr>
              <p:cNvSpPr txBox="1"/>
              <p:nvPr/>
            </p:nvSpPr>
            <p:spPr>
              <a:xfrm>
                <a:off x="15862269" y="2039936"/>
                <a:ext cx="365760" cy="366254"/>
              </a:xfrm>
              <a:prstGeom prst="rect">
                <a:avLst/>
              </a:prstGeom>
              <a:noFill/>
            </p:spPr>
            <p:txBody>
              <a:bodyPr wrap="square" lIns="0" tIns="0" rIns="0" bIns="256032" rtlCol="0" anchor="b" anchorCtr="0">
                <a:spAutoFit/>
              </a:bodyPr>
              <a:lstStyle/>
              <a:p>
                <a:r>
                  <a:rPr lang="en-US" sz="700" b="1">
                    <a:ln w="3175">
                      <a:noFill/>
                    </a:ln>
                    <a:gradFill>
                      <a:gsLst>
                        <a:gs pos="9174">
                          <a:schemeClr val="tx1"/>
                        </a:gs>
                        <a:gs pos="42000">
                          <a:schemeClr val="tx1"/>
                        </a:gs>
                      </a:gsLst>
                      <a:path path="circle">
                        <a:fillToRect l="100000" t="100000"/>
                      </a:path>
                    </a:gradFill>
                    <a:latin typeface="Segoe UI Variable Display Semibold" pitchFamily="2" charset="0"/>
                    <a:cs typeface="Segoe UI" pitchFamily="34" charset="0"/>
                  </a:rPr>
                  <a:t>Theme 3</a:t>
                </a:r>
              </a:p>
            </p:txBody>
          </p:sp>
          <p:sp>
            <p:nvSpPr>
              <p:cNvPr id="191" name="TextBox 190">
                <a:extLst>
                  <a:ext uri="{FF2B5EF4-FFF2-40B4-BE49-F238E27FC236}">
                    <a16:creationId xmlns:a16="http://schemas.microsoft.com/office/drawing/2014/main" id="{0023D874-B2BD-9216-E837-13A0116DD8C4}"/>
                  </a:ext>
                </a:extLst>
              </p:cNvPr>
              <p:cNvSpPr txBox="1"/>
              <p:nvPr/>
            </p:nvSpPr>
            <p:spPr>
              <a:xfrm>
                <a:off x="16813245" y="2039936"/>
                <a:ext cx="731520" cy="366254"/>
              </a:xfrm>
              <a:prstGeom prst="rect">
                <a:avLst/>
              </a:prstGeom>
              <a:noFill/>
            </p:spPr>
            <p:txBody>
              <a:bodyPr wrap="square" lIns="0" tIns="0" rIns="0" bIns="256032" rtlCol="0" anchor="b" anchorCtr="0">
                <a:spAutoFit/>
              </a:bodyPr>
              <a:lstStyle>
                <a:defPPr>
                  <a:defRPr lang="en-US"/>
                </a:defPPr>
                <a:lvl1pPr>
                  <a:defRPr sz="700" b="1">
                    <a:ln w="3175">
                      <a:noFill/>
                    </a:ln>
                    <a:gradFill>
                      <a:gsLst>
                        <a:gs pos="9174">
                          <a:schemeClr val="tx1"/>
                        </a:gs>
                        <a:gs pos="42000">
                          <a:schemeClr val="tx1"/>
                        </a:gs>
                      </a:gsLst>
                      <a:path path="circle">
                        <a:fillToRect l="100000" t="100000"/>
                      </a:path>
                    </a:gradFill>
                    <a:latin typeface="Segoe UI Variable Display Semibold" pitchFamily="2" charset="0"/>
                    <a:cs typeface="Segoe UI" pitchFamily="34" charset="0"/>
                  </a:defRPr>
                </a:lvl1pPr>
              </a:lstStyle>
              <a:p>
                <a:r>
                  <a:rPr lang="en-US"/>
                  <a:t>Colored header</a:t>
                </a:r>
              </a:p>
            </p:txBody>
          </p:sp>
          <p:sp>
            <p:nvSpPr>
              <p:cNvPr id="192" name="TextBox 191">
                <a:extLst>
                  <a:ext uri="{FF2B5EF4-FFF2-40B4-BE49-F238E27FC236}">
                    <a16:creationId xmlns:a16="http://schemas.microsoft.com/office/drawing/2014/main" id="{D3E850F9-1BA1-B9A1-A07D-B43D29FB97C3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6813245" y="2164534"/>
                <a:ext cx="457200" cy="241657"/>
              </a:xfrm>
              <a:prstGeom prst="rect">
                <a:avLst/>
              </a:prstGeom>
              <a:solidFill>
                <a:srgbClr val="152237"/>
              </a:solidFill>
              <a:ln>
                <a:noFill/>
              </a:ln>
            </p:spPr>
            <p:txBody>
              <a:bodyPr wrap="square" lIns="91440" tIns="0" rIns="0" bIns="9144" rtlCol="0" anchor="ctr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 marL="0" lvl="1" defTabSz="932780">
                  <a:spcBef>
                    <a:spcPct val="20000"/>
                  </a:spcBef>
                  <a:buSzPct val="90000"/>
                  <a:defRPr sz="900" b="1">
                    <a:ln w="3175">
                      <a:noFill/>
                    </a:ln>
                    <a:gradFill>
                      <a:gsLst>
                        <a:gs pos="90826">
                          <a:srgbClr val="FFFFFF"/>
                        </a:gs>
                        <a:gs pos="65000">
                          <a:srgbClr val="FFFFFF"/>
                        </a:gs>
                      </a:gsLst>
                      <a:path path="circle">
                        <a:fillToRect l="100000" t="100000"/>
                      </a:path>
                    </a:gradFill>
                    <a:latin typeface="Segoe UI Variable Display Semibold" pitchFamily="2" charset="0"/>
                    <a:cs typeface="Segoe UI" pitchFamily="34" charset="0"/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lvl="1"/>
                <a:endParaRPr lang="en-CA"/>
              </a:p>
            </p:txBody>
          </p:sp>
          <p:sp>
            <p:nvSpPr>
              <p:cNvPr id="193" name="TextBox 192">
                <a:extLst>
                  <a:ext uri="{FF2B5EF4-FFF2-40B4-BE49-F238E27FC236}">
                    <a16:creationId xmlns:a16="http://schemas.microsoft.com/office/drawing/2014/main" id="{7AF7CE4A-71F8-D567-8DAB-E78A86B1B01B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 flipH="1">
                <a:off x="16813245" y="2164534"/>
                <a:ext cx="457200" cy="241657"/>
              </a:xfrm>
              <a:prstGeom prst="rtTriangle">
                <a:avLst/>
              </a:prstGeom>
              <a:solidFill>
                <a:srgbClr val="E2F1F9"/>
              </a:solidFill>
              <a:ln>
                <a:noFill/>
              </a:ln>
            </p:spPr>
            <p:txBody>
              <a:bodyPr wrap="square" lIns="45720" tIns="18288" rIns="0" bIns="0" rtlCol="0" anchor="t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>
                  <a:defRPr>
                    <a:solidFill>
                      <a:schemeClr val="tx1"/>
                    </a:solidFill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marL="0" lvl="1" defTabSz="932780">
                  <a:spcBef>
                    <a:spcPct val="20000"/>
                  </a:spcBef>
                  <a:buSzPct val="90000"/>
                  <a:defRPr/>
                </a:pPr>
                <a:endParaRPr lang="en-CA" sz="600" b="1">
                  <a:ln w="3175">
                    <a:noFill/>
                  </a:ln>
                  <a:gradFill>
                    <a:gsLst>
                      <a:gs pos="9174">
                        <a:schemeClr val="tx1"/>
                      </a:gs>
                      <a:gs pos="42000">
                        <a:schemeClr val="tx1"/>
                      </a:gs>
                    </a:gsLst>
                    <a:path path="circle">
                      <a:fillToRect l="100000" t="100000"/>
                    </a:path>
                  </a:gradFill>
                  <a:latin typeface="Segoe UI Variable Display Semibold" pitchFamily="2" charset="0"/>
                  <a:cs typeface="Segoe UI" pitchFamily="34" charset="0"/>
                </a:endParaRPr>
              </a:p>
            </p:txBody>
          </p:sp>
          <p:sp>
            <p:nvSpPr>
              <p:cNvPr id="194" name="TextBox 193">
                <a:extLst>
                  <a:ext uri="{FF2B5EF4-FFF2-40B4-BE49-F238E27FC236}">
                    <a16:creationId xmlns:a16="http://schemas.microsoft.com/office/drawing/2014/main" id="{D0078209-4715-0625-564E-9BF0D0CF476F}"/>
                  </a:ext>
                </a:extLst>
              </p:cNvPr>
              <p:cNvSpPr txBox="1"/>
              <p:nvPr/>
            </p:nvSpPr>
            <p:spPr>
              <a:xfrm>
                <a:off x="15862269" y="2446296"/>
                <a:ext cx="546261" cy="366254"/>
              </a:xfrm>
              <a:prstGeom prst="rect">
                <a:avLst/>
              </a:prstGeom>
              <a:noFill/>
            </p:spPr>
            <p:txBody>
              <a:bodyPr wrap="square" lIns="0" tIns="0" rIns="0" bIns="256032" rtlCol="0" anchor="b" anchorCtr="0">
                <a:spAutoFit/>
              </a:bodyPr>
              <a:lstStyle>
                <a:defPPr>
                  <a:defRPr lang="en-US"/>
                </a:defPPr>
                <a:lvl1pPr>
                  <a:defRPr sz="700" b="1">
                    <a:ln w="3175">
                      <a:noFill/>
                    </a:ln>
                    <a:gradFill>
                      <a:gsLst>
                        <a:gs pos="9174">
                          <a:schemeClr val="tx1"/>
                        </a:gs>
                        <a:gs pos="42000">
                          <a:schemeClr val="tx1"/>
                        </a:gs>
                      </a:gsLst>
                      <a:path path="circle">
                        <a:fillToRect l="100000" t="100000"/>
                      </a:path>
                    </a:gradFill>
                    <a:latin typeface="Segoe UI Variable Display Semibold" pitchFamily="2" charset="0"/>
                    <a:cs typeface="Segoe UI" pitchFamily="34" charset="0"/>
                  </a:defRPr>
                </a:lvl1pPr>
              </a:lstStyle>
              <a:p>
                <a:r>
                  <a:rPr lang="en-US"/>
                  <a:t>Container</a:t>
                </a:r>
              </a:p>
            </p:txBody>
          </p:sp>
          <p:sp>
            <p:nvSpPr>
              <p:cNvPr id="195" name="TextBox 194">
                <a:extLst>
                  <a:ext uri="{FF2B5EF4-FFF2-40B4-BE49-F238E27FC236}">
                    <a16:creationId xmlns:a16="http://schemas.microsoft.com/office/drawing/2014/main" id="{AD9863A0-5805-66E6-9895-C269471E9599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5862269" y="2570893"/>
                <a:ext cx="457200" cy="241657"/>
              </a:xfrm>
              <a:prstGeom prst="rect">
                <a:avLst/>
              </a:prstGeom>
              <a:solidFill>
                <a:srgbClr val="2A446F"/>
              </a:solidFill>
              <a:ln>
                <a:noFill/>
              </a:ln>
            </p:spPr>
            <p:txBody>
              <a:bodyPr wrap="square" lIns="91440" tIns="0" rIns="0" bIns="9144" rtlCol="0" anchor="ctr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 marL="0" marR="0" lvl="1" indent="0" defTabSz="93278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Tx/>
                  <a:buNone/>
                  <a:tabLst/>
                  <a:defRPr sz="900" b="1">
                    <a:ln w="3175">
                      <a:noFill/>
                    </a:ln>
                    <a:gradFill>
                      <a:gsLst>
                        <a:gs pos="90826">
                          <a:srgbClr val="FFFFFF"/>
                        </a:gs>
                        <a:gs pos="65000">
                          <a:srgbClr val="FFFFFF"/>
                        </a:gs>
                      </a:gsLst>
                      <a:path path="circle">
                        <a:fillToRect l="100000" t="100000"/>
                      </a:path>
                    </a:gradFill>
                    <a:latin typeface="Segoe UI Variable Display Semibold" pitchFamily="2" charset="0"/>
                    <a:cs typeface="Segoe UI" pitchFamily="34" charset="0"/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lvl="1"/>
                <a:endParaRPr lang="en-CA"/>
              </a:p>
            </p:txBody>
          </p:sp>
          <p:sp>
            <p:nvSpPr>
              <p:cNvPr id="196" name="TextBox 195">
                <a:extLst>
                  <a:ext uri="{FF2B5EF4-FFF2-40B4-BE49-F238E27FC236}">
                    <a16:creationId xmlns:a16="http://schemas.microsoft.com/office/drawing/2014/main" id="{D00323D0-D506-CC26-9EE6-A007C1E0B5FC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6337757" y="2570893"/>
                <a:ext cx="457200" cy="241657"/>
              </a:xfrm>
              <a:prstGeom prst="rect">
                <a:avLst/>
              </a:prstGeom>
              <a:solidFill>
                <a:srgbClr val="463668"/>
              </a:solidFill>
              <a:ln>
                <a:noFill/>
              </a:ln>
            </p:spPr>
            <p:txBody>
              <a:bodyPr wrap="square" lIns="91440" tIns="0" rIns="0" bIns="9144" rtlCol="0" anchor="ctr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 marL="0" marR="0" lvl="1" indent="0" defTabSz="93278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Tx/>
                  <a:buNone/>
                  <a:tabLst/>
                  <a:defRPr sz="900" b="1">
                    <a:ln w="3175">
                      <a:noFill/>
                    </a:ln>
                    <a:gradFill>
                      <a:gsLst>
                        <a:gs pos="90826">
                          <a:srgbClr val="FFFFFF"/>
                        </a:gs>
                        <a:gs pos="65000">
                          <a:srgbClr val="FFFFFF"/>
                        </a:gs>
                      </a:gsLst>
                      <a:path path="circle">
                        <a:fillToRect l="100000" t="100000"/>
                      </a:path>
                    </a:gradFill>
                    <a:latin typeface="Segoe UI Variable Display Semibold" pitchFamily="2" charset="0"/>
                    <a:cs typeface="Segoe UI" pitchFamily="34" charset="0"/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lvl="1"/>
                <a:endParaRPr lang="en-CA"/>
              </a:p>
            </p:txBody>
          </p:sp>
          <p:sp>
            <p:nvSpPr>
              <p:cNvPr id="197" name="TextBox 196">
                <a:extLst>
                  <a:ext uri="{FF2B5EF4-FFF2-40B4-BE49-F238E27FC236}">
                    <a16:creationId xmlns:a16="http://schemas.microsoft.com/office/drawing/2014/main" id="{7F700708-7E16-ADC1-B58A-987F5A8F272D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 flipH="1">
                <a:off x="16337757" y="2570893"/>
                <a:ext cx="457200" cy="241657"/>
              </a:xfrm>
              <a:prstGeom prst="rtTriangle">
                <a:avLst/>
              </a:prstGeom>
              <a:solidFill>
                <a:srgbClr val="EACEEB"/>
              </a:solidFill>
              <a:ln>
                <a:noFill/>
              </a:ln>
            </p:spPr>
            <p:txBody>
              <a:bodyPr wrap="square" lIns="91440" tIns="0" rIns="0" bIns="9144" rtlCol="0" anchor="ctr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 marL="0" marR="0" lvl="1" indent="0" defTabSz="93278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Tx/>
                  <a:buNone/>
                  <a:tabLst/>
                  <a:defRPr sz="900" b="1">
                    <a:ln w="3175">
                      <a:noFill/>
                    </a:ln>
                    <a:gradFill>
                      <a:gsLst>
                        <a:gs pos="9174">
                          <a:schemeClr val="tx1"/>
                        </a:gs>
                        <a:gs pos="42000">
                          <a:schemeClr val="tx1"/>
                        </a:gs>
                      </a:gsLst>
                      <a:path path="circle">
                        <a:fillToRect l="100000" t="100000"/>
                      </a:path>
                    </a:gradFill>
                    <a:latin typeface="Segoe UI Variable Display Semibold" pitchFamily="2" charset="0"/>
                    <a:cs typeface="Segoe UI" pitchFamily="34" charset="0"/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lvl="1"/>
                <a:endParaRPr lang="en-CA"/>
              </a:p>
            </p:txBody>
          </p:sp>
          <p:sp>
            <p:nvSpPr>
              <p:cNvPr id="198" name="TextBox 197">
                <a:extLst>
                  <a:ext uri="{FF2B5EF4-FFF2-40B4-BE49-F238E27FC236}">
                    <a16:creationId xmlns:a16="http://schemas.microsoft.com/office/drawing/2014/main" id="{F7C11E7A-7C7D-8408-7072-BAC4AD62CB08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 flipH="1">
                <a:off x="15862269" y="2570893"/>
                <a:ext cx="457200" cy="241657"/>
              </a:xfrm>
              <a:prstGeom prst="rtTriangle">
                <a:avLst/>
              </a:prstGeom>
              <a:solidFill>
                <a:srgbClr val="E2F1F9"/>
              </a:solidFill>
              <a:ln>
                <a:noFill/>
              </a:ln>
            </p:spPr>
            <p:txBody>
              <a:bodyPr wrap="square" lIns="91440" tIns="0" rIns="0" bIns="9144" rtlCol="0" anchor="ctr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 marL="0" marR="0" lvl="1" indent="0" defTabSz="93278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Tx/>
                  <a:buNone/>
                  <a:tabLst/>
                  <a:defRPr sz="900" b="1">
                    <a:ln w="3175">
                      <a:noFill/>
                    </a:ln>
                    <a:gradFill>
                      <a:gsLst>
                        <a:gs pos="9174">
                          <a:schemeClr val="tx1"/>
                        </a:gs>
                        <a:gs pos="42000">
                          <a:schemeClr val="tx1"/>
                        </a:gs>
                      </a:gsLst>
                      <a:path path="circle">
                        <a:fillToRect l="100000" t="100000"/>
                      </a:path>
                    </a:gradFill>
                    <a:latin typeface="Segoe UI Variable Display Semibold" pitchFamily="2" charset="0"/>
                    <a:cs typeface="Segoe UI" pitchFamily="34" charset="0"/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lvl="1"/>
                <a:endParaRPr lang="en-CA"/>
              </a:p>
            </p:txBody>
          </p:sp>
          <p:sp>
            <p:nvSpPr>
              <p:cNvPr id="199" name="TextBox 198">
                <a:extLst>
                  <a:ext uri="{FF2B5EF4-FFF2-40B4-BE49-F238E27FC236}">
                    <a16:creationId xmlns:a16="http://schemas.microsoft.com/office/drawing/2014/main" id="{9F1D7013-BC65-06CF-DB25-1E95BEEDC4D7}"/>
                  </a:ext>
                </a:extLst>
              </p:cNvPr>
              <p:cNvSpPr txBox="1"/>
              <p:nvPr/>
            </p:nvSpPr>
            <p:spPr>
              <a:xfrm>
                <a:off x="16813245" y="2446296"/>
                <a:ext cx="592763" cy="366254"/>
              </a:xfrm>
              <a:prstGeom prst="rect">
                <a:avLst/>
              </a:prstGeom>
              <a:noFill/>
            </p:spPr>
            <p:txBody>
              <a:bodyPr wrap="square" lIns="0" tIns="0" rIns="0" bIns="256032" rtlCol="0" anchor="b" anchorCtr="0">
                <a:spAutoFit/>
              </a:bodyPr>
              <a:lstStyle>
                <a:defPPr>
                  <a:defRPr lang="en-US"/>
                </a:defPPr>
                <a:lvl1pPr>
                  <a:defRPr sz="700" b="1">
                    <a:ln w="3175">
                      <a:noFill/>
                    </a:ln>
                    <a:gradFill>
                      <a:gsLst>
                        <a:gs pos="9174">
                          <a:schemeClr val="tx1"/>
                        </a:gs>
                        <a:gs pos="42000">
                          <a:schemeClr val="tx1"/>
                        </a:gs>
                      </a:gsLst>
                      <a:path path="circle">
                        <a:fillToRect l="100000" t="100000"/>
                      </a:path>
                    </a:gradFill>
                    <a:latin typeface="Segoe UI Variable Display Semibold" pitchFamily="2" charset="0"/>
                    <a:cs typeface="Segoe UI" pitchFamily="34" charset="0"/>
                  </a:defRPr>
                </a:lvl1pPr>
              </a:lstStyle>
              <a:p>
                <a:r>
                  <a:rPr lang="en-US"/>
                  <a:t>Light overlay</a:t>
                </a:r>
              </a:p>
            </p:txBody>
          </p:sp>
          <p:sp>
            <p:nvSpPr>
              <p:cNvPr id="200" name="TextBox 199">
                <a:extLst>
                  <a:ext uri="{FF2B5EF4-FFF2-40B4-BE49-F238E27FC236}">
                    <a16:creationId xmlns:a16="http://schemas.microsoft.com/office/drawing/2014/main" id="{4C678748-37AE-EDFF-5A50-689A706AFF99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7288733" y="2570893"/>
                <a:ext cx="457200" cy="241657"/>
              </a:xfrm>
              <a:prstGeom prst="rect">
                <a:avLst/>
              </a:prstGeom>
              <a:solidFill>
                <a:srgbClr val="EACEEB"/>
              </a:solidFill>
              <a:ln>
                <a:noFill/>
              </a:ln>
            </p:spPr>
            <p:txBody>
              <a:bodyPr wrap="square" lIns="91440" tIns="0" rIns="0" bIns="9144" rtlCol="0" anchor="ctr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 marL="0" marR="0" lvl="1" indent="0" defTabSz="93278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Tx/>
                  <a:buNone/>
                  <a:tabLst/>
                  <a:defRPr sz="900" b="1">
                    <a:ln w="3175">
                      <a:noFill/>
                    </a:ln>
                    <a:gradFill>
                      <a:gsLst>
                        <a:gs pos="9174">
                          <a:schemeClr val="tx1"/>
                        </a:gs>
                        <a:gs pos="42000">
                          <a:schemeClr val="tx1"/>
                        </a:gs>
                      </a:gsLst>
                      <a:path path="circle">
                        <a:fillToRect l="100000" t="100000"/>
                      </a:path>
                    </a:gradFill>
                    <a:latin typeface="Segoe UI Variable Display Semibold" pitchFamily="2" charset="0"/>
                    <a:cs typeface="Segoe UI" pitchFamily="34" charset="0"/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lvl="1"/>
                <a:endParaRPr lang="en-CA"/>
              </a:p>
            </p:txBody>
          </p:sp>
          <p:sp>
            <p:nvSpPr>
              <p:cNvPr id="201" name="TextBox 200">
                <a:extLst>
                  <a:ext uri="{FF2B5EF4-FFF2-40B4-BE49-F238E27FC236}">
                    <a16:creationId xmlns:a16="http://schemas.microsoft.com/office/drawing/2014/main" id="{69A5B638-3967-CC6D-6C76-9DE81A9CC9B0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6813245" y="2570893"/>
                <a:ext cx="457200" cy="241657"/>
              </a:xfrm>
              <a:prstGeom prst="rect">
                <a:avLst/>
              </a:prstGeom>
              <a:solidFill>
                <a:srgbClr val="E2F1F9"/>
              </a:solidFill>
              <a:ln>
                <a:noFill/>
              </a:ln>
            </p:spPr>
            <p:txBody>
              <a:bodyPr wrap="square" lIns="91440" tIns="0" rIns="0" bIns="9144" rtlCol="0" anchor="ctr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 marL="0" marR="0" lvl="1" indent="0" defTabSz="93278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Tx/>
                  <a:buNone/>
                  <a:tabLst/>
                  <a:defRPr sz="900" b="1">
                    <a:ln w="3175">
                      <a:noFill/>
                    </a:ln>
                    <a:gradFill>
                      <a:gsLst>
                        <a:gs pos="9174">
                          <a:schemeClr val="tx1"/>
                        </a:gs>
                        <a:gs pos="42000">
                          <a:schemeClr val="tx1"/>
                        </a:gs>
                      </a:gsLst>
                      <a:path path="circle">
                        <a:fillToRect l="100000" t="100000"/>
                      </a:path>
                    </a:gradFill>
                    <a:latin typeface="Segoe UI Variable Display Semibold" pitchFamily="2" charset="0"/>
                    <a:cs typeface="Segoe UI" pitchFamily="34" charset="0"/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lvl="1"/>
                <a:endParaRPr lang="en-CA"/>
              </a:p>
            </p:txBody>
          </p:sp>
          <p:sp>
            <p:nvSpPr>
              <p:cNvPr id="202" name="TextBox 201">
                <a:extLst>
                  <a:ext uri="{FF2B5EF4-FFF2-40B4-BE49-F238E27FC236}">
                    <a16:creationId xmlns:a16="http://schemas.microsoft.com/office/drawing/2014/main" id="{EB015D36-2BDA-6A9E-2ABC-D0C853C17849}"/>
                  </a:ext>
                </a:extLst>
              </p:cNvPr>
              <p:cNvSpPr txBox="1"/>
              <p:nvPr/>
            </p:nvSpPr>
            <p:spPr>
              <a:xfrm>
                <a:off x="17764221" y="2446296"/>
                <a:ext cx="546261" cy="366254"/>
              </a:xfrm>
              <a:prstGeom prst="rect">
                <a:avLst/>
              </a:prstGeom>
              <a:noFill/>
            </p:spPr>
            <p:txBody>
              <a:bodyPr wrap="square" lIns="0" tIns="0" rIns="0" bIns="256032" rtlCol="0" anchor="b" anchorCtr="0">
                <a:spAutoFit/>
              </a:bodyPr>
              <a:lstStyle>
                <a:defPPr>
                  <a:defRPr lang="en-US"/>
                </a:defPPr>
                <a:lvl1pPr>
                  <a:defRPr sz="700" b="1">
                    <a:ln w="3175">
                      <a:noFill/>
                    </a:ln>
                    <a:gradFill>
                      <a:gsLst>
                        <a:gs pos="9174">
                          <a:schemeClr val="tx1"/>
                        </a:gs>
                        <a:gs pos="42000">
                          <a:schemeClr val="tx1"/>
                        </a:gs>
                      </a:gsLst>
                      <a:path path="circle">
                        <a:fillToRect l="100000" t="100000"/>
                      </a:path>
                    </a:gradFill>
                    <a:latin typeface="Segoe UI Variable Display Semibold" pitchFamily="2" charset="0"/>
                    <a:cs typeface="Segoe UI" pitchFamily="34" charset="0"/>
                  </a:defRPr>
                </a:lvl1pPr>
              </a:lstStyle>
              <a:p>
                <a:r>
                  <a:rPr lang="en-US"/>
                  <a:t>Dark overlay</a:t>
                </a:r>
              </a:p>
            </p:txBody>
          </p:sp>
          <p:sp>
            <p:nvSpPr>
              <p:cNvPr id="203" name="TextBox 202">
                <a:extLst>
                  <a:ext uri="{FF2B5EF4-FFF2-40B4-BE49-F238E27FC236}">
                    <a16:creationId xmlns:a16="http://schemas.microsoft.com/office/drawing/2014/main" id="{DA85F87A-63E8-BBDC-7983-6F93CB26292B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7764221" y="2570893"/>
                <a:ext cx="457200" cy="241657"/>
              </a:xfrm>
              <a:prstGeom prst="rect">
                <a:avLst/>
              </a:prstGeom>
              <a:solidFill>
                <a:srgbClr val="2A446F"/>
              </a:solidFill>
              <a:ln>
                <a:noFill/>
              </a:ln>
            </p:spPr>
            <p:txBody>
              <a:bodyPr wrap="square" lIns="91440" tIns="0" rIns="0" bIns="9144" rtlCol="0" anchor="ctr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 marL="0" marR="0" lvl="1" indent="0" defTabSz="93278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Tx/>
                  <a:buNone/>
                  <a:tabLst/>
                  <a:defRPr sz="900" b="1">
                    <a:ln w="3175">
                      <a:noFill/>
                    </a:ln>
                    <a:gradFill>
                      <a:gsLst>
                        <a:gs pos="90826">
                          <a:srgbClr val="FFFFFF"/>
                        </a:gs>
                        <a:gs pos="65000">
                          <a:srgbClr val="FFFFFF"/>
                        </a:gs>
                      </a:gsLst>
                      <a:path path="circle">
                        <a:fillToRect l="100000" t="100000"/>
                      </a:path>
                    </a:gradFill>
                    <a:latin typeface="Segoe UI Variable Display Semibold" pitchFamily="2" charset="0"/>
                    <a:cs typeface="Segoe UI" pitchFamily="34" charset="0"/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lvl="1"/>
                <a:endParaRPr lang="en-CA"/>
              </a:p>
            </p:txBody>
          </p:sp>
          <p:sp>
            <p:nvSpPr>
              <p:cNvPr id="204" name="TextBox 203">
                <a:extLst>
                  <a:ext uri="{FF2B5EF4-FFF2-40B4-BE49-F238E27FC236}">
                    <a16:creationId xmlns:a16="http://schemas.microsoft.com/office/drawing/2014/main" id="{133A26D9-CA2C-0DBC-F8C6-BD63CA230A77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8239709" y="2570893"/>
                <a:ext cx="457200" cy="241657"/>
              </a:xfrm>
              <a:prstGeom prst="rect">
                <a:avLst/>
              </a:prstGeom>
              <a:solidFill>
                <a:srgbClr val="463668"/>
              </a:solidFill>
              <a:ln>
                <a:noFill/>
              </a:ln>
            </p:spPr>
            <p:txBody>
              <a:bodyPr wrap="square" lIns="91440" tIns="0" rIns="0" bIns="9144" rtlCol="0" anchor="ctr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 marL="0" marR="0" lvl="1" indent="0" defTabSz="93278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Tx/>
                  <a:buNone/>
                  <a:tabLst/>
                  <a:defRPr sz="900" b="1">
                    <a:ln w="3175">
                      <a:noFill/>
                    </a:ln>
                    <a:gradFill>
                      <a:gsLst>
                        <a:gs pos="90826">
                          <a:srgbClr val="FFFFFF"/>
                        </a:gs>
                        <a:gs pos="65000">
                          <a:srgbClr val="FFFFFF"/>
                        </a:gs>
                      </a:gsLst>
                      <a:path path="circle">
                        <a:fillToRect l="100000" t="100000"/>
                      </a:path>
                    </a:gradFill>
                    <a:latin typeface="Segoe UI Variable Display Semibold" pitchFamily="2" charset="0"/>
                    <a:cs typeface="Segoe UI" pitchFamily="34" charset="0"/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lvl="1"/>
                <a:endParaRPr lang="en-CA"/>
              </a:p>
            </p:txBody>
          </p:sp>
          <p:sp>
            <p:nvSpPr>
              <p:cNvPr id="205" name="TextBox 204">
                <a:extLst>
                  <a:ext uri="{FF2B5EF4-FFF2-40B4-BE49-F238E27FC236}">
                    <a16:creationId xmlns:a16="http://schemas.microsoft.com/office/drawing/2014/main" id="{77CAD862-CFE9-8FE3-6445-710328C57626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6337757" y="2164534"/>
                <a:ext cx="457200" cy="241657"/>
              </a:xfrm>
              <a:prstGeom prst="rect">
                <a:avLst/>
              </a:prstGeom>
              <a:solidFill>
                <a:srgbClr val="AC35AF"/>
              </a:solidFill>
              <a:ln>
                <a:noFill/>
              </a:ln>
            </p:spPr>
            <p:txBody>
              <a:bodyPr wrap="square" lIns="45720" tIns="18288" rIns="0" bIns="0" rtlCol="0" anchor="t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>
                  <a:defRPr>
                    <a:solidFill>
                      <a:schemeClr val="tx1"/>
                    </a:solidFill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marL="0" marR="0" lvl="1" indent="0" algn="l" defTabSz="932780" rtl="0" eaLnBrk="1" fontAlgn="auto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Tx/>
                  <a:buNone/>
                  <a:tabLst/>
                  <a:defRPr/>
                </a:pPr>
                <a:endParaRPr lang="en-CA" sz="600" b="1">
                  <a:ln w="3175">
                    <a:noFill/>
                  </a:ln>
                  <a:gradFill>
                    <a:gsLst>
                      <a:gs pos="90826">
                        <a:srgbClr val="FFFFFF"/>
                      </a:gs>
                      <a:gs pos="65000">
                        <a:srgbClr val="FFFFFF"/>
                      </a:gs>
                    </a:gsLst>
                    <a:path path="circle">
                      <a:fillToRect l="100000" t="100000"/>
                    </a:path>
                  </a:gradFill>
                  <a:latin typeface="Segoe UI Variable Display Semibold" pitchFamily="2" charset="0"/>
                  <a:cs typeface="Segoe UI" pitchFamily="34" charset="0"/>
                </a:endParaRPr>
              </a:p>
            </p:txBody>
          </p:sp>
          <p:sp>
            <p:nvSpPr>
              <p:cNvPr id="206" name="TextBox 205">
                <a:extLst>
                  <a:ext uri="{FF2B5EF4-FFF2-40B4-BE49-F238E27FC236}">
                    <a16:creationId xmlns:a16="http://schemas.microsoft.com/office/drawing/2014/main" id="{061406ED-18CB-A78F-3FF2-7B0C57493FDA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5862269" y="2164534"/>
                <a:ext cx="457200" cy="241657"/>
              </a:xfrm>
              <a:prstGeom prst="rect">
                <a:avLst/>
              </a:prstGeom>
              <a:solidFill>
                <a:srgbClr val="0A6BBA"/>
              </a:solidFill>
              <a:ln>
                <a:noFill/>
              </a:ln>
            </p:spPr>
            <p:txBody>
              <a:bodyPr wrap="square" lIns="45720" tIns="18288" rIns="0" bIns="0" rtlCol="0" anchor="t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>
                  <a:defRPr>
                    <a:solidFill>
                      <a:schemeClr val="tx1"/>
                    </a:solidFill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marL="0" marR="0" lvl="1" indent="0" algn="l" defTabSz="932780" rtl="0" eaLnBrk="1" fontAlgn="auto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Tx/>
                  <a:buNone/>
                  <a:tabLst/>
                  <a:defRPr/>
                </a:pPr>
                <a:endParaRPr kumimoji="0" lang="en-CA" sz="500" b="1" i="0" u="none" strike="noStrike" kern="1200" cap="none" spc="0" normalizeH="0" baseline="0" noProof="0">
                  <a:ln w="3175">
                    <a:noFill/>
                  </a:ln>
                  <a:gradFill>
                    <a:gsLst>
                      <a:gs pos="90826">
                        <a:srgbClr val="FFFFFF"/>
                      </a:gs>
                      <a:gs pos="65000">
                        <a:srgbClr val="FFFFFF"/>
                      </a:gs>
                    </a:gsLst>
                    <a:path path="circle">
                      <a:fillToRect l="100000" t="100000"/>
                    </a:path>
                  </a:gradFill>
                  <a:effectLst/>
                  <a:uLnTx/>
                  <a:uFillTx/>
                  <a:latin typeface="Segoe UI Variable Display Semibold" pitchFamily="2" charset="0"/>
                  <a:ea typeface="+mn-ea"/>
                  <a:cs typeface="Segoe UI" pitchFamily="34" charset="0"/>
                </a:endParaRPr>
              </a:p>
            </p:txBody>
          </p:sp>
          <p:sp>
            <p:nvSpPr>
              <p:cNvPr id="207" name="TextBox 206">
                <a:extLst>
                  <a:ext uri="{FF2B5EF4-FFF2-40B4-BE49-F238E27FC236}">
                    <a16:creationId xmlns:a16="http://schemas.microsoft.com/office/drawing/2014/main" id="{8B9FD834-D00F-A849-7375-85B8E6558C1D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 flipH="1">
                <a:off x="15862269" y="2164534"/>
                <a:ext cx="457200" cy="241657"/>
              </a:xfrm>
              <a:prstGeom prst="rtTriangle">
                <a:avLst/>
              </a:prstGeom>
              <a:solidFill>
                <a:srgbClr val="46A0DE"/>
              </a:solidFill>
              <a:ln>
                <a:noFill/>
              </a:ln>
            </p:spPr>
            <p:txBody>
              <a:bodyPr wrap="square" lIns="45720" tIns="18288" rIns="0" bIns="0" rtlCol="0" anchor="t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>
                  <a:defRPr>
                    <a:solidFill>
                      <a:schemeClr val="tx1"/>
                    </a:solidFill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marL="0" lvl="1" defTabSz="932780">
                  <a:spcBef>
                    <a:spcPct val="20000"/>
                  </a:spcBef>
                  <a:buSzPct val="90000"/>
                  <a:defRPr/>
                </a:pPr>
                <a:endParaRPr lang="en-CA" sz="600" b="1">
                  <a:ln w="3175">
                    <a:noFill/>
                  </a:ln>
                  <a:gradFill>
                    <a:gsLst>
                      <a:gs pos="9174">
                        <a:schemeClr val="tx1"/>
                      </a:gs>
                      <a:gs pos="42000">
                        <a:schemeClr val="tx1"/>
                      </a:gs>
                    </a:gsLst>
                    <a:path path="circle">
                      <a:fillToRect l="100000" t="100000"/>
                    </a:path>
                  </a:gradFill>
                  <a:latin typeface="Segoe UI Variable Display Semibold" pitchFamily="2" charset="0"/>
                  <a:cs typeface="Segoe UI" pitchFamily="34" charset="0"/>
                </a:endParaRPr>
              </a:p>
            </p:txBody>
          </p:sp>
          <p:sp>
            <p:nvSpPr>
              <p:cNvPr id="208" name="TextBox 207">
                <a:extLst>
                  <a:ext uri="{FF2B5EF4-FFF2-40B4-BE49-F238E27FC236}">
                    <a16:creationId xmlns:a16="http://schemas.microsoft.com/office/drawing/2014/main" id="{EE469CD3-8967-9262-25D0-CE79718EF6B5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 flipH="1">
                <a:off x="16337757" y="2164534"/>
                <a:ext cx="457200" cy="241657"/>
              </a:xfrm>
              <a:prstGeom prst="rtTriangle">
                <a:avLst/>
              </a:prstGeom>
              <a:solidFill>
                <a:srgbClr val="CA6CCD"/>
              </a:solidFill>
              <a:ln>
                <a:noFill/>
              </a:ln>
            </p:spPr>
            <p:txBody>
              <a:bodyPr wrap="square" lIns="45720" tIns="18288" rIns="0" bIns="0" rtlCol="0" anchor="t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>
                  <a:defRPr>
                    <a:solidFill>
                      <a:schemeClr val="tx1"/>
                    </a:solidFill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marL="0" lvl="1" defTabSz="932780">
                  <a:spcBef>
                    <a:spcPct val="20000"/>
                  </a:spcBef>
                  <a:buSzPct val="90000"/>
                  <a:defRPr/>
                </a:pPr>
                <a:endParaRPr lang="en-CA" sz="600" b="1">
                  <a:ln w="3175">
                    <a:noFill/>
                  </a:ln>
                  <a:gradFill>
                    <a:gsLst>
                      <a:gs pos="9174">
                        <a:schemeClr val="tx1"/>
                      </a:gs>
                      <a:gs pos="42000">
                        <a:schemeClr val="tx1"/>
                      </a:gs>
                    </a:gsLst>
                    <a:path path="circle">
                      <a:fillToRect l="100000" t="100000"/>
                    </a:path>
                  </a:gradFill>
                  <a:latin typeface="Segoe UI Variable Display Semibold" pitchFamily="2" charset="0"/>
                  <a:cs typeface="Segoe UI" pitchFamily="34" charset="0"/>
                </a:endParaRPr>
              </a:p>
            </p:txBody>
          </p:sp>
        </p:grp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149A6268-3C2F-6074-C8AD-674B8386398B}"/>
                </a:ext>
              </a:extLst>
            </p:cNvPr>
            <p:cNvGrpSpPr/>
            <p:nvPr userDrawn="1"/>
          </p:nvGrpSpPr>
          <p:grpSpPr>
            <a:xfrm>
              <a:off x="22177344" y="3042693"/>
              <a:ext cx="2834640" cy="772614"/>
              <a:chOff x="15862269" y="3046763"/>
              <a:chExt cx="2834640" cy="772614"/>
            </a:xfrm>
          </p:grpSpPr>
          <p:sp>
            <p:nvSpPr>
              <p:cNvPr id="171" name="TextBox 170">
                <a:extLst>
                  <a:ext uri="{FF2B5EF4-FFF2-40B4-BE49-F238E27FC236}">
                    <a16:creationId xmlns:a16="http://schemas.microsoft.com/office/drawing/2014/main" id="{D662D1E4-3098-C7A8-66E3-9201552BA8D4}"/>
                  </a:ext>
                </a:extLst>
              </p:cNvPr>
              <p:cNvSpPr txBox="1"/>
              <p:nvPr/>
            </p:nvSpPr>
            <p:spPr>
              <a:xfrm>
                <a:off x="15862269" y="3046763"/>
                <a:ext cx="365760" cy="366254"/>
              </a:xfrm>
              <a:prstGeom prst="rect">
                <a:avLst/>
              </a:prstGeom>
              <a:noFill/>
            </p:spPr>
            <p:txBody>
              <a:bodyPr wrap="square" lIns="0" tIns="0" rIns="0" bIns="256032" rtlCol="0" anchor="b" anchorCtr="0">
                <a:spAutoFit/>
              </a:bodyPr>
              <a:lstStyle/>
              <a:p>
                <a:r>
                  <a:rPr lang="en-US" sz="700" b="1">
                    <a:ln w="3175">
                      <a:noFill/>
                    </a:ln>
                    <a:gradFill>
                      <a:gsLst>
                        <a:gs pos="9174">
                          <a:schemeClr val="tx1"/>
                        </a:gs>
                        <a:gs pos="42000">
                          <a:schemeClr val="tx1"/>
                        </a:gs>
                      </a:gsLst>
                      <a:path path="circle">
                        <a:fillToRect l="100000" t="100000"/>
                      </a:path>
                    </a:gradFill>
                    <a:latin typeface="Segoe UI Variable Display Semibold" pitchFamily="2" charset="0"/>
                    <a:cs typeface="Segoe UI" pitchFamily="34" charset="0"/>
                  </a:rPr>
                  <a:t>Theme 4</a:t>
                </a:r>
              </a:p>
            </p:txBody>
          </p:sp>
          <p:sp>
            <p:nvSpPr>
              <p:cNvPr id="172" name="TextBox 171">
                <a:extLst>
                  <a:ext uri="{FF2B5EF4-FFF2-40B4-BE49-F238E27FC236}">
                    <a16:creationId xmlns:a16="http://schemas.microsoft.com/office/drawing/2014/main" id="{8524BC0C-D982-9054-84F2-90BA1C86D50C}"/>
                  </a:ext>
                </a:extLst>
              </p:cNvPr>
              <p:cNvSpPr txBox="1"/>
              <p:nvPr/>
            </p:nvSpPr>
            <p:spPr>
              <a:xfrm>
                <a:off x="16813245" y="3046763"/>
                <a:ext cx="731520" cy="366254"/>
              </a:xfrm>
              <a:prstGeom prst="rect">
                <a:avLst/>
              </a:prstGeom>
              <a:noFill/>
            </p:spPr>
            <p:txBody>
              <a:bodyPr wrap="square" lIns="0" tIns="0" rIns="0" bIns="256032" rtlCol="0" anchor="b" anchorCtr="0">
                <a:spAutoFit/>
              </a:bodyPr>
              <a:lstStyle>
                <a:defPPr>
                  <a:defRPr lang="en-US"/>
                </a:defPPr>
                <a:lvl1pPr>
                  <a:defRPr sz="700" b="1">
                    <a:ln w="3175">
                      <a:noFill/>
                    </a:ln>
                    <a:gradFill>
                      <a:gsLst>
                        <a:gs pos="9174">
                          <a:schemeClr val="tx1"/>
                        </a:gs>
                        <a:gs pos="42000">
                          <a:schemeClr val="tx1"/>
                        </a:gs>
                      </a:gsLst>
                      <a:path path="circle">
                        <a:fillToRect l="100000" t="100000"/>
                      </a:path>
                    </a:gradFill>
                    <a:latin typeface="Segoe UI Variable Display Semibold" pitchFamily="2" charset="0"/>
                    <a:cs typeface="Segoe UI" pitchFamily="34" charset="0"/>
                  </a:defRPr>
                </a:lvl1pPr>
              </a:lstStyle>
              <a:p>
                <a:r>
                  <a:rPr lang="en-US"/>
                  <a:t>Colored header</a:t>
                </a:r>
              </a:p>
            </p:txBody>
          </p:sp>
          <p:sp>
            <p:nvSpPr>
              <p:cNvPr id="173" name="TextBox 172">
                <a:extLst>
                  <a:ext uri="{FF2B5EF4-FFF2-40B4-BE49-F238E27FC236}">
                    <a16:creationId xmlns:a16="http://schemas.microsoft.com/office/drawing/2014/main" id="{3FA2A132-EC82-8752-BC7D-1F25DF5FD4E4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6813245" y="3171361"/>
                <a:ext cx="457200" cy="241657"/>
              </a:xfrm>
              <a:prstGeom prst="rect">
                <a:avLst/>
              </a:prstGeom>
              <a:solidFill>
                <a:srgbClr val="381239"/>
              </a:solidFill>
              <a:ln>
                <a:noFill/>
              </a:ln>
            </p:spPr>
            <p:txBody>
              <a:bodyPr wrap="square" lIns="91440" tIns="0" rIns="0" bIns="9144" rtlCol="0" anchor="ctr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 marL="0" lvl="1" defTabSz="932780">
                  <a:spcBef>
                    <a:spcPct val="20000"/>
                  </a:spcBef>
                  <a:buSzPct val="90000"/>
                  <a:defRPr sz="900" b="1">
                    <a:ln w="3175">
                      <a:noFill/>
                    </a:ln>
                    <a:gradFill>
                      <a:gsLst>
                        <a:gs pos="90826">
                          <a:srgbClr val="FFFFFF"/>
                        </a:gs>
                        <a:gs pos="65000">
                          <a:srgbClr val="FFFFFF"/>
                        </a:gs>
                      </a:gsLst>
                      <a:path path="circle">
                        <a:fillToRect l="100000" t="100000"/>
                      </a:path>
                    </a:gradFill>
                    <a:latin typeface="Segoe UI Variable Display Semibold" pitchFamily="2" charset="0"/>
                    <a:cs typeface="Segoe UI" pitchFamily="34" charset="0"/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lvl="1"/>
                <a:endParaRPr lang="en-CA"/>
              </a:p>
            </p:txBody>
          </p:sp>
          <p:sp>
            <p:nvSpPr>
              <p:cNvPr id="174" name="TextBox 173">
                <a:extLst>
                  <a:ext uri="{FF2B5EF4-FFF2-40B4-BE49-F238E27FC236}">
                    <a16:creationId xmlns:a16="http://schemas.microsoft.com/office/drawing/2014/main" id="{7B93A1AD-428A-5870-8E44-C052C6C7A77F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 flipH="1">
                <a:off x="16813245" y="3171361"/>
                <a:ext cx="457200" cy="241657"/>
              </a:xfrm>
              <a:prstGeom prst="rtTriangle">
                <a:avLst/>
              </a:prstGeom>
              <a:solidFill>
                <a:srgbClr val="EACEEB"/>
              </a:solidFill>
              <a:ln>
                <a:noFill/>
              </a:ln>
            </p:spPr>
            <p:txBody>
              <a:bodyPr wrap="square" lIns="45720" tIns="18288" rIns="0" bIns="0" rtlCol="0" anchor="t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>
                  <a:defRPr>
                    <a:solidFill>
                      <a:schemeClr val="tx1"/>
                    </a:solidFill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marL="0" lvl="1" defTabSz="932780">
                  <a:spcBef>
                    <a:spcPct val="20000"/>
                  </a:spcBef>
                  <a:buSzPct val="90000"/>
                  <a:defRPr/>
                </a:pPr>
                <a:endParaRPr lang="en-CA" sz="600" b="1">
                  <a:ln w="3175">
                    <a:noFill/>
                  </a:ln>
                  <a:gradFill>
                    <a:gsLst>
                      <a:gs pos="9174">
                        <a:schemeClr val="tx1"/>
                      </a:gs>
                      <a:gs pos="42000">
                        <a:schemeClr val="tx1"/>
                      </a:gs>
                    </a:gsLst>
                    <a:path path="circle">
                      <a:fillToRect l="100000" t="100000"/>
                    </a:path>
                  </a:gradFill>
                  <a:latin typeface="Segoe UI Variable Display Semibold" pitchFamily="2" charset="0"/>
                  <a:cs typeface="Segoe UI" pitchFamily="34" charset="0"/>
                </a:endParaRPr>
              </a:p>
            </p:txBody>
          </p:sp>
          <p:sp>
            <p:nvSpPr>
              <p:cNvPr id="175" name="TextBox 174">
                <a:extLst>
                  <a:ext uri="{FF2B5EF4-FFF2-40B4-BE49-F238E27FC236}">
                    <a16:creationId xmlns:a16="http://schemas.microsoft.com/office/drawing/2014/main" id="{3A5F21DF-5C70-1655-DA74-9232A4D09AD7}"/>
                  </a:ext>
                </a:extLst>
              </p:cNvPr>
              <p:cNvSpPr txBox="1"/>
              <p:nvPr/>
            </p:nvSpPr>
            <p:spPr>
              <a:xfrm>
                <a:off x="15862269" y="3453123"/>
                <a:ext cx="546261" cy="366254"/>
              </a:xfrm>
              <a:prstGeom prst="rect">
                <a:avLst/>
              </a:prstGeom>
              <a:noFill/>
            </p:spPr>
            <p:txBody>
              <a:bodyPr wrap="square" lIns="0" tIns="0" rIns="0" bIns="256032" rtlCol="0" anchor="b" anchorCtr="0">
                <a:spAutoFit/>
              </a:bodyPr>
              <a:lstStyle>
                <a:defPPr>
                  <a:defRPr lang="en-US"/>
                </a:defPPr>
                <a:lvl1pPr>
                  <a:defRPr sz="700" b="1">
                    <a:ln w="3175">
                      <a:noFill/>
                    </a:ln>
                    <a:gradFill>
                      <a:gsLst>
                        <a:gs pos="9174">
                          <a:schemeClr val="tx1"/>
                        </a:gs>
                        <a:gs pos="42000">
                          <a:schemeClr val="tx1"/>
                        </a:gs>
                      </a:gsLst>
                      <a:path path="circle">
                        <a:fillToRect l="100000" t="100000"/>
                      </a:path>
                    </a:gradFill>
                    <a:latin typeface="Segoe UI Variable Display Semibold" pitchFamily="2" charset="0"/>
                    <a:cs typeface="Segoe UI" pitchFamily="34" charset="0"/>
                  </a:defRPr>
                </a:lvl1pPr>
              </a:lstStyle>
              <a:p>
                <a:r>
                  <a:rPr lang="en-US"/>
                  <a:t>Container</a:t>
                </a:r>
              </a:p>
            </p:txBody>
          </p:sp>
          <p:sp>
            <p:nvSpPr>
              <p:cNvPr id="176" name="TextBox 175">
                <a:extLst>
                  <a:ext uri="{FF2B5EF4-FFF2-40B4-BE49-F238E27FC236}">
                    <a16:creationId xmlns:a16="http://schemas.microsoft.com/office/drawing/2014/main" id="{45CA84E5-DEB2-E10C-FBAE-7780A9B65255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5862269" y="3577720"/>
                <a:ext cx="457200" cy="241657"/>
              </a:xfrm>
              <a:prstGeom prst="rect">
                <a:avLst/>
              </a:prstGeom>
              <a:solidFill>
                <a:srgbClr val="463668"/>
              </a:solidFill>
              <a:ln>
                <a:noFill/>
              </a:ln>
            </p:spPr>
            <p:txBody>
              <a:bodyPr wrap="square" lIns="91440" tIns="0" rIns="0" bIns="9144" rtlCol="0" anchor="ctr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 marL="0" marR="0" lvl="1" indent="0" defTabSz="93278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Tx/>
                  <a:buNone/>
                  <a:tabLst/>
                  <a:defRPr sz="900" b="1">
                    <a:ln w="3175">
                      <a:noFill/>
                    </a:ln>
                    <a:gradFill>
                      <a:gsLst>
                        <a:gs pos="90826">
                          <a:srgbClr val="FFFFFF"/>
                        </a:gs>
                        <a:gs pos="65000">
                          <a:srgbClr val="FFFFFF"/>
                        </a:gs>
                      </a:gsLst>
                      <a:path path="circle">
                        <a:fillToRect l="100000" t="100000"/>
                      </a:path>
                    </a:gradFill>
                    <a:latin typeface="Segoe UI Variable Display Semibold" pitchFamily="2" charset="0"/>
                    <a:cs typeface="Segoe UI" pitchFamily="34" charset="0"/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lvl="1"/>
                <a:endParaRPr lang="en-CA"/>
              </a:p>
            </p:txBody>
          </p:sp>
          <p:sp>
            <p:nvSpPr>
              <p:cNvPr id="177" name="TextBox 176">
                <a:extLst>
                  <a:ext uri="{FF2B5EF4-FFF2-40B4-BE49-F238E27FC236}">
                    <a16:creationId xmlns:a16="http://schemas.microsoft.com/office/drawing/2014/main" id="{B02AFDCE-B53D-B932-95EE-77552AEBB3E6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6337757" y="3577720"/>
                <a:ext cx="457200" cy="241657"/>
              </a:xfrm>
              <a:prstGeom prst="rect">
                <a:avLst/>
              </a:prstGeom>
              <a:solidFill>
                <a:srgbClr val="73262F"/>
              </a:solidFill>
              <a:ln>
                <a:noFill/>
              </a:ln>
            </p:spPr>
            <p:txBody>
              <a:bodyPr wrap="square" lIns="91440" tIns="0" rIns="0" bIns="9144" rtlCol="0" anchor="ctr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 marL="0" marR="0" lvl="1" indent="0" defTabSz="93278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Tx/>
                  <a:buNone/>
                  <a:tabLst/>
                  <a:defRPr sz="900" b="1">
                    <a:ln w="3175">
                      <a:noFill/>
                    </a:ln>
                    <a:gradFill>
                      <a:gsLst>
                        <a:gs pos="90826">
                          <a:srgbClr val="FFFFFF"/>
                        </a:gs>
                        <a:gs pos="65000">
                          <a:srgbClr val="FFFFFF"/>
                        </a:gs>
                      </a:gsLst>
                      <a:path path="circle">
                        <a:fillToRect l="100000" t="100000"/>
                      </a:path>
                    </a:gradFill>
                    <a:latin typeface="Segoe UI Variable Display Semibold" pitchFamily="2" charset="0"/>
                    <a:cs typeface="Segoe UI" pitchFamily="34" charset="0"/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lvl="1"/>
                <a:endParaRPr lang="en-CA"/>
              </a:p>
            </p:txBody>
          </p:sp>
          <p:sp>
            <p:nvSpPr>
              <p:cNvPr id="178" name="TextBox 177">
                <a:extLst>
                  <a:ext uri="{FF2B5EF4-FFF2-40B4-BE49-F238E27FC236}">
                    <a16:creationId xmlns:a16="http://schemas.microsoft.com/office/drawing/2014/main" id="{F28177BD-89DA-47A8-7914-D0954DD0AEFB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 flipH="1">
                <a:off x="16337757" y="3577720"/>
                <a:ext cx="457200" cy="241657"/>
              </a:xfrm>
              <a:prstGeom prst="rtTriangle">
                <a:avLst/>
              </a:prstGeom>
              <a:solidFill>
                <a:srgbClr val="FFD9DD"/>
              </a:solidFill>
              <a:ln>
                <a:noFill/>
              </a:ln>
            </p:spPr>
            <p:txBody>
              <a:bodyPr wrap="square" lIns="91440" tIns="0" rIns="0" bIns="9144" rtlCol="0" anchor="ctr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 marL="0" marR="0" lvl="1" indent="0" defTabSz="93278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Tx/>
                  <a:buNone/>
                  <a:tabLst/>
                  <a:defRPr sz="900" b="1">
                    <a:ln w="3175">
                      <a:noFill/>
                    </a:ln>
                    <a:gradFill>
                      <a:gsLst>
                        <a:gs pos="9174">
                          <a:schemeClr val="tx1"/>
                        </a:gs>
                        <a:gs pos="42000">
                          <a:schemeClr val="tx1"/>
                        </a:gs>
                      </a:gsLst>
                      <a:path path="circle">
                        <a:fillToRect l="100000" t="100000"/>
                      </a:path>
                    </a:gradFill>
                    <a:latin typeface="Segoe UI Variable Display Semibold" pitchFamily="2" charset="0"/>
                    <a:cs typeface="Segoe UI" pitchFamily="34" charset="0"/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lvl="1"/>
                <a:endParaRPr lang="en-CA"/>
              </a:p>
            </p:txBody>
          </p:sp>
          <p:sp>
            <p:nvSpPr>
              <p:cNvPr id="179" name="TextBox 178">
                <a:extLst>
                  <a:ext uri="{FF2B5EF4-FFF2-40B4-BE49-F238E27FC236}">
                    <a16:creationId xmlns:a16="http://schemas.microsoft.com/office/drawing/2014/main" id="{58E7676F-29D7-921E-1B02-02CFB8A3CCA0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 flipH="1">
                <a:off x="15862269" y="3577720"/>
                <a:ext cx="457200" cy="241657"/>
              </a:xfrm>
              <a:prstGeom prst="rtTriangle">
                <a:avLst/>
              </a:prstGeom>
              <a:solidFill>
                <a:srgbClr val="EACEEB"/>
              </a:solidFill>
              <a:ln>
                <a:noFill/>
              </a:ln>
            </p:spPr>
            <p:txBody>
              <a:bodyPr wrap="square" lIns="91440" tIns="0" rIns="0" bIns="9144" rtlCol="0" anchor="ctr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 marL="0" marR="0" lvl="1" indent="0" defTabSz="93278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Tx/>
                  <a:buNone/>
                  <a:tabLst/>
                  <a:defRPr sz="900" b="1">
                    <a:ln w="3175">
                      <a:noFill/>
                    </a:ln>
                    <a:gradFill>
                      <a:gsLst>
                        <a:gs pos="9174">
                          <a:schemeClr val="tx1"/>
                        </a:gs>
                        <a:gs pos="42000">
                          <a:schemeClr val="tx1"/>
                        </a:gs>
                      </a:gsLst>
                      <a:path path="circle">
                        <a:fillToRect l="100000" t="100000"/>
                      </a:path>
                    </a:gradFill>
                    <a:latin typeface="Segoe UI Variable Display Semibold" pitchFamily="2" charset="0"/>
                    <a:cs typeface="Segoe UI" pitchFamily="34" charset="0"/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lvl="1"/>
                <a:endParaRPr lang="en-CA"/>
              </a:p>
            </p:txBody>
          </p:sp>
          <p:sp>
            <p:nvSpPr>
              <p:cNvPr id="180" name="TextBox 179">
                <a:extLst>
                  <a:ext uri="{FF2B5EF4-FFF2-40B4-BE49-F238E27FC236}">
                    <a16:creationId xmlns:a16="http://schemas.microsoft.com/office/drawing/2014/main" id="{A7545FB8-9AE6-6DDB-EC1F-90CCCAFD3912}"/>
                  </a:ext>
                </a:extLst>
              </p:cNvPr>
              <p:cNvSpPr txBox="1"/>
              <p:nvPr/>
            </p:nvSpPr>
            <p:spPr>
              <a:xfrm>
                <a:off x="16813245" y="3453123"/>
                <a:ext cx="592763" cy="366254"/>
              </a:xfrm>
              <a:prstGeom prst="rect">
                <a:avLst/>
              </a:prstGeom>
              <a:noFill/>
            </p:spPr>
            <p:txBody>
              <a:bodyPr wrap="square" lIns="0" tIns="0" rIns="0" bIns="256032" rtlCol="0" anchor="b" anchorCtr="0">
                <a:spAutoFit/>
              </a:bodyPr>
              <a:lstStyle>
                <a:defPPr>
                  <a:defRPr lang="en-US"/>
                </a:defPPr>
                <a:lvl1pPr>
                  <a:defRPr sz="700" b="1">
                    <a:ln w="3175">
                      <a:noFill/>
                    </a:ln>
                    <a:gradFill>
                      <a:gsLst>
                        <a:gs pos="9174">
                          <a:schemeClr val="tx1"/>
                        </a:gs>
                        <a:gs pos="42000">
                          <a:schemeClr val="tx1"/>
                        </a:gs>
                      </a:gsLst>
                      <a:path path="circle">
                        <a:fillToRect l="100000" t="100000"/>
                      </a:path>
                    </a:gradFill>
                    <a:latin typeface="Segoe UI Variable Display Semibold" pitchFamily="2" charset="0"/>
                    <a:cs typeface="Segoe UI" pitchFamily="34" charset="0"/>
                  </a:defRPr>
                </a:lvl1pPr>
              </a:lstStyle>
              <a:p>
                <a:r>
                  <a:rPr lang="en-US"/>
                  <a:t>Light overlay</a:t>
                </a:r>
              </a:p>
            </p:txBody>
          </p:sp>
          <p:sp>
            <p:nvSpPr>
              <p:cNvPr id="181" name="TextBox 180">
                <a:extLst>
                  <a:ext uri="{FF2B5EF4-FFF2-40B4-BE49-F238E27FC236}">
                    <a16:creationId xmlns:a16="http://schemas.microsoft.com/office/drawing/2014/main" id="{64BC0985-84B1-4D07-0EE4-78B3AA51DDA8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7288733" y="3577720"/>
                <a:ext cx="457200" cy="241657"/>
              </a:xfrm>
              <a:prstGeom prst="rect">
                <a:avLst/>
              </a:prstGeom>
              <a:solidFill>
                <a:srgbClr val="FFD9DD"/>
              </a:solidFill>
              <a:ln>
                <a:noFill/>
              </a:ln>
            </p:spPr>
            <p:txBody>
              <a:bodyPr wrap="square" lIns="91440" tIns="0" rIns="0" bIns="9144" rtlCol="0" anchor="ctr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 marL="0" marR="0" lvl="1" indent="0" defTabSz="93278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Tx/>
                  <a:buNone/>
                  <a:tabLst/>
                  <a:defRPr sz="900" b="1">
                    <a:ln w="3175">
                      <a:noFill/>
                    </a:ln>
                    <a:gradFill>
                      <a:gsLst>
                        <a:gs pos="9174">
                          <a:schemeClr val="tx1"/>
                        </a:gs>
                        <a:gs pos="42000">
                          <a:schemeClr val="tx1"/>
                        </a:gs>
                      </a:gsLst>
                      <a:path path="circle">
                        <a:fillToRect l="100000" t="100000"/>
                      </a:path>
                    </a:gradFill>
                    <a:latin typeface="Segoe UI Variable Display Semibold" pitchFamily="2" charset="0"/>
                    <a:cs typeface="Segoe UI" pitchFamily="34" charset="0"/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lvl="1"/>
                <a:endParaRPr lang="en-CA"/>
              </a:p>
            </p:txBody>
          </p:sp>
          <p:sp>
            <p:nvSpPr>
              <p:cNvPr id="182" name="TextBox 181">
                <a:extLst>
                  <a:ext uri="{FF2B5EF4-FFF2-40B4-BE49-F238E27FC236}">
                    <a16:creationId xmlns:a16="http://schemas.microsoft.com/office/drawing/2014/main" id="{D98BD525-F4BF-B630-411C-368D2B25BB69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6813245" y="3577720"/>
                <a:ext cx="457200" cy="241657"/>
              </a:xfrm>
              <a:prstGeom prst="rect">
                <a:avLst/>
              </a:prstGeom>
              <a:solidFill>
                <a:srgbClr val="EACEEB"/>
              </a:solidFill>
              <a:ln>
                <a:noFill/>
              </a:ln>
            </p:spPr>
            <p:txBody>
              <a:bodyPr wrap="square" lIns="91440" tIns="0" rIns="0" bIns="9144" rtlCol="0" anchor="ctr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 marL="0" marR="0" lvl="1" indent="0" defTabSz="93278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Tx/>
                  <a:buNone/>
                  <a:tabLst/>
                  <a:defRPr sz="900" b="1">
                    <a:ln w="3175">
                      <a:noFill/>
                    </a:ln>
                    <a:gradFill>
                      <a:gsLst>
                        <a:gs pos="9174">
                          <a:schemeClr val="tx1"/>
                        </a:gs>
                        <a:gs pos="42000">
                          <a:schemeClr val="tx1"/>
                        </a:gs>
                      </a:gsLst>
                      <a:path path="circle">
                        <a:fillToRect l="100000" t="100000"/>
                      </a:path>
                    </a:gradFill>
                    <a:latin typeface="Segoe UI Variable Display Semibold" pitchFamily="2" charset="0"/>
                    <a:cs typeface="Segoe UI" pitchFamily="34" charset="0"/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lvl="1"/>
                <a:endParaRPr lang="en-CA"/>
              </a:p>
            </p:txBody>
          </p:sp>
          <p:sp>
            <p:nvSpPr>
              <p:cNvPr id="183" name="TextBox 182">
                <a:extLst>
                  <a:ext uri="{FF2B5EF4-FFF2-40B4-BE49-F238E27FC236}">
                    <a16:creationId xmlns:a16="http://schemas.microsoft.com/office/drawing/2014/main" id="{757FAF61-C015-67CD-07A9-ADC2932F1101}"/>
                  </a:ext>
                </a:extLst>
              </p:cNvPr>
              <p:cNvSpPr txBox="1"/>
              <p:nvPr/>
            </p:nvSpPr>
            <p:spPr>
              <a:xfrm>
                <a:off x="17764221" y="3453123"/>
                <a:ext cx="546261" cy="366254"/>
              </a:xfrm>
              <a:prstGeom prst="rect">
                <a:avLst/>
              </a:prstGeom>
              <a:noFill/>
            </p:spPr>
            <p:txBody>
              <a:bodyPr wrap="square" lIns="0" tIns="0" rIns="0" bIns="256032" rtlCol="0" anchor="b" anchorCtr="0">
                <a:spAutoFit/>
              </a:bodyPr>
              <a:lstStyle>
                <a:defPPr>
                  <a:defRPr lang="en-US"/>
                </a:defPPr>
                <a:lvl1pPr>
                  <a:defRPr sz="700" b="1">
                    <a:ln w="3175">
                      <a:noFill/>
                    </a:ln>
                    <a:gradFill>
                      <a:gsLst>
                        <a:gs pos="9174">
                          <a:schemeClr val="tx1"/>
                        </a:gs>
                        <a:gs pos="42000">
                          <a:schemeClr val="tx1"/>
                        </a:gs>
                      </a:gsLst>
                      <a:path path="circle">
                        <a:fillToRect l="100000" t="100000"/>
                      </a:path>
                    </a:gradFill>
                    <a:latin typeface="Segoe UI Variable Display Semibold" pitchFamily="2" charset="0"/>
                    <a:cs typeface="Segoe UI" pitchFamily="34" charset="0"/>
                  </a:defRPr>
                </a:lvl1pPr>
              </a:lstStyle>
              <a:p>
                <a:r>
                  <a:rPr lang="en-US"/>
                  <a:t>Dark overlay</a:t>
                </a:r>
              </a:p>
            </p:txBody>
          </p:sp>
          <p:sp>
            <p:nvSpPr>
              <p:cNvPr id="184" name="TextBox 183">
                <a:extLst>
                  <a:ext uri="{FF2B5EF4-FFF2-40B4-BE49-F238E27FC236}">
                    <a16:creationId xmlns:a16="http://schemas.microsoft.com/office/drawing/2014/main" id="{091FFC74-2F30-08C4-FD14-A5B7886A5FE0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7764221" y="3577720"/>
                <a:ext cx="457200" cy="241657"/>
              </a:xfrm>
              <a:prstGeom prst="rect">
                <a:avLst/>
              </a:prstGeom>
              <a:solidFill>
                <a:srgbClr val="463668"/>
              </a:solidFill>
              <a:ln>
                <a:noFill/>
              </a:ln>
            </p:spPr>
            <p:txBody>
              <a:bodyPr wrap="square" lIns="91440" tIns="0" rIns="0" bIns="9144" rtlCol="0" anchor="ctr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 marL="0" marR="0" lvl="1" indent="0" defTabSz="93278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Tx/>
                  <a:buNone/>
                  <a:tabLst/>
                  <a:defRPr sz="900" b="1">
                    <a:ln w="3175">
                      <a:noFill/>
                    </a:ln>
                    <a:gradFill>
                      <a:gsLst>
                        <a:gs pos="90826">
                          <a:srgbClr val="FFFFFF"/>
                        </a:gs>
                        <a:gs pos="65000">
                          <a:srgbClr val="FFFFFF"/>
                        </a:gs>
                      </a:gsLst>
                      <a:path path="circle">
                        <a:fillToRect l="100000" t="100000"/>
                      </a:path>
                    </a:gradFill>
                    <a:latin typeface="Segoe UI Variable Display Semibold" pitchFamily="2" charset="0"/>
                    <a:cs typeface="Segoe UI" pitchFamily="34" charset="0"/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lvl="1"/>
                <a:endParaRPr lang="en-CA"/>
              </a:p>
            </p:txBody>
          </p:sp>
          <p:sp>
            <p:nvSpPr>
              <p:cNvPr id="185" name="TextBox 184">
                <a:extLst>
                  <a:ext uri="{FF2B5EF4-FFF2-40B4-BE49-F238E27FC236}">
                    <a16:creationId xmlns:a16="http://schemas.microsoft.com/office/drawing/2014/main" id="{23BECB4D-14BD-E696-CA41-C4C34F6505C0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8239709" y="3577720"/>
                <a:ext cx="457200" cy="241657"/>
              </a:xfrm>
              <a:prstGeom prst="rect">
                <a:avLst/>
              </a:prstGeom>
              <a:solidFill>
                <a:srgbClr val="73262F"/>
              </a:solidFill>
              <a:ln>
                <a:noFill/>
              </a:ln>
            </p:spPr>
            <p:txBody>
              <a:bodyPr wrap="square" lIns="91440" tIns="0" rIns="0" bIns="9144" rtlCol="0" anchor="ctr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 marL="0" marR="0" lvl="1" indent="0" defTabSz="93278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Tx/>
                  <a:buNone/>
                  <a:tabLst/>
                  <a:defRPr sz="900" b="1">
                    <a:ln w="3175">
                      <a:noFill/>
                    </a:ln>
                    <a:gradFill>
                      <a:gsLst>
                        <a:gs pos="90826">
                          <a:srgbClr val="FFFFFF"/>
                        </a:gs>
                        <a:gs pos="65000">
                          <a:srgbClr val="FFFFFF"/>
                        </a:gs>
                      </a:gsLst>
                      <a:path path="circle">
                        <a:fillToRect l="100000" t="100000"/>
                      </a:path>
                    </a:gradFill>
                    <a:latin typeface="Segoe UI Variable Display Semibold" pitchFamily="2" charset="0"/>
                    <a:cs typeface="Segoe UI" pitchFamily="34" charset="0"/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lvl="1"/>
                <a:endParaRPr lang="en-CA"/>
              </a:p>
            </p:txBody>
          </p:sp>
          <p:sp>
            <p:nvSpPr>
              <p:cNvPr id="186" name="TextBox 185">
                <a:extLst>
                  <a:ext uri="{FF2B5EF4-FFF2-40B4-BE49-F238E27FC236}">
                    <a16:creationId xmlns:a16="http://schemas.microsoft.com/office/drawing/2014/main" id="{ED7B0B47-463B-0A11-308E-DC1B2E26A267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5862269" y="3171361"/>
                <a:ext cx="457200" cy="241657"/>
              </a:xfrm>
              <a:prstGeom prst="rect">
                <a:avLst/>
              </a:prstGeom>
              <a:solidFill>
                <a:srgbClr val="AC35AF"/>
              </a:solidFill>
              <a:ln>
                <a:noFill/>
              </a:ln>
            </p:spPr>
            <p:txBody>
              <a:bodyPr wrap="square" lIns="45720" tIns="18288" rIns="0" bIns="0" rtlCol="0" anchor="t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>
                  <a:defRPr>
                    <a:solidFill>
                      <a:schemeClr val="tx1"/>
                    </a:solidFill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marL="0" marR="0" lvl="1" indent="0" algn="l" defTabSz="932780" rtl="0" eaLnBrk="1" fontAlgn="auto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Tx/>
                  <a:buNone/>
                  <a:tabLst/>
                  <a:defRPr/>
                </a:pPr>
                <a:endParaRPr lang="en-CA" sz="600" b="1">
                  <a:ln w="3175">
                    <a:noFill/>
                  </a:ln>
                  <a:gradFill>
                    <a:gsLst>
                      <a:gs pos="90826">
                        <a:srgbClr val="FFFFFF"/>
                      </a:gs>
                      <a:gs pos="65000">
                        <a:srgbClr val="FFFFFF"/>
                      </a:gs>
                    </a:gsLst>
                    <a:path path="circle">
                      <a:fillToRect l="100000" t="100000"/>
                    </a:path>
                  </a:gradFill>
                  <a:latin typeface="Segoe UI Variable Display Semibold" pitchFamily="2" charset="0"/>
                  <a:cs typeface="Segoe UI" pitchFamily="34" charset="0"/>
                </a:endParaRPr>
              </a:p>
            </p:txBody>
          </p:sp>
          <p:sp>
            <p:nvSpPr>
              <p:cNvPr id="187" name="TextBox 186">
                <a:extLst>
                  <a:ext uri="{FF2B5EF4-FFF2-40B4-BE49-F238E27FC236}">
                    <a16:creationId xmlns:a16="http://schemas.microsoft.com/office/drawing/2014/main" id="{E8BBBBC1-194D-88A4-96DB-7EA7DB82D0CD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6337757" y="3171361"/>
                <a:ext cx="457200" cy="241657"/>
              </a:xfrm>
              <a:prstGeom prst="rect">
                <a:avLst/>
              </a:prstGeom>
              <a:solidFill>
                <a:srgbClr val="F65567"/>
              </a:solidFill>
              <a:ln>
                <a:noFill/>
              </a:ln>
            </p:spPr>
            <p:txBody>
              <a:bodyPr wrap="square" lIns="45720" tIns="18288" rIns="0" bIns="0" rtlCol="0" anchor="t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>
                  <a:defRPr>
                    <a:solidFill>
                      <a:schemeClr val="tx1"/>
                    </a:solidFill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marL="0" marR="0" lvl="1" indent="0" algn="l" defTabSz="932780" rtl="0" eaLnBrk="1" fontAlgn="auto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Tx/>
                  <a:buNone/>
                  <a:tabLst/>
                  <a:defRPr/>
                </a:pPr>
                <a:endParaRPr lang="en-CA" sz="600" b="1">
                  <a:ln w="3175">
                    <a:noFill/>
                  </a:ln>
                  <a:gradFill>
                    <a:gsLst>
                      <a:gs pos="90826">
                        <a:srgbClr val="FFFFFF"/>
                      </a:gs>
                      <a:gs pos="65000">
                        <a:srgbClr val="FFFFFF"/>
                      </a:gs>
                    </a:gsLst>
                    <a:path path="circle">
                      <a:fillToRect l="100000" t="100000"/>
                    </a:path>
                  </a:gradFill>
                  <a:latin typeface="Segoe UI Variable Display Semibold" pitchFamily="2" charset="0"/>
                  <a:cs typeface="Segoe UI" pitchFamily="34" charset="0"/>
                </a:endParaRPr>
              </a:p>
            </p:txBody>
          </p:sp>
          <p:sp>
            <p:nvSpPr>
              <p:cNvPr id="188" name="TextBox 187">
                <a:extLst>
                  <a:ext uri="{FF2B5EF4-FFF2-40B4-BE49-F238E27FC236}">
                    <a16:creationId xmlns:a16="http://schemas.microsoft.com/office/drawing/2014/main" id="{097B6304-4094-4369-DE4E-8C8FDFA8397C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 flipH="1">
                <a:off x="15862269" y="3171361"/>
                <a:ext cx="457200" cy="241657"/>
              </a:xfrm>
              <a:prstGeom prst="rtTriangle">
                <a:avLst/>
              </a:prstGeom>
              <a:solidFill>
                <a:srgbClr val="CA6CCD"/>
              </a:solidFill>
              <a:ln>
                <a:noFill/>
              </a:ln>
            </p:spPr>
            <p:txBody>
              <a:bodyPr wrap="square" lIns="45720" tIns="18288" rIns="0" bIns="0" rtlCol="0" anchor="t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>
                  <a:defRPr>
                    <a:solidFill>
                      <a:schemeClr val="tx1"/>
                    </a:solidFill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marL="0" lvl="1" defTabSz="932780">
                  <a:spcBef>
                    <a:spcPct val="20000"/>
                  </a:spcBef>
                  <a:buSzPct val="90000"/>
                  <a:defRPr/>
                </a:pPr>
                <a:endParaRPr lang="en-CA" sz="600" b="1">
                  <a:ln w="3175">
                    <a:noFill/>
                  </a:ln>
                  <a:gradFill>
                    <a:gsLst>
                      <a:gs pos="9174">
                        <a:schemeClr val="tx1"/>
                      </a:gs>
                      <a:gs pos="42000">
                        <a:schemeClr val="tx1"/>
                      </a:gs>
                    </a:gsLst>
                    <a:path path="circle">
                      <a:fillToRect l="100000" t="100000"/>
                    </a:path>
                  </a:gradFill>
                  <a:latin typeface="Segoe UI Variable Display Semibold" pitchFamily="2" charset="0"/>
                  <a:cs typeface="Segoe UI" pitchFamily="34" charset="0"/>
                </a:endParaRPr>
              </a:p>
            </p:txBody>
          </p:sp>
          <p:sp>
            <p:nvSpPr>
              <p:cNvPr id="189" name="TextBox 188">
                <a:extLst>
                  <a:ext uri="{FF2B5EF4-FFF2-40B4-BE49-F238E27FC236}">
                    <a16:creationId xmlns:a16="http://schemas.microsoft.com/office/drawing/2014/main" id="{71752B01-24DE-5AD7-BCF8-CA94DBAFB238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 flipH="1">
                <a:off x="16337757" y="3171361"/>
                <a:ext cx="457200" cy="241657"/>
              </a:xfrm>
              <a:prstGeom prst="rtTriangle">
                <a:avLst/>
              </a:prstGeom>
              <a:solidFill>
                <a:srgbClr val="F97483"/>
              </a:solidFill>
              <a:ln>
                <a:noFill/>
              </a:ln>
            </p:spPr>
            <p:txBody>
              <a:bodyPr wrap="square" lIns="45720" tIns="18288" rIns="0" bIns="0" rtlCol="0" anchor="t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>
                  <a:defRPr>
                    <a:solidFill>
                      <a:schemeClr val="tx1"/>
                    </a:solidFill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marL="0" lvl="1" defTabSz="932780">
                  <a:spcBef>
                    <a:spcPct val="20000"/>
                  </a:spcBef>
                  <a:buSzPct val="90000"/>
                  <a:defRPr/>
                </a:pPr>
                <a:endParaRPr lang="en-CA" sz="600" b="1">
                  <a:ln w="3175">
                    <a:noFill/>
                  </a:ln>
                  <a:gradFill>
                    <a:gsLst>
                      <a:gs pos="9174">
                        <a:schemeClr val="tx1"/>
                      </a:gs>
                      <a:gs pos="42000">
                        <a:schemeClr val="tx1"/>
                      </a:gs>
                    </a:gsLst>
                    <a:path path="circle">
                      <a:fillToRect l="100000" t="100000"/>
                    </a:path>
                  </a:gradFill>
                  <a:latin typeface="Segoe UI Variable Display Semibold" pitchFamily="2" charset="0"/>
                  <a:cs typeface="Segoe UI" pitchFamily="34" charset="0"/>
                </a:endParaRPr>
              </a:p>
            </p:txBody>
          </p:sp>
        </p:grpSp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CC16B741-CAEC-A65D-2623-3BF096C25A1C}"/>
                </a:ext>
              </a:extLst>
            </p:cNvPr>
            <p:cNvGrpSpPr/>
            <p:nvPr userDrawn="1"/>
          </p:nvGrpSpPr>
          <p:grpSpPr>
            <a:xfrm>
              <a:off x="22177344" y="4056924"/>
              <a:ext cx="2834640" cy="772614"/>
              <a:chOff x="15862269" y="4053590"/>
              <a:chExt cx="2834640" cy="772614"/>
            </a:xfrm>
          </p:grpSpPr>
          <p:sp>
            <p:nvSpPr>
              <p:cNvPr id="152" name="TextBox 151">
                <a:extLst>
                  <a:ext uri="{FF2B5EF4-FFF2-40B4-BE49-F238E27FC236}">
                    <a16:creationId xmlns:a16="http://schemas.microsoft.com/office/drawing/2014/main" id="{EB8F0342-F4C4-F592-2FEA-6D090F8501D7}"/>
                  </a:ext>
                </a:extLst>
              </p:cNvPr>
              <p:cNvSpPr txBox="1"/>
              <p:nvPr/>
            </p:nvSpPr>
            <p:spPr>
              <a:xfrm>
                <a:off x="15862269" y="4053590"/>
                <a:ext cx="365760" cy="366254"/>
              </a:xfrm>
              <a:prstGeom prst="rect">
                <a:avLst/>
              </a:prstGeom>
              <a:noFill/>
            </p:spPr>
            <p:txBody>
              <a:bodyPr wrap="square" lIns="0" tIns="0" rIns="0" bIns="256032" rtlCol="0" anchor="b" anchorCtr="0">
                <a:spAutoFit/>
              </a:bodyPr>
              <a:lstStyle/>
              <a:p>
                <a:r>
                  <a:rPr lang="en-US" sz="700" b="1">
                    <a:ln w="3175">
                      <a:noFill/>
                    </a:ln>
                    <a:gradFill>
                      <a:gsLst>
                        <a:gs pos="9174">
                          <a:schemeClr val="tx1"/>
                        </a:gs>
                        <a:gs pos="42000">
                          <a:schemeClr val="tx1"/>
                        </a:gs>
                      </a:gsLst>
                      <a:path path="circle">
                        <a:fillToRect l="100000" t="100000"/>
                      </a:path>
                    </a:gradFill>
                    <a:latin typeface="Segoe UI Variable Display Semibold" pitchFamily="2" charset="0"/>
                    <a:cs typeface="Segoe UI" pitchFamily="34" charset="0"/>
                  </a:rPr>
                  <a:t>Theme 5</a:t>
                </a:r>
              </a:p>
            </p:txBody>
          </p:sp>
          <p:sp>
            <p:nvSpPr>
              <p:cNvPr id="153" name="TextBox 152">
                <a:extLst>
                  <a:ext uri="{FF2B5EF4-FFF2-40B4-BE49-F238E27FC236}">
                    <a16:creationId xmlns:a16="http://schemas.microsoft.com/office/drawing/2014/main" id="{629D92FA-3CD3-ED56-A388-CD17902EE6B7}"/>
                  </a:ext>
                </a:extLst>
              </p:cNvPr>
              <p:cNvSpPr txBox="1"/>
              <p:nvPr/>
            </p:nvSpPr>
            <p:spPr>
              <a:xfrm>
                <a:off x="16813245" y="4053590"/>
                <a:ext cx="731520" cy="366254"/>
              </a:xfrm>
              <a:prstGeom prst="rect">
                <a:avLst/>
              </a:prstGeom>
              <a:noFill/>
            </p:spPr>
            <p:txBody>
              <a:bodyPr wrap="square" lIns="0" tIns="0" rIns="0" bIns="256032" rtlCol="0" anchor="b" anchorCtr="0">
                <a:spAutoFit/>
              </a:bodyPr>
              <a:lstStyle>
                <a:defPPr>
                  <a:defRPr lang="en-US"/>
                </a:defPPr>
                <a:lvl1pPr>
                  <a:defRPr sz="700" b="1">
                    <a:ln w="3175">
                      <a:noFill/>
                    </a:ln>
                    <a:gradFill>
                      <a:gsLst>
                        <a:gs pos="9174">
                          <a:schemeClr val="tx1"/>
                        </a:gs>
                        <a:gs pos="42000">
                          <a:schemeClr val="tx1"/>
                        </a:gs>
                      </a:gsLst>
                      <a:path path="circle">
                        <a:fillToRect l="100000" t="100000"/>
                      </a:path>
                    </a:gradFill>
                    <a:latin typeface="Segoe UI Variable Display Semibold" pitchFamily="2" charset="0"/>
                    <a:cs typeface="Segoe UI" pitchFamily="34" charset="0"/>
                  </a:defRPr>
                </a:lvl1pPr>
              </a:lstStyle>
              <a:p>
                <a:r>
                  <a:rPr lang="en-US"/>
                  <a:t>Colored header</a:t>
                </a:r>
              </a:p>
            </p:txBody>
          </p:sp>
          <p:sp>
            <p:nvSpPr>
              <p:cNvPr id="154" name="TextBox 153">
                <a:extLst>
                  <a:ext uri="{FF2B5EF4-FFF2-40B4-BE49-F238E27FC236}">
                    <a16:creationId xmlns:a16="http://schemas.microsoft.com/office/drawing/2014/main" id="{C383E89E-3F8E-BC6F-C6F4-4CDA7610C901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6813245" y="4178188"/>
                <a:ext cx="457200" cy="241657"/>
              </a:xfrm>
              <a:prstGeom prst="rect">
                <a:avLst/>
              </a:prstGeom>
              <a:solidFill>
                <a:srgbClr val="112D31"/>
              </a:solidFill>
              <a:ln>
                <a:noFill/>
              </a:ln>
            </p:spPr>
            <p:txBody>
              <a:bodyPr wrap="square" lIns="91440" tIns="0" rIns="0" bIns="9144" rtlCol="0" anchor="ctr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 marL="0" lvl="1" defTabSz="932780">
                  <a:spcBef>
                    <a:spcPct val="20000"/>
                  </a:spcBef>
                  <a:buSzPct val="90000"/>
                  <a:defRPr sz="900" b="1">
                    <a:ln w="3175">
                      <a:noFill/>
                    </a:ln>
                    <a:gradFill>
                      <a:gsLst>
                        <a:gs pos="90826">
                          <a:srgbClr val="FFFFFF"/>
                        </a:gs>
                        <a:gs pos="65000">
                          <a:srgbClr val="FFFFFF"/>
                        </a:gs>
                      </a:gsLst>
                      <a:path path="circle">
                        <a:fillToRect l="100000" t="100000"/>
                      </a:path>
                    </a:gradFill>
                    <a:latin typeface="Segoe UI Variable Display Semibold" pitchFamily="2" charset="0"/>
                    <a:cs typeface="Segoe UI" pitchFamily="34" charset="0"/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lvl="1"/>
                <a:endParaRPr lang="en-CA"/>
              </a:p>
            </p:txBody>
          </p:sp>
          <p:sp>
            <p:nvSpPr>
              <p:cNvPr id="155" name="TextBox 154">
                <a:extLst>
                  <a:ext uri="{FF2B5EF4-FFF2-40B4-BE49-F238E27FC236}">
                    <a16:creationId xmlns:a16="http://schemas.microsoft.com/office/drawing/2014/main" id="{B8DB4EE5-99A3-2A07-FA77-C01E0CE0F8C7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 flipH="1">
                <a:off x="16813245" y="4178188"/>
                <a:ext cx="457200" cy="241657"/>
              </a:xfrm>
              <a:prstGeom prst="rtTriangle">
                <a:avLst/>
              </a:prstGeom>
              <a:solidFill>
                <a:srgbClr val="B9DCD2"/>
              </a:solidFill>
              <a:ln>
                <a:noFill/>
              </a:ln>
            </p:spPr>
            <p:txBody>
              <a:bodyPr wrap="square" lIns="45720" tIns="18288" rIns="0" bIns="0" rtlCol="0" anchor="t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 marL="0" marR="0" lvl="1" indent="0" defTabSz="93278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Tx/>
                  <a:buNone/>
                  <a:tabLst/>
                  <a:defRPr sz="600" b="1">
                    <a:ln w="3175">
                      <a:noFill/>
                    </a:ln>
                    <a:gradFill>
                      <a:gsLst>
                        <a:gs pos="90826">
                          <a:srgbClr val="FFFFFF"/>
                        </a:gs>
                        <a:gs pos="65000">
                          <a:srgbClr val="FFFFFF"/>
                        </a:gs>
                      </a:gsLst>
                      <a:path path="circle">
                        <a:fillToRect l="100000" t="100000"/>
                      </a:path>
                    </a:gradFill>
                    <a:latin typeface="Segoe UI Variable Display Semibold" pitchFamily="2" charset="0"/>
                    <a:cs typeface="Segoe UI" pitchFamily="34" charset="0"/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lvl="1"/>
                <a:endParaRPr lang="en-CA"/>
              </a:p>
            </p:txBody>
          </p:sp>
          <p:sp>
            <p:nvSpPr>
              <p:cNvPr id="156" name="TextBox 155">
                <a:extLst>
                  <a:ext uri="{FF2B5EF4-FFF2-40B4-BE49-F238E27FC236}">
                    <a16:creationId xmlns:a16="http://schemas.microsoft.com/office/drawing/2014/main" id="{F8E98ECF-6668-A35C-3E01-1EAB5FC23272}"/>
                  </a:ext>
                </a:extLst>
              </p:cNvPr>
              <p:cNvSpPr txBox="1"/>
              <p:nvPr/>
            </p:nvSpPr>
            <p:spPr>
              <a:xfrm>
                <a:off x="15862269" y="4459950"/>
                <a:ext cx="546261" cy="366254"/>
              </a:xfrm>
              <a:prstGeom prst="rect">
                <a:avLst/>
              </a:prstGeom>
              <a:noFill/>
            </p:spPr>
            <p:txBody>
              <a:bodyPr wrap="square" lIns="0" tIns="0" rIns="0" bIns="256032" rtlCol="0" anchor="b" anchorCtr="0">
                <a:spAutoFit/>
              </a:bodyPr>
              <a:lstStyle>
                <a:defPPr>
                  <a:defRPr lang="en-US"/>
                </a:defPPr>
                <a:lvl1pPr>
                  <a:defRPr sz="700" b="1">
                    <a:ln w="3175">
                      <a:noFill/>
                    </a:ln>
                    <a:gradFill>
                      <a:gsLst>
                        <a:gs pos="9174">
                          <a:schemeClr val="tx1"/>
                        </a:gs>
                        <a:gs pos="42000">
                          <a:schemeClr val="tx1"/>
                        </a:gs>
                      </a:gsLst>
                      <a:path path="circle">
                        <a:fillToRect l="100000" t="100000"/>
                      </a:path>
                    </a:gradFill>
                    <a:latin typeface="Segoe UI Variable Display Semibold" pitchFamily="2" charset="0"/>
                    <a:cs typeface="Segoe UI" pitchFamily="34" charset="0"/>
                  </a:defRPr>
                </a:lvl1pPr>
              </a:lstStyle>
              <a:p>
                <a:r>
                  <a:rPr lang="en-US"/>
                  <a:t>Container</a:t>
                </a:r>
              </a:p>
            </p:txBody>
          </p:sp>
          <p:sp>
            <p:nvSpPr>
              <p:cNvPr id="157" name="TextBox 156">
                <a:extLst>
                  <a:ext uri="{FF2B5EF4-FFF2-40B4-BE49-F238E27FC236}">
                    <a16:creationId xmlns:a16="http://schemas.microsoft.com/office/drawing/2014/main" id="{583DD6B9-BEB6-1A8D-21EC-A496E788E343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5862269" y="4584547"/>
                <a:ext cx="457200" cy="241657"/>
              </a:xfrm>
              <a:prstGeom prst="rect">
                <a:avLst/>
              </a:prstGeom>
              <a:solidFill>
                <a:srgbClr val="225B62"/>
              </a:solidFill>
              <a:ln>
                <a:noFill/>
              </a:ln>
            </p:spPr>
            <p:txBody>
              <a:bodyPr wrap="square" lIns="91440" tIns="0" rIns="0" bIns="9144" rtlCol="0" anchor="ctr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 marL="0" marR="0" lvl="1" indent="0" defTabSz="93278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Tx/>
                  <a:buNone/>
                  <a:tabLst/>
                  <a:defRPr sz="900" b="1">
                    <a:ln w="3175">
                      <a:noFill/>
                    </a:ln>
                    <a:gradFill>
                      <a:gsLst>
                        <a:gs pos="90826">
                          <a:srgbClr val="FFFFFF"/>
                        </a:gs>
                        <a:gs pos="65000">
                          <a:srgbClr val="FFFFFF"/>
                        </a:gs>
                      </a:gsLst>
                      <a:path path="circle">
                        <a:fillToRect l="100000" t="100000"/>
                      </a:path>
                    </a:gradFill>
                    <a:latin typeface="Segoe UI Variable Display Semibold" pitchFamily="2" charset="0"/>
                    <a:cs typeface="Segoe UI" pitchFamily="34" charset="0"/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lvl="1"/>
                <a:endParaRPr lang="en-CA"/>
              </a:p>
            </p:txBody>
          </p:sp>
          <p:sp>
            <p:nvSpPr>
              <p:cNvPr id="158" name="TextBox 157">
                <a:extLst>
                  <a:ext uri="{FF2B5EF4-FFF2-40B4-BE49-F238E27FC236}">
                    <a16:creationId xmlns:a16="http://schemas.microsoft.com/office/drawing/2014/main" id="{7EE18A98-523B-AE0C-B864-89DB5FDDC4CD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6337757" y="4584547"/>
                <a:ext cx="457200" cy="241657"/>
              </a:xfrm>
              <a:prstGeom prst="rect">
                <a:avLst/>
              </a:prstGeom>
              <a:solidFill>
                <a:srgbClr val="7F5A1A"/>
              </a:solidFill>
              <a:ln>
                <a:noFill/>
              </a:ln>
            </p:spPr>
            <p:txBody>
              <a:bodyPr wrap="square" lIns="91440" tIns="0" rIns="0" bIns="9144" rtlCol="0" anchor="ctr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 marL="0" marR="0" lvl="1" indent="0" defTabSz="93278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Tx/>
                  <a:buNone/>
                  <a:tabLst/>
                  <a:defRPr sz="900" b="1">
                    <a:ln w="3175">
                      <a:noFill/>
                    </a:ln>
                    <a:gradFill>
                      <a:gsLst>
                        <a:gs pos="90826">
                          <a:srgbClr val="FFFFFF"/>
                        </a:gs>
                        <a:gs pos="65000">
                          <a:srgbClr val="FFFFFF"/>
                        </a:gs>
                      </a:gsLst>
                      <a:path path="circle">
                        <a:fillToRect l="100000" t="100000"/>
                      </a:path>
                    </a:gradFill>
                    <a:latin typeface="Segoe UI Variable Display Semibold" pitchFamily="2" charset="0"/>
                    <a:cs typeface="Segoe UI" pitchFamily="34" charset="0"/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lvl="1"/>
                <a:endParaRPr lang="en-CA"/>
              </a:p>
            </p:txBody>
          </p:sp>
          <p:sp>
            <p:nvSpPr>
              <p:cNvPr id="159" name="TextBox 158">
                <a:extLst>
                  <a:ext uri="{FF2B5EF4-FFF2-40B4-BE49-F238E27FC236}">
                    <a16:creationId xmlns:a16="http://schemas.microsoft.com/office/drawing/2014/main" id="{B38917F8-10F8-A485-78E7-1F1B37B649B8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 flipH="1">
                <a:off x="16337757" y="4584547"/>
                <a:ext cx="457200" cy="241657"/>
              </a:xfrm>
              <a:prstGeom prst="rtTriangle">
                <a:avLst/>
              </a:prstGeom>
              <a:solidFill>
                <a:srgbClr val="FFF8E5"/>
              </a:solidFill>
              <a:ln>
                <a:noFill/>
              </a:ln>
            </p:spPr>
            <p:txBody>
              <a:bodyPr wrap="square" lIns="91440" tIns="0" rIns="0" bIns="9144" rtlCol="0" anchor="ctr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 marL="0" marR="0" lvl="1" indent="0" defTabSz="93278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Tx/>
                  <a:buNone/>
                  <a:tabLst/>
                  <a:defRPr sz="900" b="1">
                    <a:ln w="3175">
                      <a:noFill/>
                    </a:ln>
                    <a:gradFill>
                      <a:gsLst>
                        <a:gs pos="9174">
                          <a:schemeClr val="tx1"/>
                        </a:gs>
                        <a:gs pos="42000">
                          <a:schemeClr val="tx1"/>
                        </a:gs>
                      </a:gsLst>
                      <a:path path="circle">
                        <a:fillToRect l="100000" t="100000"/>
                      </a:path>
                    </a:gradFill>
                    <a:latin typeface="Segoe UI Variable Display Semibold" pitchFamily="2" charset="0"/>
                    <a:cs typeface="Segoe UI" pitchFamily="34" charset="0"/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lvl="1"/>
                <a:endParaRPr lang="en-CA"/>
              </a:p>
            </p:txBody>
          </p:sp>
          <p:sp>
            <p:nvSpPr>
              <p:cNvPr id="160" name="TextBox 159">
                <a:extLst>
                  <a:ext uri="{FF2B5EF4-FFF2-40B4-BE49-F238E27FC236}">
                    <a16:creationId xmlns:a16="http://schemas.microsoft.com/office/drawing/2014/main" id="{5EFEF95A-96A7-167F-612D-A28EE8323097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 flipH="1">
                <a:off x="15862269" y="4584547"/>
                <a:ext cx="457200" cy="241657"/>
              </a:xfrm>
              <a:prstGeom prst="rtTriangle">
                <a:avLst/>
              </a:prstGeom>
              <a:solidFill>
                <a:srgbClr val="DCEDE8"/>
              </a:solidFill>
              <a:ln>
                <a:noFill/>
              </a:ln>
            </p:spPr>
            <p:txBody>
              <a:bodyPr wrap="square" lIns="91440" tIns="0" rIns="0" bIns="9144" rtlCol="0" anchor="ctr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 marL="0" marR="0" lvl="1" indent="0" defTabSz="93278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Tx/>
                  <a:buNone/>
                  <a:tabLst/>
                  <a:defRPr sz="900" b="1">
                    <a:ln w="3175">
                      <a:noFill/>
                    </a:ln>
                    <a:gradFill>
                      <a:gsLst>
                        <a:gs pos="9174">
                          <a:schemeClr val="tx1"/>
                        </a:gs>
                        <a:gs pos="42000">
                          <a:schemeClr val="tx1"/>
                        </a:gs>
                      </a:gsLst>
                      <a:path path="circle">
                        <a:fillToRect l="100000" t="100000"/>
                      </a:path>
                    </a:gradFill>
                    <a:latin typeface="Segoe UI Variable Display Semibold" pitchFamily="2" charset="0"/>
                    <a:cs typeface="Segoe UI" pitchFamily="34" charset="0"/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lvl="1"/>
                <a:endParaRPr lang="en-CA"/>
              </a:p>
            </p:txBody>
          </p:sp>
          <p:sp>
            <p:nvSpPr>
              <p:cNvPr id="161" name="TextBox 160">
                <a:extLst>
                  <a:ext uri="{FF2B5EF4-FFF2-40B4-BE49-F238E27FC236}">
                    <a16:creationId xmlns:a16="http://schemas.microsoft.com/office/drawing/2014/main" id="{8D2B0F78-04D2-7265-4AFB-D397909E67CD}"/>
                  </a:ext>
                </a:extLst>
              </p:cNvPr>
              <p:cNvSpPr txBox="1"/>
              <p:nvPr/>
            </p:nvSpPr>
            <p:spPr>
              <a:xfrm>
                <a:off x="16813245" y="4459950"/>
                <a:ext cx="592763" cy="366254"/>
              </a:xfrm>
              <a:prstGeom prst="rect">
                <a:avLst/>
              </a:prstGeom>
              <a:noFill/>
            </p:spPr>
            <p:txBody>
              <a:bodyPr wrap="square" lIns="0" tIns="0" rIns="0" bIns="256032" rtlCol="0" anchor="b" anchorCtr="0">
                <a:spAutoFit/>
              </a:bodyPr>
              <a:lstStyle>
                <a:defPPr>
                  <a:defRPr lang="en-US"/>
                </a:defPPr>
                <a:lvl1pPr>
                  <a:defRPr sz="700" b="1">
                    <a:ln w="3175">
                      <a:noFill/>
                    </a:ln>
                    <a:gradFill>
                      <a:gsLst>
                        <a:gs pos="9174">
                          <a:schemeClr val="tx1"/>
                        </a:gs>
                        <a:gs pos="42000">
                          <a:schemeClr val="tx1"/>
                        </a:gs>
                      </a:gsLst>
                      <a:path path="circle">
                        <a:fillToRect l="100000" t="100000"/>
                      </a:path>
                    </a:gradFill>
                    <a:latin typeface="Segoe UI Variable Display Semibold" pitchFamily="2" charset="0"/>
                    <a:cs typeface="Segoe UI" pitchFamily="34" charset="0"/>
                  </a:defRPr>
                </a:lvl1pPr>
              </a:lstStyle>
              <a:p>
                <a:r>
                  <a:rPr lang="en-US"/>
                  <a:t>Light overlay</a:t>
                </a:r>
              </a:p>
            </p:txBody>
          </p:sp>
          <p:sp>
            <p:nvSpPr>
              <p:cNvPr id="162" name="TextBox 161">
                <a:extLst>
                  <a:ext uri="{FF2B5EF4-FFF2-40B4-BE49-F238E27FC236}">
                    <a16:creationId xmlns:a16="http://schemas.microsoft.com/office/drawing/2014/main" id="{449B6931-0652-9571-CAC8-E56CBA8B739C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7288733" y="4584547"/>
                <a:ext cx="457200" cy="241657"/>
              </a:xfrm>
              <a:prstGeom prst="rect">
                <a:avLst/>
              </a:prstGeom>
              <a:solidFill>
                <a:srgbClr val="FFF8E5"/>
              </a:solidFill>
              <a:ln>
                <a:noFill/>
              </a:ln>
            </p:spPr>
            <p:txBody>
              <a:bodyPr wrap="square" lIns="91440" tIns="0" rIns="0" bIns="9144" rtlCol="0" anchor="ctr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 marL="0" marR="0" lvl="1" indent="0" defTabSz="93278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Tx/>
                  <a:buNone/>
                  <a:tabLst/>
                  <a:defRPr sz="900" b="1">
                    <a:ln w="3175">
                      <a:noFill/>
                    </a:ln>
                    <a:gradFill>
                      <a:gsLst>
                        <a:gs pos="9174">
                          <a:schemeClr val="tx1"/>
                        </a:gs>
                        <a:gs pos="42000">
                          <a:schemeClr val="tx1"/>
                        </a:gs>
                      </a:gsLst>
                      <a:path path="circle">
                        <a:fillToRect l="100000" t="100000"/>
                      </a:path>
                    </a:gradFill>
                    <a:latin typeface="Segoe UI Variable Display Semibold" pitchFamily="2" charset="0"/>
                    <a:cs typeface="Segoe UI" pitchFamily="34" charset="0"/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lvl="1"/>
                <a:endParaRPr lang="en-CA"/>
              </a:p>
            </p:txBody>
          </p:sp>
          <p:sp>
            <p:nvSpPr>
              <p:cNvPr id="163" name="TextBox 162">
                <a:extLst>
                  <a:ext uri="{FF2B5EF4-FFF2-40B4-BE49-F238E27FC236}">
                    <a16:creationId xmlns:a16="http://schemas.microsoft.com/office/drawing/2014/main" id="{65BAD5AA-42F0-3984-8AEA-3A258C095BCE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6813245" y="4584547"/>
                <a:ext cx="457200" cy="241657"/>
              </a:xfrm>
              <a:prstGeom prst="rect">
                <a:avLst/>
              </a:prstGeom>
              <a:solidFill>
                <a:srgbClr val="DCEDE8"/>
              </a:solidFill>
              <a:ln>
                <a:noFill/>
              </a:ln>
            </p:spPr>
            <p:txBody>
              <a:bodyPr wrap="square" lIns="91440" tIns="0" rIns="0" bIns="9144" rtlCol="0" anchor="ctr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 marL="0" marR="0" lvl="1" indent="0" defTabSz="93278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Tx/>
                  <a:buNone/>
                  <a:tabLst/>
                  <a:defRPr sz="900" b="1">
                    <a:ln w="3175">
                      <a:noFill/>
                    </a:ln>
                    <a:gradFill>
                      <a:gsLst>
                        <a:gs pos="9174">
                          <a:schemeClr val="tx1"/>
                        </a:gs>
                        <a:gs pos="42000">
                          <a:schemeClr val="tx1"/>
                        </a:gs>
                      </a:gsLst>
                      <a:path path="circle">
                        <a:fillToRect l="100000" t="100000"/>
                      </a:path>
                    </a:gradFill>
                    <a:latin typeface="Segoe UI Variable Display Semibold" pitchFamily="2" charset="0"/>
                    <a:cs typeface="Segoe UI" pitchFamily="34" charset="0"/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lvl="1"/>
                <a:endParaRPr lang="en-CA"/>
              </a:p>
            </p:txBody>
          </p:sp>
          <p:sp>
            <p:nvSpPr>
              <p:cNvPr id="164" name="TextBox 163">
                <a:extLst>
                  <a:ext uri="{FF2B5EF4-FFF2-40B4-BE49-F238E27FC236}">
                    <a16:creationId xmlns:a16="http://schemas.microsoft.com/office/drawing/2014/main" id="{EAFC9D74-3631-E84B-A208-BDF6F61CBDE7}"/>
                  </a:ext>
                </a:extLst>
              </p:cNvPr>
              <p:cNvSpPr txBox="1"/>
              <p:nvPr/>
            </p:nvSpPr>
            <p:spPr>
              <a:xfrm>
                <a:off x="17764221" y="4459950"/>
                <a:ext cx="546261" cy="366254"/>
              </a:xfrm>
              <a:prstGeom prst="rect">
                <a:avLst/>
              </a:prstGeom>
              <a:noFill/>
            </p:spPr>
            <p:txBody>
              <a:bodyPr wrap="square" lIns="0" tIns="0" rIns="0" bIns="256032" rtlCol="0" anchor="b" anchorCtr="0">
                <a:spAutoFit/>
              </a:bodyPr>
              <a:lstStyle>
                <a:defPPr>
                  <a:defRPr lang="en-US"/>
                </a:defPPr>
                <a:lvl1pPr>
                  <a:defRPr sz="700" b="1">
                    <a:ln w="3175">
                      <a:noFill/>
                    </a:ln>
                    <a:gradFill>
                      <a:gsLst>
                        <a:gs pos="9174">
                          <a:schemeClr val="tx1"/>
                        </a:gs>
                        <a:gs pos="42000">
                          <a:schemeClr val="tx1"/>
                        </a:gs>
                      </a:gsLst>
                      <a:path path="circle">
                        <a:fillToRect l="100000" t="100000"/>
                      </a:path>
                    </a:gradFill>
                    <a:latin typeface="Segoe UI Variable Display Semibold" pitchFamily="2" charset="0"/>
                    <a:cs typeface="Segoe UI" pitchFamily="34" charset="0"/>
                  </a:defRPr>
                </a:lvl1pPr>
              </a:lstStyle>
              <a:p>
                <a:r>
                  <a:rPr lang="en-US"/>
                  <a:t>Dark overlay</a:t>
                </a:r>
              </a:p>
            </p:txBody>
          </p:sp>
          <p:sp>
            <p:nvSpPr>
              <p:cNvPr id="165" name="TextBox 164">
                <a:extLst>
                  <a:ext uri="{FF2B5EF4-FFF2-40B4-BE49-F238E27FC236}">
                    <a16:creationId xmlns:a16="http://schemas.microsoft.com/office/drawing/2014/main" id="{F1539921-882F-C11C-7630-83A13AFDF8D8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7764221" y="4584547"/>
                <a:ext cx="457200" cy="241657"/>
              </a:xfrm>
              <a:prstGeom prst="rect">
                <a:avLst/>
              </a:prstGeom>
              <a:solidFill>
                <a:srgbClr val="225B62"/>
              </a:solidFill>
              <a:ln>
                <a:noFill/>
              </a:ln>
            </p:spPr>
            <p:txBody>
              <a:bodyPr wrap="square" lIns="91440" tIns="0" rIns="0" bIns="9144" rtlCol="0" anchor="ctr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 marL="0" marR="0" lvl="1" indent="0" defTabSz="93278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Tx/>
                  <a:buNone/>
                  <a:tabLst/>
                  <a:defRPr sz="900" b="1">
                    <a:ln w="3175">
                      <a:noFill/>
                    </a:ln>
                    <a:gradFill>
                      <a:gsLst>
                        <a:gs pos="90826">
                          <a:srgbClr val="FFFFFF"/>
                        </a:gs>
                        <a:gs pos="65000">
                          <a:srgbClr val="FFFFFF"/>
                        </a:gs>
                      </a:gsLst>
                      <a:path path="circle">
                        <a:fillToRect l="100000" t="100000"/>
                      </a:path>
                    </a:gradFill>
                    <a:latin typeface="Segoe UI Variable Display Semibold" pitchFamily="2" charset="0"/>
                    <a:cs typeface="Segoe UI" pitchFamily="34" charset="0"/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lvl="1"/>
                <a:endParaRPr lang="en-CA"/>
              </a:p>
            </p:txBody>
          </p:sp>
          <p:sp>
            <p:nvSpPr>
              <p:cNvPr id="166" name="TextBox 165">
                <a:extLst>
                  <a:ext uri="{FF2B5EF4-FFF2-40B4-BE49-F238E27FC236}">
                    <a16:creationId xmlns:a16="http://schemas.microsoft.com/office/drawing/2014/main" id="{0DDF6AEE-CDFD-DE68-6789-AE16FDC33EF7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8239709" y="4584547"/>
                <a:ext cx="457200" cy="241657"/>
              </a:xfrm>
              <a:prstGeom prst="rect">
                <a:avLst/>
              </a:prstGeom>
              <a:solidFill>
                <a:srgbClr val="7F5A1A"/>
              </a:solidFill>
              <a:ln>
                <a:noFill/>
              </a:ln>
            </p:spPr>
            <p:txBody>
              <a:bodyPr wrap="square" lIns="91440" tIns="0" rIns="0" bIns="9144" rtlCol="0" anchor="ctr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 marL="0" marR="0" lvl="1" indent="0" defTabSz="93278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Tx/>
                  <a:buNone/>
                  <a:tabLst/>
                  <a:defRPr sz="900" b="1">
                    <a:ln w="3175">
                      <a:noFill/>
                    </a:ln>
                    <a:gradFill>
                      <a:gsLst>
                        <a:gs pos="90826">
                          <a:srgbClr val="FFFFFF"/>
                        </a:gs>
                        <a:gs pos="65000">
                          <a:srgbClr val="FFFFFF"/>
                        </a:gs>
                      </a:gsLst>
                      <a:path path="circle">
                        <a:fillToRect l="100000" t="100000"/>
                      </a:path>
                    </a:gradFill>
                    <a:latin typeface="Segoe UI Variable Display Semibold" pitchFamily="2" charset="0"/>
                    <a:cs typeface="Segoe UI" pitchFamily="34" charset="0"/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lvl="1"/>
                <a:endParaRPr lang="en-CA"/>
              </a:p>
            </p:txBody>
          </p:sp>
          <p:sp>
            <p:nvSpPr>
              <p:cNvPr id="167" name="TextBox 166">
                <a:extLst>
                  <a:ext uri="{FF2B5EF4-FFF2-40B4-BE49-F238E27FC236}">
                    <a16:creationId xmlns:a16="http://schemas.microsoft.com/office/drawing/2014/main" id="{A3785F47-559D-9DB0-E7E3-8DBBFA8C9B51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5862269" y="4178188"/>
                <a:ext cx="457200" cy="241657"/>
              </a:xfrm>
              <a:prstGeom prst="rect">
                <a:avLst/>
              </a:prstGeom>
              <a:solidFill>
                <a:srgbClr val="B9DCD2"/>
              </a:solidFill>
              <a:ln>
                <a:noFill/>
              </a:ln>
            </p:spPr>
            <p:txBody>
              <a:bodyPr wrap="square" lIns="45720" tIns="18288" rIns="0" bIns="0" rtlCol="0" anchor="t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>
                  <a:defRPr>
                    <a:solidFill>
                      <a:schemeClr val="tx1"/>
                    </a:solidFill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marL="0" marR="0" lvl="1" indent="0" algn="l" defTabSz="932780" rtl="0" eaLnBrk="1" fontAlgn="auto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Tx/>
                  <a:buNone/>
                  <a:tabLst/>
                  <a:defRPr/>
                </a:pPr>
                <a:endParaRPr lang="en-CA" sz="600" b="1">
                  <a:ln w="3175">
                    <a:noFill/>
                  </a:ln>
                  <a:gradFill>
                    <a:gsLst>
                      <a:gs pos="90826">
                        <a:srgbClr val="FFFFFF"/>
                      </a:gs>
                      <a:gs pos="65000">
                        <a:srgbClr val="FFFFFF"/>
                      </a:gs>
                    </a:gsLst>
                    <a:path path="circle">
                      <a:fillToRect l="100000" t="100000"/>
                    </a:path>
                  </a:gradFill>
                  <a:latin typeface="Segoe UI Variable Display Semibold" pitchFamily="2" charset="0"/>
                  <a:cs typeface="Segoe UI" pitchFamily="34" charset="0"/>
                </a:endParaRPr>
              </a:p>
            </p:txBody>
          </p:sp>
          <p:sp>
            <p:nvSpPr>
              <p:cNvPr id="168" name="TextBox 167">
                <a:extLst>
                  <a:ext uri="{FF2B5EF4-FFF2-40B4-BE49-F238E27FC236}">
                    <a16:creationId xmlns:a16="http://schemas.microsoft.com/office/drawing/2014/main" id="{FBFDC86A-9328-3E0F-2163-DA0A0953A0EB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6337757" y="4178188"/>
                <a:ext cx="457200" cy="241657"/>
              </a:xfrm>
              <a:prstGeom prst="rect">
                <a:avLst/>
              </a:prstGeom>
              <a:solidFill>
                <a:srgbClr val="FFEAB2"/>
              </a:solidFill>
              <a:ln>
                <a:noFill/>
              </a:ln>
            </p:spPr>
            <p:txBody>
              <a:bodyPr wrap="square" lIns="45720" tIns="18288" rIns="0" bIns="0" rtlCol="0" anchor="t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>
                  <a:defRPr>
                    <a:solidFill>
                      <a:schemeClr val="tx1"/>
                    </a:solidFill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marL="0" marR="0" lvl="1" indent="0" algn="l" defTabSz="932780" rtl="0" eaLnBrk="1" fontAlgn="auto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Tx/>
                  <a:buNone/>
                  <a:tabLst/>
                  <a:defRPr/>
                </a:pPr>
                <a:endParaRPr lang="en-CA" sz="600" b="1">
                  <a:ln w="3175">
                    <a:noFill/>
                  </a:ln>
                  <a:gradFill>
                    <a:gsLst>
                      <a:gs pos="90826">
                        <a:srgbClr val="FFFFFF"/>
                      </a:gs>
                      <a:gs pos="65000">
                        <a:srgbClr val="FFFFFF"/>
                      </a:gs>
                    </a:gsLst>
                    <a:path path="circle">
                      <a:fillToRect l="100000" t="100000"/>
                    </a:path>
                  </a:gradFill>
                  <a:latin typeface="Segoe UI Variable Display Semibold" pitchFamily="2" charset="0"/>
                  <a:cs typeface="Segoe UI" pitchFamily="34" charset="0"/>
                </a:endParaRPr>
              </a:p>
            </p:txBody>
          </p:sp>
          <p:sp>
            <p:nvSpPr>
              <p:cNvPr id="169" name="TextBox 168">
                <a:extLst>
                  <a:ext uri="{FF2B5EF4-FFF2-40B4-BE49-F238E27FC236}">
                    <a16:creationId xmlns:a16="http://schemas.microsoft.com/office/drawing/2014/main" id="{8EA506F9-7DCA-EE5A-1622-6152339677E5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 flipH="1">
                <a:off x="15862269" y="4178188"/>
                <a:ext cx="457200" cy="241657"/>
              </a:xfrm>
              <a:prstGeom prst="rtTriangle">
                <a:avLst/>
              </a:prstGeom>
              <a:solidFill>
                <a:srgbClr val="225B62"/>
              </a:solidFill>
              <a:ln>
                <a:noFill/>
              </a:ln>
            </p:spPr>
            <p:txBody>
              <a:bodyPr wrap="square" lIns="45720" tIns="18288" rIns="0" bIns="0" rtlCol="0" anchor="t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>
                  <a:defRPr>
                    <a:solidFill>
                      <a:schemeClr val="tx1"/>
                    </a:solidFill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marL="0" lvl="1" defTabSz="932780">
                  <a:spcBef>
                    <a:spcPct val="20000"/>
                  </a:spcBef>
                  <a:buSzPct val="90000"/>
                  <a:defRPr/>
                </a:pPr>
                <a:endParaRPr lang="en-CA" sz="600" b="1">
                  <a:ln w="3175">
                    <a:noFill/>
                  </a:ln>
                  <a:gradFill>
                    <a:gsLst>
                      <a:gs pos="9174">
                        <a:schemeClr val="tx1"/>
                      </a:gs>
                      <a:gs pos="42000">
                        <a:schemeClr val="tx1"/>
                      </a:gs>
                    </a:gsLst>
                    <a:path path="circle">
                      <a:fillToRect l="100000" t="100000"/>
                    </a:path>
                  </a:gradFill>
                  <a:latin typeface="Segoe UI Variable Display Semibold" pitchFamily="2" charset="0"/>
                  <a:cs typeface="Segoe UI" pitchFamily="34" charset="0"/>
                </a:endParaRPr>
              </a:p>
            </p:txBody>
          </p:sp>
          <p:sp>
            <p:nvSpPr>
              <p:cNvPr id="170" name="TextBox 169">
                <a:extLst>
                  <a:ext uri="{FF2B5EF4-FFF2-40B4-BE49-F238E27FC236}">
                    <a16:creationId xmlns:a16="http://schemas.microsoft.com/office/drawing/2014/main" id="{82E91B42-D07C-86DF-6502-53644E0CF03F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 flipH="1">
                <a:off x="16337757" y="4178188"/>
                <a:ext cx="457200" cy="241657"/>
              </a:xfrm>
              <a:prstGeom prst="rtTriangle">
                <a:avLst/>
              </a:prstGeom>
              <a:solidFill>
                <a:srgbClr val="7F5A1A"/>
              </a:solidFill>
              <a:ln>
                <a:noFill/>
              </a:ln>
            </p:spPr>
            <p:txBody>
              <a:bodyPr wrap="square" lIns="45720" tIns="18288" rIns="0" bIns="0" rtlCol="0" anchor="t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>
                  <a:defRPr>
                    <a:solidFill>
                      <a:schemeClr val="tx1"/>
                    </a:solidFill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marL="0" lvl="1" defTabSz="932780">
                  <a:spcBef>
                    <a:spcPct val="20000"/>
                  </a:spcBef>
                  <a:buSzPct val="90000"/>
                  <a:defRPr/>
                </a:pPr>
                <a:endParaRPr lang="en-CA" sz="600" b="1">
                  <a:ln w="3175">
                    <a:noFill/>
                  </a:ln>
                  <a:gradFill>
                    <a:gsLst>
                      <a:gs pos="9174">
                        <a:schemeClr val="tx1"/>
                      </a:gs>
                      <a:gs pos="42000">
                        <a:schemeClr val="tx1"/>
                      </a:gs>
                    </a:gsLst>
                    <a:path path="circle">
                      <a:fillToRect l="100000" t="100000"/>
                    </a:path>
                  </a:gradFill>
                  <a:latin typeface="Segoe UI Variable Display Semibold" pitchFamily="2" charset="0"/>
                  <a:cs typeface="Segoe UI" pitchFamily="34" charset="0"/>
                </a:endParaRPr>
              </a:p>
            </p:txBody>
          </p:sp>
        </p:grp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F027A459-C28F-0CF5-D36F-6C56F2C6D7A1}"/>
                </a:ext>
              </a:extLst>
            </p:cNvPr>
            <p:cNvGrpSpPr/>
            <p:nvPr userDrawn="1"/>
          </p:nvGrpSpPr>
          <p:grpSpPr>
            <a:xfrm>
              <a:off x="22177344" y="5071155"/>
              <a:ext cx="2834640" cy="772614"/>
              <a:chOff x="15862269" y="5060417"/>
              <a:chExt cx="2834640" cy="772614"/>
            </a:xfrm>
          </p:grpSpPr>
          <p:sp>
            <p:nvSpPr>
              <p:cNvPr id="132" name="TextBox 131">
                <a:extLst>
                  <a:ext uri="{FF2B5EF4-FFF2-40B4-BE49-F238E27FC236}">
                    <a16:creationId xmlns:a16="http://schemas.microsoft.com/office/drawing/2014/main" id="{DA3F3BCD-68DD-27E9-8B31-2AD4F0053EC3}"/>
                  </a:ext>
                </a:extLst>
              </p:cNvPr>
              <p:cNvSpPr txBox="1"/>
              <p:nvPr/>
            </p:nvSpPr>
            <p:spPr>
              <a:xfrm>
                <a:off x="15862269" y="5060417"/>
                <a:ext cx="365760" cy="366254"/>
              </a:xfrm>
              <a:prstGeom prst="rect">
                <a:avLst/>
              </a:prstGeom>
              <a:noFill/>
            </p:spPr>
            <p:txBody>
              <a:bodyPr wrap="square" lIns="0" tIns="0" rIns="0" bIns="256032" rtlCol="0" anchor="b" anchorCtr="0">
                <a:spAutoFit/>
              </a:bodyPr>
              <a:lstStyle/>
              <a:p>
                <a:r>
                  <a:rPr lang="en-US" sz="700" b="1">
                    <a:ln w="3175">
                      <a:noFill/>
                    </a:ln>
                    <a:gradFill>
                      <a:gsLst>
                        <a:gs pos="9174">
                          <a:schemeClr val="tx1"/>
                        </a:gs>
                        <a:gs pos="42000">
                          <a:schemeClr val="tx1"/>
                        </a:gs>
                      </a:gsLst>
                      <a:path path="circle">
                        <a:fillToRect l="100000" t="100000"/>
                      </a:path>
                    </a:gradFill>
                    <a:latin typeface="Segoe UI Variable Display Semibold" pitchFamily="2" charset="0"/>
                    <a:cs typeface="Segoe UI" pitchFamily="34" charset="0"/>
                  </a:rPr>
                  <a:t>Theme 6</a:t>
                </a: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786B7DE9-37AA-62AA-CEEC-0A7FCFF9F0FD}"/>
                  </a:ext>
                </a:extLst>
              </p:cNvPr>
              <p:cNvSpPr txBox="1"/>
              <p:nvPr/>
            </p:nvSpPr>
            <p:spPr>
              <a:xfrm>
                <a:off x="16813245" y="5060417"/>
                <a:ext cx="731520" cy="366254"/>
              </a:xfrm>
              <a:prstGeom prst="rect">
                <a:avLst/>
              </a:prstGeom>
              <a:noFill/>
            </p:spPr>
            <p:txBody>
              <a:bodyPr wrap="square" lIns="0" tIns="0" rIns="0" bIns="256032" rtlCol="0" anchor="b" anchorCtr="0">
                <a:spAutoFit/>
              </a:bodyPr>
              <a:lstStyle>
                <a:defPPr>
                  <a:defRPr lang="en-US"/>
                </a:defPPr>
                <a:lvl1pPr>
                  <a:defRPr sz="700" b="1">
                    <a:ln w="3175">
                      <a:noFill/>
                    </a:ln>
                    <a:gradFill>
                      <a:gsLst>
                        <a:gs pos="9174">
                          <a:schemeClr val="tx1"/>
                        </a:gs>
                        <a:gs pos="42000">
                          <a:schemeClr val="tx1"/>
                        </a:gs>
                      </a:gsLst>
                      <a:path path="circle">
                        <a:fillToRect l="100000" t="100000"/>
                      </a:path>
                    </a:gradFill>
                    <a:latin typeface="Segoe UI Variable Display Semibold" pitchFamily="2" charset="0"/>
                    <a:cs typeface="Segoe UI" pitchFamily="34" charset="0"/>
                  </a:defRPr>
                </a:lvl1pPr>
              </a:lstStyle>
              <a:p>
                <a:r>
                  <a:rPr lang="en-US"/>
                  <a:t>Colored header</a:t>
                </a:r>
              </a:p>
            </p:txBody>
          </p:sp>
          <p:sp>
            <p:nvSpPr>
              <p:cNvPr id="134" name="TextBox 133">
                <a:extLst>
                  <a:ext uri="{FF2B5EF4-FFF2-40B4-BE49-F238E27FC236}">
                    <a16:creationId xmlns:a16="http://schemas.microsoft.com/office/drawing/2014/main" id="{B01E5E97-7996-6489-8716-42AF8971AE08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6813245" y="5185015"/>
                <a:ext cx="457200" cy="241657"/>
              </a:xfrm>
              <a:prstGeom prst="rect">
                <a:avLst/>
              </a:prstGeom>
              <a:solidFill>
                <a:srgbClr val="152237"/>
              </a:solidFill>
              <a:ln>
                <a:noFill/>
              </a:ln>
            </p:spPr>
            <p:txBody>
              <a:bodyPr wrap="square" lIns="91440" tIns="0" rIns="0" bIns="9144" rtlCol="0" anchor="ctr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 marL="0" lvl="1" defTabSz="932780">
                  <a:spcBef>
                    <a:spcPct val="20000"/>
                  </a:spcBef>
                  <a:buSzPct val="90000"/>
                  <a:defRPr sz="900" b="1">
                    <a:ln w="3175">
                      <a:noFill/>
                    </a:ln>
                    <a:gradFill>
                      <a:gsLst>
                        <a:gs pos="90826">
                          <a:srgbClr val="FFFFFF"/>
                        </a:gs>
                        <a:gs pos="65000">
                          <a:srgbClr val="FFFFFF"/>
                        </a:gs>
                      </a:gsLst>
                      <a:path path="circle">
                        <a:fillToRect l="100000" t="100000"/>
                      </a:path>
                    </a:gradFill>
                    <a:latin typeface="Segoe UI Variable Display Semibold" pitchFamily="2" charset="0"/>
                    <a:cs typeface="Segoe UI" pitchFamily="34" charset="0"/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lvl="1"/>
                <a:endParaRPr lang="en-CA"/>
              </a:p>
            </p:txBody>
          </p:sp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F5033232-7E0B-D9A6-47DD-90017649034C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 flipH="1">
                <a:off x="16813245" y="5185015"/>
                <a:ext cx="457200" cy="241657"/>
              </a:xfrm>
              <a:prstGeom prst="rtTriangle">
                <a:avLst/>
              </a:prstGeom>
              <a:solidFill>
                <a:srgbClr val="A9D5ED"/>
              </a:solidFill>
              <a:ln>
                <a:noFill/>
              </a:ln>
            </p:spPr>
            <p:txBody>
              <a:bodyPr wrap="square" lIns="45720" tIns="18288" rIns="0" bIns="0" rtlCol="0" anchor="t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 marL="0" marR="0" lvl="1" indent="0" defTabSz="93278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Tx/>
                  <a:buNone/>
                  <a:tabLst/>
                  <a:defRPr sz="600" b="1">
                    <a:ln w="3175">
                      <a:noFill/>
                    </a:ln>
                    <a:gradFill>
                      <a:gsLst>
                        <a:gs pos="90826">
                          <a:srgbClr val="FFFFFF"/>
                        </a:gs>
                        <a:gs pos="65000">
                          <a:srgbClr val="FFFFFF"/>
                        </a:gs>
                      </a:gsLst>
                      <a:path path="circle">
                        <a:fillToRect l="100000" t="100000"/>
                      </a:path>
                    </a:gradFill>
                    <a:latin typeface="Segoe UI Variable Display Semibold" pitchFamily="2" charset="0"/>
                    <a:cs typeface="Segoe UI" pitchFamily="34" charset="0"/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lvl="1"/>
                <a:endParaRPr lang="en-CA"/>
              </a:p>
            </p:txBody>
          </p:sp>
          <p:sp>
            <p:nvSpPr>
              <p:cNvPr id="136" name="TextBox 135">
                <a:extLst>
                  <a:ext uri="{FF2B5EF4-FFF2-40B4-BE49-F238E27FC236}">
                    <a16:creationId xmlns:a16="http://schemas.microsoft.com/office/drawing/2014/main" id="{549B386A-4F20-3BF4-304B-3F7594151CF4}"/>
                  </a:ext>
                </a:extLst>
              </p:cNvPr>
              <p:cNvSpPr txBox="1"/>
              <p:nvPr/>
            </p:nvSpPr>
            <p:spPr>
              <a:xfrm>
                <a:off x="15862269" y="5466777"/>
                <a:ext cx="546261" cy="366254"/>
              </a:xfrm>
              <a:prstGeom prst="rect">
                <a:avLst/>
              </a:prstGeom>
              <a:noFill/>
            </p:spPr>
            <p:txBody>
              <a:bodyPr wrap="square" lIns="0" tIns="0" rIns="0" bIns="256032" rtlCol="0" anchor="b" anchorCtr="0">
                <a:spAutoFit/>
              </a:bodyPr>
              <a:lstStyle>
                <a:defPPr>
                  <a:defRPr lang="en-US"/>
                </a:defPPr>
                <a:lvl1pPr>
                  <a:defRPr sz="700" b="1">
                    <a:ln w="3175">
                      <a:noFill/>
                    </a:ln>
                    <a:gradFill>
                      <a:gsLst>
                        <a:gs pos="9174">
                          <a:schemeClr val="tx1"/>
                        </a:gs>
                        <a:gs pos="42000">
                          <a:schemeClr val="tx1"/>
                        </a:gs>
                      </a:gsLst>
                      <a:path path="circle">
                        <a:fillToRect l="100000" t="100000"/>
                      </a:path>
                    </a:gradFill>
                    <a:latin typeface="Segoe UI Variable Display Semibold" pitchFamily="2" charset="0"/>
                    <a:cs typeface="Segoe UI" pitchFamily="34" charset="0"/>
                  </a:defRPr>
                </a:lvl1pPr>
              </a:lstStyle>
              <a:p>
                <a:r>
                  <a:rPr lang="en-US"/>
                  <a:t>Container</a:t>
                </a:r>
              </a:p>
            </p:txBody>
          </p:sp>
          <p:sp>
            <p:nvSpPr>
              <p:cNvPr id="137" name="TextBox 136">
                <a:extLst>
                  <a:ext uri="{FF2B5EF4-FFF2-40B4-BE49-F238E27FC236}">
                    <a16:creationId xmlns:a16="http://schemas.microsoft.com/office/drawing/2014/main" id="{76315212-5C2B-1318-BB27-FA1843EE0AED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5862269" y="5591374"/>
                <a:ext cx="457200" cy="241657"/>
              </a:xfrm>
              <a:prstGeom prst="rect">
                <a:avLst/>
              </a:prstGeom>
              <a:solidFill>
                <a:srgbClr val="2A446F"/>
              </a:solidFill>
              <a:ln>
                <a:noFill/>
              </a:ln>
            </p:spPr>
            <p:txBody>
              <a:bodyPr wrap="square" lIns="45720" tIns="18288" rIns="0" bIns="0" rtlCol="0" anchor="t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 marL="0" lvl="1" defTabSz="932780">
                  <a:spcBef>
                    <a:spcPct val="20000"/>
                  </a:spcBef>
                  <a:buSzPct val="90000"/>
                  <a:defRPr sz="600" b="1">
                    <a:ln w="3175">
                      <a:noFill/>
                    </a:ln>
                    <a:gradFill>
                      <a:gsLst>
                        <a:gs pos="9174">
                          <a:schemeClr val="tx1"/>
                        </a:gs>
                        <a:gs pos="42000">
                          <a:schemeClr val="tx1"/>
                        </a:gs>
                      </a:gsLst>
                      <a:path path="circle">
                        <a:fillToRect l="100000" t="100000"/>
                      </a:path>
                    </a:gradFill>
                    <a:latin typeface="Segoe UI Variable Display Semibold" pitchFamily="2" charset="0"/>
                    <a:cs typeface="Segoe UI" pitchFamily="34" charset="0"/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lvl="1"/>
                <a:endParaRPr lang="en-CA"/>
              </a:p>
            </p:txBody>
          </p:sp>
          <p:sp>
            <p:nvSpPr>
              <p:cNvPr id="138" name="TextBox 137">
                <a:extLst>
                  <a:ext uri="{FF2B5EF4-FFF2-40B4-BE49-F238E27FC236}">
                    <a16:creationId xmlns:a16="http://schemas.microsoft.com/office/drawing/2014/main" id="{DC92897E-278A-F635-068E-4FB4DC2F0739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6337757" y="5591374"/>
                <a:ext cx="457200" cy="241657"/>
              </a:xfrm>
              <a:prstGeom prst="rect">
                <a:avLst/>
              </a:prstGeom>
              <a:solidFill>
                <a:srgbClr val="73262F"/>
              </a:solidFill>
              <a:ln>
                <a:noFill/>
              </a:ln>
            </p:spPr>
            <p:txBody>
              <a:bodyPr wrap="square" lIns="45720" tIns="18288" rIns="0" bIns="0" rtlCol="0" anchor="t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 marL="0" lvl="1" defTabSz="932780">
                  <a:spcBef>
                    <a:spcPct val="20000"/>
                  </a:spcBef>
                  <a:buSzPct val="90000"/>
                  <a:defRPr sz="600" b="1">
                    <a:ln w="3175">
                      <a:noFill/>
                    </a:ln>
                    <a:gradFill>
                      <a:gsLst>
                        <a:gs pos="9174">
                          <a:schemeClr val="tx1"/>
                        </a:gs>
                        <a:gs pos="42000">
                          <a:schemeClr val="tx1"/>
                        </a:gs>
                      </a:gsLst>
                      <a:path path="circle">
                        <a:fillToRect l="100000" t="100000"/>
                      </a:path>
                    </a:gradFill>
                    <a:latin typeface="Segoe UI Variable Display Semibold" pitchFamily="2" charset="0"/>
                    <a:cs typeface="Segoe UI" pitchFamily="34" charset="0"/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lvl="1"/>
                <a:endParaRPr lang="en-CA"/>
              </a:p>
            </p:txBody>
          </p:sp>
          <p:sp>
            <p:nvSpPr>
              <p:cNvPr id="139" name="TextBox 138">
                <a:extLst>
                  <a:ext uri="{FF2B5EF4-FFF2-40B4-BE49-F238E27FC236}">
                    <a16:creationId xmlns:a16="http://schemas.microsoft.com/office/drawing/2014/main" id="{82E7A792-55A9-BDB2-B08E-9FD6BA87CD58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 flipH="1">
                <a:off x="16337757" y="5591374"/>
                <a:ext cx="457200" cy="241657"/>
              </a:xfrm>
              <a:prstGeom prst="rtTriangle">
                <a:avLst/>
              </a:prstGeom>
              <a:solidFill>
                <a:srgbClr val="FFECEE"/>
              </a:solidFill>
              <a:ln>
                <a:noFill/>
              </a:ln>
            </p:spPr>
            <p:txBody>
              <a:bodyPr wrap="square" lIns="91440" tIns="0" rIns="0" bIns="9144" rtlCol="0" anchor="ctr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 marL="0" marR="0" lvl="1" indent="0" defTabSz="93278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Tx/>
                  <a:buNone/>
                  <a:tabLst/>
                  <a:defRPr sz="900" b="1">
                    <a:ln w="3175">
                      <a:noFill/>
                    </a:ln>
                    <a:gradFill>
                      <a:gsLst>
                        <a:gs pos="9174">
                          <a:schemeClr val="tx1"/>
                        </a:gs>
                        <a:gs pos="42000">
                          <a:schemeClr val="tx1"/>
                        </a:gs>
                      </a:gsLst>
                      <a:path path="circle">
                        <a:fillToRect l="100000" t="100000"/>
                      </a:path>
                    </a:gradFill>
                    <a:latin typeface="Segoe UI Variable Display Semibold" pitchFamily="2" charset="0"/>
                    <a:cs typeface="Segoe UI" pitchFamily="34" charset="0"/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lvl="1"/>
                <a:endParaRPr lang="en-CA"/>
              </a:p>
            </p:txBody>
          </p:sp>
          <p:sp>
            <p:nvSpPr>
              <p:cNvPr id="140" name="TextBox 139">
                <a:extLst>
                  <a:ext uri="{FF2B5EF4-FFF2-40B4-BE49-F238E27FC236}">
                    <a16:creationId xmlns:a16="http://schemas.microsoft.com/office/drawing/2014/main" id="{526D52CB-423F-DD89-EC7D-ED9279BC8F76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 flipH="1">
                <a:off x="15862269" y="5591374"/>
                <a:ext cx="457200" cy="241657"/>
              </a:xfrm>
              <a:prstGeom prst="rtTriangle">
                <a:avLst/>
              </a:prstGeom>
              <a:solidFill>
                <a:srgbClr val="E2F1F9"/>
              </a:solidFill>
              <a:ln>
                <a:noFill/>
              </a:ln>
            </p:spPr>
            <p:txBody>
              <a:bodyPr wrap="square" lIns="91440" tIns="0" rIns="0" bIns="9144" rtlCol="0" anchor="ctr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 marL="0" marR="0" lvl="1" indent="0" defTabSz="93278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Tx/>
                  <a:buNone/>
                  <a:tabLst/>
                  <a:defRPr sz="900" b="1">
                    <a:ln w="3175">
                      <a:noFill/>
                    </a:ln>
                    <a:gradFill>
                      <a:gsLst>
                        <a:gs pos="9174">
                          <a:schemeClr val="tx1"/>
                        </a:gs>
                        <a:gs pos="42000">
                          <a:schemeClr val="tx1"/>
                        </a:gs>
                      </a:gsLst>
                      <a:path path="circle">
                        <a:fillToRect l="100000" t="100000"/>
                      </a:path>
                    </a:gradFill>
                    <a:latin typeface="Segoe UI Variable Display Semibold" pitchFamily="2" charset="0"/>
                    <a:cs typeface="Segoe UI" pitchFamily="34" charset="0"/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lvl="1"/>
                <a:endParaRPr lang="en-CA"/>
              </a:p>
            </p:txBody>
          </p:sp>
          <p:sp>
            <p:nvSpPr>
              <p:cNvPr id="141" name="TextBox 140">
                <a:extLst>
                  <a:ext uri="{FF2B5EF4-FFF2-40B4-BE49-F238E27FC236}">
                    <a16:creationId xmlns:a16="http://schemas.microsoft.com/office/drawing/2014/main" id="{ADF897A5-72F3-67B4-FB13-1DBB0664215B}"/>
                  </a:ext>
                </a:extLst>
              </p:cNvPr>
              <p:cNvSpPr txBox="1"/>
              <p:nvPr/>
            </p:nvSpPr>
            <p:spPr>
              <a:xfrm>
                <a:off x="16813245" y="5466777"/>
                <a:ext cx="592763" cy="366254"/>
              </a:xfrm>
              <a:prstGeom prst="rect">
                <a:avLst/>
              </a:prstGeom>
              <a:noFill/>
            </p:spPr>
            <p:txBody>
              <a:bodyPr wrap="square" lIns="0" tIns="0" rIns="0" bIns="256032" rtlCol="0" anchor="b" anchorCtr="0">
                <a:spAutoFit/>
              </a:bodyPr>
              <a:lstStyle>
                <a:defPPr>
                  <a:defRPr lang="en-US"/>
                </a:defPPr>
                <a:lvl1pPr>
                  <a:defRPr sz="700" b="1">
                    <a:ln w="3175">
                      <a:noFill/>
                    </a:ln>
                    <a:gradFill>
                      <a:gsLst>
                        <a:gs pos="9174">
                          <a:schemeClr val="tx1"/>
                        </a:gs>
                        <a:gs pos="42000">
                          <a:schemeClr val="tx1"/>
                        </a:gs>
                      </a:gsLst>
                      <a:path path="circle">
                        <a:fillToRect l="100000" t="100000"/>
                      </a:path>
                    </a:gradFill>
                    <a:latin typeface="Segoe UI Variable Display Semibold" pitchFamily="2" charset="0"/>
                    <a:cs typeface="Segoe UI" pitchFamily="34" charset="0"/>
                  </a:defRPr>
                </a:lvl1pPr>
              </a:lstStyle>
              <a:p>
                <a:r>
                  <a:rPr lang="en-US"/>
                  <a:t>Light overlay</a:t>
                </a:r>
              </a:p>
            </p:txBody>
          </p:sp>
          <p:sp>
            <p:nvSpPr>
              <p:cNvPr id="142" name="TextBox 141">
                <a:extLst>
                  <a:ext uri="{FF2B5EF4-FFF2-40B4-BE49-F238E27FC236}">
                    <a16:creationId xmlns:a16="http://schemas.microsoft.com/office/drawing/2014/main" id="{3FC8D2A1-FCAB-228F-74C2-A8CE5672F258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7288733" y="5591374"/>
                <a:ext cx="457200" cy="241657"/>
              </a:xfrm>
              <a:prstGeom prst="rect">
                <a:avLst/>
              </a:prstGeom>
              <a:solidFill>
                <a:srgbClr val="FFECEE"/>
              </a:solidFill>
              <a:ln>
                <a:noFill/>
              </a:ln>
            </p:spPr>
            <p:txBody>
              <a:bodyPr wrap="square" lIns="91440" tIns="0" rIns="0" bIns="9144" rtlCol="0" anchor="ctr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 marL="0" marR="0" lvl="1" indent="0" defTabSz="93278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Tx/>
                  <a:buNone/>
                  <a:tabLst/>
                  <a:defRPr sz="900" b="1">
                    <a:ln w="3175">
                      <a:noFill/>
                    </a:ln>
                    <a:gradFill>
                      <a:gsLst>
                        <a:gs pos="9174">
                          <a:schemeClr val="tx1"/>
                        </a:gs>
                        <a:gs pos="42000">
                          <a:schemeClr val="tx1"/>
                        </a:gs>
                      </a:gsLst>
                      <a:path path="circle">
                        <a:fillToRect l="100000" t="100000"/>
                      </a:path>
                    </a:gradFill>
                    <a:latin typeface="Segoe UI Variable Display Semibold" pitchFamily="2" charset="0"/>
                    <a:cs typeface="Segoe UI" pitchFamily="34" charset="0"/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lvl="1"/>
                <a:endParaRPr lang="en-CA"/>
              </a:p>
            </p:txBody>
          </p:sp>
          <p:sp>
            <p:nvSpPr>
              <p:cNvPr id="143" name="TextBox 142">
                <a:extLst>
                  <a:ext uri="{FF2B5EF4-FFF2-40B4-BE49-F238E27FC236}">
                    <a16:creationId xmlns:a16="http://schemas.microsoft.com/office/drawing/2014/main" id="{4968D57E-0D11-E7A7-31E0-71D77CD31BB4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6813245" y="5591374"/>
                <a:ext cx="457200" cy="241657"/>
              </a:xfrm>
              <a:prstGeom prst="rect">
                <a:avLst/>
              </a:prstGeom>
              <a:solidFill>
                <a:srgbClr val="E2F1F9"/>
              </a:solidFill>
              <a:ln>
                <a:noFill/>
              </a:ln>
            </p:spPr>
            <p:txBody>
              <a:bodyPr wrap="square" lIns="91440" tIns="0" rIns="0" bIns="9144" rtlCol="0" anchor="ctr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 marL="0" marR="0" lvl="1" indent="0" defTabSz="93278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Tx/>
                  <a:buNone/>
                  <a:tabLst/>
                  <a:defRPr sz="900" b="1">
                    <a:ln w="3175">
                      <a:noFill/>
                    </a:ln>
                    <a:gradFill>
                      <a:gsLst>
                        <a:gs pos="9174">
                          <a:schemeClr val="tx1"/>
                        </a:gs>
                        <a:gs pos="42000">
                          <a:schemeClr val="tx1"/>
                        </a:gs>
                      </a:gsLst>
                      <a:path path="circle">
                        <a:fillToRect l="100000" t="100000"/>
                      </a:path>
                    </a:gradFill>
                    <a:latin typeface="Segoe UI Variable Display Semibold" pitchFamily="2" charset="0"/>
                    <a:cs typeface="Segoe UI" pitchFamily="34" charset="0"/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lvl="1"/>
                <a:endParaRPr lang="en-CA"/>
              </a:p>
            </p:txBody>
          </p:sp>
          <p:sp>
            <p:nvSpPr>
              <p:cNvPr id="145" name="TextBox 144">
                <a:extLst>
                  <a:ext uri="{FF2B5EF4-FFF2-40B4-BE49-F238E27FC236}">
                    <a16:creationId xmlns:a16="http://schemas.microsoft.com/office/drawing/2014/main" id="{50286B46-275C-3740-D70D-767AC65157FE}"/>
                  </a:ext>
                </a:extLst>
              </p:cNvPr>
              <p:cNvSpPr txBox="1"/>
              <p:nvPr/>
            </p:nvSpPr>
            <p:spPr>
              <a:xfrm>
                <a:off x="17764221" y="5466777"/>
                <a:ext cx="546261" cy="366254"/>
              </a:xfrm>
              <a:prstGeom prst="rect">
                <a:avLst/>
              </a:prstGeom>
              <a:noFill/>
            </p:spPr>
            <p:txBody>
              <a:bodyPr wrap="square" lIns="0" tIns="0" rIns="0" bIns="256032" rtlCol="0" anchor="b" anchorCtr="0">
                <a:spAutoFit/>
              </a:bodyPr>
              <a:lstStyle>
                <a:defPPr>
                  <a:defRPr lang="en-US"/>
                </a:defPPr>
                <a:lvl1pPr>
                  <a:defRPr sz="700" b="1">
                    <a:ln w="3175">
                      <a:noFill/>
                    </a:ln>
                    <a:gradFill>
                      <a:gsLst>
                        <a:gs pos="9174">
                          <a:schemeClr val="tx1"/>
                        </a:gs>
                        <a:gs pos="42000">
                          <a:schemeClr val="tx1"/>
                        </a:gs>
                      </a:gsLst>
                      <a:path path="circle">
                        <a:fillToRect l="100000" t="100000"/>
                      </a:path>
                    </a:gradFill>
                    <a:latin typeface="Segoe UI Variable Display Semibold" pitchFamily="2" charset="0"/>
                    <a:cs typeface="Segoe UI" pitchFamily="34" charset="0"/>
                  </a:defRPr>
                </a:lvl1pPr>
              </a:lstStyle>
              <a:p>
                <a:r>
                  <a:rPr lang="en-US"/>
                  <a:t>Dark overlay</a:t>
                </a:r>
              </a:p>
            </p:txBody>
          </p:sp>
          <p:sp>
            <p:nvSpPr>
              <p:cNvPr id="146" name="TextBox 145">
                <a:extLst>
                  <a:ext uri="{FF2B5EF4-FFF2-40B4-BE49-F238E27FC236}">
                    <a16:creationId xmlns:a16="http://schemas.microsoft.com/office/drawing/2014/main" id="{8F875C55-3C95-CD70-3BAB-345A3902C88E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7764221" y="5591374"/>
                <a:ext cx="457200" cy="241657"/>
              </a:xfrm>
              <a:prstGeom prst="rect">
                <a:avLst/>
              </a:prstGeom>
              <a:solidFill>
                <a:srgbClr val="2A446F"/>
              </a:solidFill>
              <a:ln>
                <a:noFill/>
              </a:ln>
            </p:spPr>
            <p:txBody>
              <a:bodyPr wrap="square" lIns="45720" tIns="18288" rIns="0" bIns="0" rtlCol="0" anchor="t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 marL="0" lvl="1" defTabSz="932780">
                  <a:spcBef>
                    <a:spcPct val="20000"/>
                  </a:spcBef>
                  <a:buSzPct val="90000"/>
                  <a:defRPr sz="600" b="1">
                    <a:ln w="3175">
                      <a:noFill/>
                    </a:ln>
                    <a:gradFill>
                      <a:gsLst>
                        <a:gs pos="9174">
                          <a:schemeClr val="tx1"/>
                        </a:gs>
                        <a:gs pos="42000">
                          <a:schemeClr val="tx1"/>
                        </a:gs>
                      </a:gsLst>
                      <a:path path="circle">
                        <a:fillToRect l="100000" t="100000"/>
                      </a:path>
                    </a:gradFill>
                    <a:latin typeface="Segoe UI Variable Display Semibold" pitchFamily="2" charset="0"/>
                    <a:cs typeface="Segoe UI" pitchFamily="34" charset="0"/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lvl="1"/>
                <a:endParaRPr lang="en-CA"/>
              </a:p>
            </p:txBody>
          </p:sp>
          <p:sp>
            <p:nvSpPr>
              <p:cNvPr id="147" name="TextBox 146">
                <a:extLst>
                  <a:ext uri="{FF2B5EF4-FFF2-40B4-BE49-F238E27FC236}">
                    <a16:creationId xmlns:a16="http://schemas.microsoft.com/office/drawing/2014/main" id="{0A6C5B0E-6653-0859-F4A5-0E416E7E61E0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8239709" y="5591374"/>
                <a:ext cx="457200" cy="241657"/>
              </a:xfrm>
              <a:prstGeom prst="rect">
                <a:avLst/>
              </a:prstGeom>
              <a:solidFill>
                <a:srgbClr val="73262F"/>
              </a:solidFill>
              <a:ln>
                <a:noFill/>
              </a:ln>
            </p:spPr>
            <p:txBody>
              <a:bodyPr wrap="square" lIns="45720" tIns="18288" rIns="0" bIns="0" rtlCol="0" anchor="t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 marL="0" lvl="1" defTabSz="932780">
                  <a:spcBef>
                    <a:spcPct val="20000"/>
                  </a:spcBef>
                  <a:buSzPct val="90000"/>
                  <a:defRPr sz="600" b="1">
                    <a:ln w="3175">
                      <a:noFill/>
                    </a:ln>
                    <a:gradFill>
                      <a:gsLst>
                        <a:gs pos="9174">
                          <a:schemeClr val="tx1"/>
                        </a:gs>
                        <a:gs pos="42000">
                          <a:schemeClr val="tx1"/>
                        </a:gs>
                      </a:gsLst>
                      <a:path path="circle">
                        <a:fillToRect l="100000" t="100000"/>
                      </a:path>
                    </a:gradFill>
                    <a:latin typeface="Segoe UI Variable Display Semibold" pitchFamily="2" charset="0"/>
                    <a:cs typeface="Segoe UI" pitchFamily="34" charset="0"/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lvl="1"/>
                <a:endParaRPr lang="en-CA"/>
              </a:p>
            </p:txBody>
          </p:sp>
          <p:sp>
            <p:nvSpPr>
              <p:cNvPr id="148" name="TextBox 147">
                <a:extLst>
                  <a:ext uri="{FF2B5EF4-FFF2-40B4-BE49-F238E27FC236}">
                    <a16:creationId xmlns:a16="http://schemas.microsoft.com/office/drawing/2014/main" id="{B3C57DC6-EE19-4BFA-1346-CB63C8167E25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5862269" y="5185015"/>
                <a:ext cx="457200" cy="241657"/>
              </a:xfrm>
              <a:prstGeom prst="rect">
                <a:avLst/>
              </a:prstGeom>
              <a:solidFill>
                <a:srgbClr val="A9D5ED"/>
              </a:solidFill>
              <a:ln>
                <a:noFill/>
              </a:ln>
            </p:spPr>
            <p:txBody>
              <a:bodyPr wrap="square" lIns="45720" tIns="18288" rIns="0" bIns="0" rtlCol="0" anchor="t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>
                  <a:defRPr>
                    <a:solidFill>
                      <a:schemeClr val="tx1"/>
                    </a:solidFill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marL="0" marR="0" lvl="1" indent="0" algn="l" defTabSz="932780" rtl="0" eaLnBrk="1" fontAlgn="auto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Tx/>
                  <a:buNone/>
                  <a:tabLst/>
                  <a:defRPr/>
                </a:pPr>
                <a:endParaRPr lang="en-CA" sz="600" b="1">
                  <a:ln w="3175">
                    <a:noFill/>
                  </a:ln>
                  <a:gradFill>
                    <a:gsLst>
                      <a:gs pos="90826">
                        <a:srgbClr val="FFFFFF"/>
                      </a:gs>
                      <a:gs pos="65000">
                        <a:srgbClr val="FFFFFF"/>
                      </a:gs>
                    </a:gsLst>
                    <a:path path="circle">
                      <a:fillToRect l="100000" t="100000"/>
                    </a:path>
                  </a:gradFill>
                  <a:latin typeface="Segoe UI Variable Display Semibold" pitchFamily="2" charset="0"/>
                  <a:cs typeface="Segoe UI" pitchFamily="34" charset="0"/>
                </a:endParaRPr>
              </a:p>
            </p:txBody>
          </p:sp>
          <p:sp>
            <p:nvSpPr>
              <p:cNvPr id="149" name="TextBox 148">
                <a:extLst>
                  <a:ext uri="{FF2B5EF4-FFF2-40B4-BE49-F238E27FC236}">
                    <a16:creationId xmlns:a16="http://schemas.microsoft.com/office/drawing/2014/main" id="{397B4C8C-9D3C-DFCB-FA86-2B06C78E9F76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6337757" y="5185015"/>
                <a:ext cx="457200" cy="241657"/>
              </a:xfrm>
              <a:prstGeom prst="rect">
                <a:avLst/>
              </a:prstGeom>
              <a:solidFill>
                <a:srgbClr val="FFC6CC"/>
              </a:solidFill>
              <a:ln>
                <a:noFill/>
              </a:ln>
            </p:spPr>
            <p:txBody>
              <a:bodyPr wrap="square" lIns="45720" tIns="18288" rIns="0" bIns="0" rtlCol="0" anchor="t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>
                  <a:defRPr>
                    <a:solidFill>
                      <a:schemeClr val="tx1"/>
                    </a:solidFill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marL="0" marR="0" lvl="1" indent="0" algn="l" defTabSz="932780" rtl="0" eaLnBrk="1" fontAlgn="auto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Tx/>
                  <a:buNone/>
                  <a:tabLst/>
                  <a:defRPr/>
                </a:pPr>
                <a:endParaRPr lang="en-CA" sz="600" b="1">
                  <a:ln w="3175">
                    <a:noFill/>
                  </a:ln>
                  <a:gradFill>
                    <a:gsLst>
                      <a:gs pos="90826">
                        <a:srgbClr val="FFFFFF"/>
                      </a:gs>
                      <a:gs pos="65000">
                        <a:srgbClr val="FFFFFF"/>
                      </a:gs>
                    </a:gsLst>
                    <a:path path="circle">
                      <a:fillToRect l="100000" t="100000"/>
                    </a:path>
                  </a:gradFill>
                  <a:latin typeface="Segoe UI Variable Display Semibold" pitchFamily="2" charset="0"/>
                  <a:cs typeface="Segoe UI" pitchFamily="34" charset="0"/>
                </a:endParaRPr>
              </a:p>
            </p:txBody>
          </p:sp>
          <p:sp>
            <p:nvSpPr>
              <p:cNvPr id="150" name="TextBox 149">
                <a:extLst>
                  <a:ext uri="{FF2B5EF4-FFF2-40B4-BE49-F238E27FC236}">
                    <a16:creationId xmlns:a16="http://schemas.microsoft.com/office/drawing/2014/main" id="{5DBA6141-C1CE-C8C0-F023-09AE4F13E274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 flipH="1">
                <a:off x="15862269" y="5185015"/>
                <a:ext cx="457200" cy="241657"/>
              </a:xfrm>
              <a:prstGeom prst="rtTriangle">
                <a:avLst/>
              </a:prstGeom>
              <a:solidFill>
                <a:srgbClr val="2A446F"/>
              </a:solidFill>
              <a:ln>
                <a:noFill/>
              </a:ln>
            </p:spPr>
            <p:txBody>
              <a:bodyPr wrap="square" lIns="45720" tIns="18288" rIns="0" bIns="0" rtlCol="0" anchor="t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>
                  <a:defRPr>
                    <a:solidFill>
                      <a:schemeClr val="tx1"/>
                    </a:solidFill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marL="0" lvl="1" defTabSz="932780">
                  <a:spcBef>
                    <a:spcPct val="20000"/>
                  </a:spcBef>
                  <a:buSzPct val="90000"/>
                  <a:defRPr/>
                </a:pPr>
                <a:endParaRPr lang="en-CA" sz="600" b="1">
                  <a:ln w="3175">
                    <a:noFill/>
                  </a:ln>
                  <a:gradFill>
                    <a:gsLst>
                      <a:gs pos="9174">
                        <a:schemeClr val="tx1"/>
                      </a:gs>
                      <a:gs pos="42000">
                        <a:schemeClr val="tx1"/>
                      </a:gs>
                    </a:gsLst>
                    <a:path path="circle">
                      <a:fillToRect l="100000" t="100000"/>
                    </a:path>
                  </a:gradFill>
                  <a:latin typeface="Segoe UI Variable Display Semibold" pitchFamily="2" charset="0"/>
                  <a:cs typeface="Segoe UI" pitchFamily="34" charset="0"/>
                </a:endParaRPr>
              </a:p>
            </p:txBody>
          </p:sp>
          <p:sp>
            <p:nvSpPr>
              <p:cNvPr id="151" name="TextBox 150">
                <a:extLst>
                  <a:ext uri="{FF2B5EF4-FFF2-40B4-BE49-F238E27FC236}">
                    <a16:creationId xmlns:a16="http://schemas.microsoft.com/office/drawing/2014/main" id="{B56FD69B-66DF-3828-4372-A2E133D0FF57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 flipH="1">
                <a:off x="16337757" y="5185015"/>
                <a:ext cx="457200" cy="241657"/>
              </a:xfrm>
              <a:prstGeom prst="rtTriangle">
                <a:avLst/>
              </a:prstGeom>
              <a:solidFill>
                <a:srgbClr val="73262F"/>
              </a:solidFill>
              <a:ln>
                <a:noFill/>
              </a:ln>
            </p:spPr>
            <p:txBody>
              <a:bodyPr wrap="square" lIns="45720" tIns="18288" rIns="0" bIns="0" rtlCol="0" anchor="t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>
                  <a:defRPr>
                    <a:solidFill>
                      <a:schemeClr val="tx1"/>
                    </a:solidFill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marL="0" lvl="1" defTabSz="932780">
                  <a:spcBef>
                    <a:spcPct val="20000"/>
                  </a:spcBef>
                  <a:buSzPct val="90000"/>
                  <a:defRPr/>
                </a:pPr>
                <a:endParaRPr lang="en-CA" sz="600" b="1">
                  <a:ln w="3175">
                    <a:noFill/>
                  </a:ln>
                  <a:gradFill>
                    <a:gsLst>
                      <a:gs pos="9174">
                        <a:schemeClr val="tx1"/>
                      </a:gs>
                      <a:gs pos="42000">
                        <a:schemeClr val="tx1"/>
                      </a:gs>
                    </a:gsLst>
                    <a:path path="circle">
                      <a:fillToRect l="100000" t="100000"/>
                    </a:path>
                  </a:gradFill>
                  <a:latin typeface="Segoe UI Variable Display Semibold" pitchFamily="2" charset="0"/>
                  <a:cs typeface="Segoe UI" pitchFamily="34" charset="0"/>
                </a:endParaRPr>
              </a:p>
            </p:txBody>
          </p:sp>
        </p:grp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610DB4A3-D054-373E-A4A2-0ABDF87876B5}"/>
                </a:ext>
              </a:extLst>
            </p:cNvPr>
            <p:cNvGrpSpPr/>
            <p:nvPr userDrawn="1"/>
          </p:nvGrpSpPr>
          <p:grpSpPr>
            <a:xfrm>
              <a:off x="22177344" y="6085386"/>
              <a:ext cx="2834640" cy="772614"/>
              <a:chOff x="15858760" y="6116425"/>
              <a:chExt cx="2834640" cy="772614"/>
            </a:xfrm>
          </p:grpSpPr>
          <p:sp>
            <p:nvSpPr>
              <p:cNvPr id="49" name="TextBox 48">
                <a:extLst>
                  <a:ext uri="{FF2B5EF4-FFF2-40B4-BE49-F238E27FC236}">
                    <a16:creationId xmlns:a16="http://schemas.microsoft.com/office/drawing/2014/main" id="{F462DA7E-9D21-9BDD-7956-A8E691DCEA0C}"/>
                  </a:ext>
                </a:extLst>
              </p:cNvPr>
              <p:cNvSpPr txBox="1"/>
              <p:nvPr/>
            </p:nvSpPr>
            <p:spPr>
              <a:xfrm>
                <a:off x="15858760" y="6116425"/>
                <a:ext cx="365760" cy="366254"/>
              </a:xfrm>
              <a:prstGeom prst="rect">
                <a:avLst/>
              </a:prstGeom>
              <a:noFill/>
            </p:spPr>
            <p:txBody>
              <a:bodyPr wrap="square" lIns="0" tIns="0" rIns="0" bIns="256032" rtlCol="0" anchor="b" anchorCtr="0">
                <a:spAutoFit/>
              </a:bodyPr>
              <a:lstStyle/>
              <a:p>
                <a:r>
                  <a:rPr lang="en-US" sz="700" b="1">
                    <a:ln w="3175">
                      <a:noFill/>
                    </a:ln>
                    <a:gradFill>
                      <a:gsLst>
                        <a:gs pos="9174">
                          <a:schemeClr val="tx1"/>
                        </a:gs>
                        <a:gs pos="42000">
                          <a:schemeClr val="tx1"/>
                        </a:gs>
                      </a:gsLst>
                      <a:path path="circle">
                        <a:fillToRect l="100000" t="100000"/>
                      </a:path>
                    </a:gradFill>
                    <a:latin typeface="Segoe UI Variable Display Semibold" pitchFamily="2" charset="0"/>
                    <a:cs typeface="Segoe UI" pitchFamily="34" charset="0"/>
                  </a:rPr>
                  <a:t>Theme 7</a:t>
                </a:r>
              </a:p>
            </p:txBody>
          </p:sp>
          <p:sp>
            <p:nvSpPr>
              <p:cNvPr id="50" name="TextBox 49">
                <a:extLst>
                  <a:ext uri="{FF2B5EF4-FFF2-40B4-BE49-F238E27FC236}">
                    <a16:creationId xmlns:a16="http://schemas.microsoft.com/office/drawing/2014/main" id="{077E9895-5940-BEC4-1463-847EA7CF52DC}"/>
                  </a:ext>
                </a:extLst>
              </p:cNvPr>
              <p:cNvSpPr txBox="1"/>
              <p:nvPr/>
            </p:nvSpPr>
            <p:spPr>
              <a:xfrm>
                <a:off x="16809736" y="6116425"/>
                <a:ext cx="731520" cy="366254"/>
              </a:xfrm>
              <a:prstGeom prst="rect">
                <a:avLst/>
              </a:prstGeom>
              <a:noFill/>
            </p:spPr>
            <p:txBody>
              <a:bodyPr wrap="square" lIns="0" tIns="0" rIns="0" bIns="256032" rtlCol="0" anchor="b" anchorCtr="0">
                <a:spAutoFit/>
              </a:bodyPr>
              <a:lstStyle>
                <a:defPPr>
                  <a:defRPr lang="en-US"/>
                </a:defPPr>
                <a:lvl1pPr>
                  <a:defRPr sz="700" b="1">
                    <a:ln w="3175">
                      <a:noFill/>
                    </a:ln>
                    <a:gradFill>
                      <a:gsLst>
                        <a:gs pos="9174">
                          <a:schemeClr val="tx1"/>
                        </a:gs>
                        <a:gs pos="42000">
                          <a:schemeClr val="tx1"/>
                        </a:gs>
                      </a:gsLst>
                      <a:path path="circle">
                        <a:fillToRect l="100000" t="100000"/>
                      </a:path>
                    </a:gradFill>
                    <a:latin typeface="Segoe UI Variable Display Semibold" pitchFamily="2" charset="0"/>
                    <a:cs typeface="Segoe UI" pitchFamily="34" charset="0"/>
                  </a:defRPr>
                </a:lvl1pPr>
              </a:lstStyle>
              <a:p>
                <a:r>
                  <a:rPr lang="en-US"/>
                  <a:t>Colored header</a:t>
                </a:r>
              </a:p>
            </p:txBody>
          </p:sp>
          <p:sp>
            <p:nvSpPr>
              <p:cNvPr id="51" name="TextBox 50">
                <a:extLst>
                  <a:ext uri="{FF2B5EF4-FFF2-40B4-BE49-F238E27FC236}">
                    <a16:creationId xmlns:a16="http://schemas.microsoft.com/office/drawing/2014/main" id="{4BF3C0AD-3E9A-6198-1FAE-8D7A245C7C5F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6809736" y="6241023"/>
                <a:ext cx="457200" cy="241657"/>
              </a:xfrm>
              <a:prstGeom prst="rect">
                <a:avLst/>
              </a:prstGeom>
              <a:solidFill>
                <a:srgbClr val="391317"/>
              </a:solidFill>
              <a:ln>
                <a:noFill/>
              </a:ln>
            </p:spPr>
            <p:txBody>
              <a:bodyPr wrap="square" lIns="91440" tIns="0" rIns="0" bIns="9144" rtlCol="0" anchor="ctr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 marL="0" lvl="1" defTabSz="932780">
                  <a:spcBef>
                    <a:spcPct val="20000"/>
                  </a:spcBef>
                  <a:buSzPct val="90000"/>
                  <a:defRPr sz="900" b="1">
                    <a:ln w="3175">
                      <a:noFill/>
                    </a:ln>
                    <a:gradFill>
                      <a:gsLst>
                        <a:gs pos="90826">
                          <a:srgbClr val="FFFFFF"/>
                        </a:gs>
                        <a:gs pos="65000">
                          <a:srgbClr val="FFFFFF"/>
                        </a:gs>
                      </a:gsLst>
                      <a:path path="circle">
                        <a:fillToRect l="100000" t="100000"/>
                      </a:path>
                    </a:gradFill>
                    <a:latin typeface="Segoe UI Variable Display Semibold" pitchFamily="2" charset="0"/>
                    <a:cs typeface="Segoe UI" pitchFamily="34" charset="0"/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lvl="1"/>
                <a:endParaRPr lang="en-CA"/>
              </a:p>
            </p:txBody>
          </p:sp>
          <p:sp>
            <p:nvSpPr>
              <p:cNvPr id="52" name="TextBox 51">
                <a:extLst>
                  <a:ext uri="{FF2B5EF4-FFF2-40B4-BE49-F238E27FC236}">
                    <a16:creationId xmlns:a16="http://schemas.microsoft.com/office/drawing/2014/main" id="{B70A8CD8-2E21-7C75-D740-93DDD8E823A1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 flipH="1">
                <a:off x="16809736" y="6241023"/>
                <a:ext cx="457200" cy="241657"/>
              </a:xfrm>
              <a:prstGeom prst="rtTriangle">
                <a:avLst/>
              </a:prstGeom>
              <a:solidFill>
                <a:srgbClr val="FFC6CC"/>
              </a:solidFill>
              <a:ln>
                <a:noFill/>
              </a:ln>
            </p:spPr>
            <p:txBody>
              <a:bodyPr wrap="square" lIns="45720" tIns="18288" rIns="0" bIns="0" rtlCol="0" anchor="t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 marL="0" marR="0" lvl="1" indent="0" defTabSz="93278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Tx/>
                  <a:buNone/>
                  <a:tabLst/>
                  <a:defRPr sz="600" b="1">
                    <a:ln w="3175">
                      <a:noFill/>
                    </a:ln>
                    <a:gradFill>
                      <a:gsLst>
                        <a:gs pos="90826">
                          <a:srgbClr val="FFFFFF"/>
                        </a:gs>
                        <a:gs pos="65000">
                          <a:srgbClr val="FFFFFF"/>
                        </a:gs>
                      </a:gsLst>
                      <a:path path="circle">
                        <a:fillToRect l="100000" t="100000"/>
                      </a:path>
                    </a:gradFill>
                    <a:latin typeface="Segoe UI Variable Display Semibold" pitchFamily="2" charset="0"/>
                    <a:cs typeface="Segoe UI" pitchFamily="34" charset="0"/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lvl="1"/>
                <a:endParaRPr lang="en-CA"/>
              </a:p>
            </p:txBody>
          </p:sp>
          <p:sp>
            <p:nvSpPr>
              <p:cNvPr id="53" name="TextBox 52">
                <a:extLst>
                  <a:ext uri="{FF2B5EF4-FFF2-40B4-BE49-F238E27FC236}">
                    <a16:creationId xmlns:a16="http://schemas.microsoft.com/office/drawing/2014/main" id="{27A78AE6-7180-C3E1-5C5B-EF6A27CB2693}"/>
                  </a:ext>
                </a:extLst>
              </p:cNvPr>
              <p:cNvSpPr txBox="1"/>
              <p:nvPr/>
            </p:nvSpPr>
            <p:spPr>
              <a:xfrm>
                <a:off x="15858760" y="6522785"/>
                <a:ext cx="546261" cy="366254"/>
              </a:xfrm>
              <a:prstGeom prst="rect">
                <a:avLst/>
              </a:prstGeom>
              <a:noFill/>
            </p:spPr>
            <p:txBody>
              <a:bodyPr wrap="square" lIns="0" tIns="0" rIns="0" bIns="256032" rtlCol="0" anchor="b" anchorCtr="0">
                <a:spAutoFit/>
              </a:bodyPr>
              <a:lstStyle>
                <a:defPPr>
                  <a:defRPr lang="en-US"/>
                </a:defPPr>
                <a:lvl1pPr>
                  <a:defRPr sz="700" b="1">
                    <a:ln w="3175">
                      <a:noFill/>
                    </a:ln>
                    <a:gradFill>
                      <a:gsLst>
                        <a:gs pos="9174">
                          <a:schemeClr val="tx1"/>
                        </a:gs>
                        <a:gs pos="42000">
                          <a:schemeClr val="tx1"/>
                        </a:gs>
                      </a:gsLst>
                      <a:path path="circle">
                        <a:fillToRect l="100000" t="100000"/>
                      </a:path>
                    </a:gradFill>
                    <a:latin typeface="Segoe UI Variable Display Semibold" pitchFamily="2" charset="0"/>
                    <a:cs typeface="Segoe UI" pitchFamily="34" charset="0"/>
                  </a:defRPr>
                </a:lvl1pPr>
              </a:lstStyle>
              <a:p>
                <a:r>
                  <a:rPr lang="en-US"/>
                  <a:t>Container</a:t>
                </a:r>
              </a:p>
            </p:txBody>
          </p:sp>
          <p:sp>
            <p:nvSpPr>
              <p:cNvPr id="54" name="TextBox 53">
                <a:extLst>
                  <a:ext uri="{FF2B5EF4-FFF2-40B4-BE49-F238E27FC236}">
                    <a16:creationId xmlns:a16="http://schemas.microsoft.com/office/drawing/2014/main" id="{6041214D-C1B8-D01B-C72E-5FB5F4C1F961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5858760" y="6647382"/>
                <a:ext cx="457200" cy="241657"/>
              </a:xfrm>
              <a:prstGeom prst="rect">
                <a:avLst/>
              </a:prstGeom>
              <a:solidFill>
                <a:srgbClr val="73262F"/>
              </a:solidFill>
              <a:ln>
                <a:noFill/>
              </a:ln>
            </p:spPr>
            <p:txBody>
              <a:bodyPr wrap="square" lIns="45720" tIns="18288" rIns="0" bIns="0" rtlCol="0" anchor="t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 marL="0" lvl="1" defTabSz="932780">
                  <a:spcBef>
                    <a:spcPct val="20000"/>
                  </a:spcBef>
                  <a:buSzPct val="90000"/>
                  <a:defRPr sz="600" b="1">
                    <a:ln w="3175">
                      <a:noFill/>
                    </a:ln>
                    <a:gradFill>
                      <a:gsLst>
                        <a:gs pos="9174">
                          <a:schemeClr val="tx1"/>
                        </a:gs>
                        <a:gs pos="42000">
                          <a:schemeClr val="tx1"/>
                        </a:gs>
                      </a:gsLst>
                      <a:path path="circle">
                        <a:fillToRect l="100000" t="100000"/>
                      </a:path>
                    </a:gradFill>
                    <a:latin typeface="Segoe UI Variable Display Semibold" pitchFamily="2" charset="0"/>
                    <a:cs typeface="Segoe UI" pitchFamily="34" charset="0"/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lvl="1"/>
                <a:endParaRPr lang="en-CA"/>
              </a:p>
            </p:txBody>
          </p:sp>
          <p:sp>
            <p:nvSpPr>
              <p:cNvPr id="55" name="TextBox 54">
                <a:extLst>
                  <a:ext uri="{FF2B5EF4-FFF2-40B4-BE49-F238E27FC236}">
                    <a16:creationId xmlns:a16="http://schemas.microsoft.com/office/drawing/2014/main" id="{8ADE66E7-8790-8A3A-CECF-86DFB5960900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6334248" y="6647382"/>
                <a:ext cx="457200" cy="241657"/>
              </a:xfrm>
              <a:prstGeom prst="rect">
                <a:avLst/>
              </a:prstGeom>
              <a:solidFill>
                <a:srgbClr val="7F5A1A"/>
              </a:solidFill>
              <a:ln>
                <a:noFill/>
              </a:ln>
            </p:spPr>
            <p:txBody>
              <a:bodyPr wrap="square" lIns="45720" tIns="18288" rIns="0" bIns="0" rtlCol="0" anchor="t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 marL="0" lvl="1" defTabSz="932780">
                  <a:spcBef>
                    <a:spcPct val="20000"/>
                  </a:spcBef>
                  <a:buSzPct val="90000"/>
                  <a:defRPr sz="600" b="1">
                    <a:ln w="3175">
                      <a:noFill/>
                    </a:ln>
                    <a:gradFill>
                      <a:gsLst>
                        <a:gs pos="9174">
                          <a:schemeClr val="tx1"/>
                        </a:gs>
                        <a:gs pos="42000">
                          <a:schemeClr val="tx1"/>
                        </a:gs>
                      </a:gsLst>
                      <a:path path="circle">
                        <a:fillToRect l="100000" t="100000"/>
                      </a:path>
                    </a:gradFill>
                    <a:latin typeface="Segoe UI Variable Display Semibold" pitchFamily="2" charset="0"/>
                    <a:cs typeface="Segoe UI" pitchFamily="34" charset="0"/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lvl="1"/>
                <a:endParaRPr lang="en-CA"/>
              </a:p>
            </p:txBody>
          </p:sp>
          <p:sp>
            <p:nvSpPr>
              <p:cNvPr id="56" name="TextBox 55">
                <a:extLst>
                  <a:ext uri="{FF2B5EF4-FFF2-40B4-BE49-F238E27FC236}">
                    <a16:creationId xmlns:a16="http://schemas.microsoft.com/office/drawing/2014/main" id="{B88D771A-BF6D-196E-7079-399531DC52E9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 flipH="1">
                <a:off x="16334248" y="6647382"/>
                <a:ext cx="457200" cy="241657"/>
              </a:xfrm>
              <a:prstGeom prst="rtTriangle">
                <a:avLst/>
              </a:prstGeom>
              <a:solidFill>
                <a:srgbClr val="FFF8E5"/>
              </a:solidFill>
              <a:ln>
                <a:noFill/>
              </a:ln>
            </p:spPr>
            <p:txBody>
              <a:bodyPr wrap="square" lIns="91440" tIns="0" rIns="0" bIns="9144" rtlCol="0" anchor="ctr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 marL="0" marR="0" lvl="1" indent="0" defTabSz="93278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Tx/>
                  <a:buNone/>
                  <a:tabLst/>
                  <a:defRPr sz="900" b="1">
                    <a:ln w="3175">
                      <a:noFill/>
                    </a:ln>
                    <a:gradFill>
                      <a:gsLst>
                        <a:gs pos="9174">
                          <a:schemeClr val="tx1"/>
                        </a:gs>
                        <a:gs pos="42000">
                          <a:schemeClr val="tx1"/>
                        </a:gs>
                      </a:gsLst>
                      <a:path path="circle">
                        <a:fillToRect l="100000" t="100000"/>
                      </a:path>
                    </a:gradFill>
                    <a:latin typeface="Segoe UI Variable Display Semibold" pitchFamily="2" charset="0"/>
                    <a:cs typeface="Segoe UI" pitchFamily="34" charset="0"/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lvl="1"/>
                <a:endParaRPr lang="en-CA"/>
              </a:p>
            </p:txBody>
          </p:sp>
          <p:sp>
            <p:nvSpPr>
              <p:cNvPr id="57" name="TextBox 56">
                <a:extLst>
                  <a:ext uri="{FF2B5EF4-FFF2-40B4-BE49-F238E27FC236}">
                    <a16:creationId xmlns:a16="http://schemas.microsoft.com/office/drawing/2014/main" id="{EEC34EF3-0E1A-6670-49D2-309CB7B93EBC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 flipH="1">
                <a:off x="15858760" y="6647382"/>
                <a:ext cx="457200" cy="241657"/>
              </a:xfrm>
              <a:prstGeom prst="rtTriangle">
                <a:avLst/>
              </a:prstGeom>
              <a:solidFill>
                <a:srgbClr val="FFECEE"/>
              </a:solidFill>
              <a:ln>
                <a:noFill/>
              </a:ln>
            </p:spPr>
            <p:txBody>
              <a:bodyPr wrap="square" lIns="91440" tIns="0" rIns="0" bIns="9144" rtlCol="0" anchor="ctr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 marL="0" marR="0" lvl="1" indent="0" defTabSz="93278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Tx/>
                  <a:buNone/>
                  <a:tabLst/>
                  <a:defRPr sz="900" b="1">
                    <a:ln w="3175">
                      <a:noFill/>
                    </a:ln>
                    <a:gradFill>
                      <a:gsLst>
                        <a:gs pos="9174">
                          <a:schemeClr val="tx1"/>
                        </a:gs>
                        <a:gs pos="42000">
                          <a:schemeClr val="tx1"/>
                        </a:gs>
                      </a:gsLst>
                      <a:path path="circle">
                        <a:fillToRect l="100000" t="100000"/>
                      </a:path>
                    </a:gradFill>
                    <a:latin typeface="Segoe UI Variable Display Semibold" pitchFamily="2" charset="0"/>
                    <a:cs typeface="Segoe UI" pitchFamily="34" charset="0"/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lvl="1"/>
                <a:endParaRPr lang="en-CA"/>
              </a:p>
            </p:txBody>
          </p:sp>
          <p:sp>
            <p:nvSpPr>
              <p:cNvPr id="58" name="TextBox 57">
                <a:extLst>
                  <a:ext uri="{FF2B5EF4-FFF2-40B4-BE49-F238E27FC236}">
                    <a16:creationId xmlns:a16="http://schemas.microsoft.com/office/drawing/2014/main" id="{831E7E60-32D7-8917-F8F9-02A1B6844FE3}"/>
                  </a:ext>
                </a:extLst>
              </p:cNvPr>
              <p:cNvSpPr txBox="1"/>
              <p:nvPr/>
            </p:nvSpPr>
            <p:spPr>
              <a:xfrm>
                <a:off x="16809736" y="6522785"/>
                <a:ext cx="592763" cy="366254"/>
              </a:xfrm>
              <a:prstGeom prst="rect">
                <a:avLst/>
              </a:prstGeom>
              <a:noFill/>
            </p:spPr>
            <p:txBody>
              <a:bodyPr wrap="square" lIns="0" tIns="0" rIns="0" bIns="256032" rtlCol="0" anchor="b" anchorCtr="0">
                <a:spAutoFit/>
              </a:bodyPr>
              <a:lstStyle>
                <a:defPPr>
                  <a:defRPr lang="en-US"/>
                </a:defPPr>
                <a:lvl1pPr>
                  <a:defRPr sz="700" b="1">
                    <a:ln w="3175">
                      <a:noFill/>
                    </a:ln>
                    <a:gradFill>
                      <a:gsLst>
                        <a:gs pos="9174">
                          <a:schemeClr val="tx1"/>
                        </a:gs>
                        <a:gs pos="42000">
                          <a:schemeClr val="tx1"/>
                        </a:gs>
                      </a:gsLst>
                      <a:path path="circle">
                        <a:fillToRect l="100000" t="100000"/>
                      </a:path>
                    </a:gradFill>
                    <a:latin typeface="Segoe UI Variable Display Semibold" pitchFamily="2" charset="0"/>
                    <a:cs typeface="Segoe UI" pitchFamily="34" charset="0"/>
                  </a:defRPr>
                </a:lvl1pPr>
              </a:lstStyle>
              <a:p>
                <a:r>
                  <a:rPr lang="en-US"/>
                  <a:t>Light overlay</a:t>
                </a:r>
              </a:p>
            </p:txBody>
          </p:sp>
          <p:sp>
            <p:nvSpPr>
              <p:cNvPr id="59" name="TextBox 58">
                <a:extLst>
                  <a:ext uri="{FF2B5EF4-FFF2-40B4-BE49-F238E27FC236}">
                    <a16:creationId xmlns:a16="http://schemas.microsoft.com/office/drawing/2014/main" id="{B02138E3-7427-97AE-E5D2-7F6E20BDEB42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7285224" y="6647382"/>
                <a:ext cx="457200" cy="241657"/>
              </a:xfrm>
              <a:prstGeom prst="rect">
                <a:avLst/>
              </a:prstGeom>
              <a:solidFill>
                <a:srgbClr val="FFF8E5"/>
              </a:solidFill>
              <a:ln>
                <a:noFill/>
              </a:ln>
            </p:spPr>
            <p:txBody>
              <a:bodyPr wrap="square" lIns="91440" tIns="0" rIns="0" bIns="9144" rtlCol="0" anchor="ctr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 marL="0" marR="0" lvl="1" indent="0" defTabSz="93278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Tx/>
                  <a:buNone/>
                  <a:tabLst/>
                  <a:defRPr sz="900" b="1">
                    <a:ln w="3175">
                      <a:noFill/>
                    </a:ln>
                    <a:gradFill>
                      <a:gsLst>
                        <a:gs pos="9174">
                          <a:schemeClr val="tx1"/>
                        </a:gs>
                        <a:gs pos="42000">
                          <a:schemeClr val="tx1"/>
                        </a:gs>
                      </a:gsLst>
                      <a:path path="circle">
                        <a:fillToRect l="100000" t="100000"/>
                      </a:path>
                    </a:gradFill>
                    <a:latin typeface="Segoe UI Variable Display Semibold" pitchFamily="2" charset="0"/>
                    <a:cs typeface="Segoe UI" pitchFamily="34" charset="0"/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lvl="1"/>
                <a:endParaRPr lang="en-CA"/>
              </a:p>
            </p:txBody>
          </p:sp>
          <p:sp>
            <p:nvSpPr>
              <p:cNvPr id="60" name="TextBox 59">
                <a:extLst>
                  <a:ext uri="{FF2B5EF4-FFF2-40B4-BE49-F238E27FC236}">
                    <a16:creationId xmlns:a16="http://schemas.microsoft.com/office/drawing/2014/main" id="{E5CA7356-42D0-5B8E-38A8-235DFB7756CD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6809736" y="6647382"/>
                <a:ext cx="457200" cy="241657"/>
              </a:xfrm>
              <a:prstGeom prst="rect">
                <a:avLst/>
              </a:prstGeom>
              <a:solidFill>
                <a:srgbClr val="FFECEE"/>
              </a:solidFill>
              <a:ln>
                <a:noFill/>
              </a:ln>
            </p:spPr>
            <p:txBody>
              <a:bodyPr wrap="square" lIns="91440" tIns="0" rIns="0" bIns="9144" rtlCol="0" anchor="ctr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 marL="0" marR="0" lvl="1" indent="0" defTabSz="93278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Tx/>
                  <a:buNone/>
                  <a:tabLst/>
                  <a:defRPr sz="900" b="1">
                    <a:ln w="3175">
                      <a:noFill/>
                    </a:ln>
                    <a:gradFill>
                      <a:gsLst>
                        <a:gs pos="9174">
                          <a:schemeClr val="tx1"/>
                        </a:gs>
                        <a:gs pos="42000">
                          <a:schemeClr val="tx1"/>
                        </a:gs>
                      </a:gsLst>
                      <a:path path="circle">
                        <a:fillToRect l="100000" t="100000"/>
                      </a:path>
                    </a:gradFill>
                    <a:latin typeface="Segoe UI Variable Display Semibold" pitchFamily="2" charset="0"/>
                    <a:cs typeface="Segoe UI" pitchFamily="34" charset="0"/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lvl="1"/>
                <a:endParaRPr lang="en-CA"/>
              </a:p>
            </p:txBody>
          </p:sp>
          <p:sp>
            <p:nvSpPr>
              <p:cNvPr id="61" name="TextBox 60">
                <a:extLst>
                  <a:ext uri="{FF2B5EF4-FFF2-40B4-BE49-F238E27FC236}">
                    <a16:creationId xmlns:a16="http://schemas.microsoft.com/office/drawing/2014/main" id="{E3D3C6D0-A8E3-FA3D-1123-9E3985EEA0AE}"/>
                  </a:ext>
                </a:extLst>
              </p:cNvPr>
              <p:cNvSpPr txBox="1"/>
              <p:nvPr/>
            </p:nvSpPr>
            <p:spPr>
              <a:xfrm>
                <a:off x="17760712" y="6522785"/>
                <a:ext cx="546261" cy="366254"/>
              </a:xfrm>
              <a:prstGeom prst="rect">
                <a:avLst/>
              </a:prstGeom>
              <a:noFill/>
            </p:spPr>
            <p:txBody>
              <a:bodyPr wrap="square" lIns="0" tIns="0" rIns="0" bIns="256032" rtlCol="0" anchor="b" anchorCtr="0">
                <a:spAutoFit/>
              </a:bodyPr>
              <a:lstStyle>
                <a:defPPr>
                  <a:defRPr lang="en-US"/>
                </a:defPPr>
                <a:lvl1pPr>
                  <a:defRPr sz="700" b="1">
                    <a:ln w="3175">
                      <a:noFill/>
                    </a:ln>
                    <a:gradFill>
                      <a:gsLst>
                        <a:gs pos="9174">
                          <a:schemeClr val="tx1"/>
                        </a:gs>
                        <a:gs pos="42000">
                          <a:schemeClr val="tx1"/>
                        </a:gs>
                      </a:gsLst>
                      <a:path path="circle">
                        <a:fillToRect l="100000" t="100000"/>
                      </a:path>
                    </a:gradFill>
                    <a:latin typeface="Segoe UI Variable Display Semibold" pitchFamily="2" charset="0"/>
                    <a:cs typeface="Segoe UI" pitchFamily="34" charset="0"/>
                  </a:defRPr>
                </a:lvl1pPr>
              </a:lstStyle>
              <a:p>
                <a:r>
                  <a:rPr lang="en-US"/>
                  <a:t>Dark overlay</a:t>
                </a:r>
              </a:p>
            </p:txBody>
          </p:sp>
          <p:sp>
            <p:nvSpPr>
              <p:cNvPr id="62" name="TextBox 61">
                <a:extLst>
                  <a:ext uri="{FF2B5EF4-FFF2-40B4-BE49-F238E27FC236}">
                    <a16:creationId xmlns:a16="http://schemas.microsoft.com/office/drawing/2014/main" id="{F6344107-FCE3-1760-F249-2BF8E02DD755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7760712" y="6647382"/>
                <a:ext cx="457200" cy="241657"/>
              </a:xfrm>
              <a:prstGeom prst="rect">
                <a:avLst/>
              </a:prstGeom>
              <a:solidFill>
                <a:srgbClr val="73262F"/>
              </a:solidFill>
              <a:ln>
                <a:noFill/>
              </a:ln>
            </p:spPr>
            <p:txBody>
              <a:bodyPr wrap="square" lIns="45720" tIns="18288" rIns="0" bIns="0" rtlCol="0" anchor="t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 marL="0" lvl="1" defTabSz="932780">
                  <a:spcBef>
                    <a:spcPct val="20000"/>
                  </a:spcBef>
                  <a:buSzPct val="90000"/>
                  <a:defRPr sz="600" b="1">
                    <a:ln w="3175">
                      <a:noFill/>
                    </a:ln>
                    <a:gradFill>
                      <a:gsLst>
                        <a:gs pos="9174">
                          <a:schemeClr val="tx1"/>
                        </a:gs>
                        <a:gs pos="42000">
                          <a:schemeClr val="tx1"/>
                        </a:gs>
                      </a:gsLst>
                      <a:path path="circle">
                        <a:fillToRect l="100000" t="100000"/>
                      </a:path>
                    </a:gradFill>
                    <a:latin typeface="Segoe UI Variable Display Semibold" pitchFamily="2" charset="0"/>
                    <a:cs typeface="Segoe UI" pitchFamily="34" charset="0"/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lvl="1"/>
                <a:endParaRPr lang="en-CA"/>
              </a:p>
            </p:txBody>
          </p:sp>
          <p:sp>
            <p:nvSpPr>
              <p:cNvPr id="63" name="TextBox 62">
                <a:extLst>
                  <a:ext uri="{FF2B5EF4-FFF2-40B4-BE49-F238E27FC236}">
                    <a16:creationId xmlns:a16="http://schemas.microsoft.com/office/drawing/2014/main" id="{9857B583-B3A3-311D-1CC4-CAB2926CC0BA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8236200" y="6647382"/>
                <a:ext cx="457200" cy="241657"/>
              </a:xfrm>
              <a:prstGeom prst="rect">
                <a:avLst/>
              </a:prstGeom>
              <a:solidFill>
                <a:srgbClr val="7F5A1A"/>
              </a:solidFill>
              <a:ln>
                <a:noFill/>
              </a:ln>
            </p:spPr>
            <p:txBody>
              <a:bodyPr wrap="square" lIns="45720" tIns="18288" rIns="0" bIns="0" rtlCol="0" anchor="t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 marL="0" lvl="1" defTabSz="932780">
                  <a:spcBef>
                    <a:spcPct val="20000"/>
                  </a:spcBef>
                  <a:buSzPct val="90000"/>
                  <a:defRPr sz="600" b="1">
                    <a:ln w="3175">
                      <a:noFill/>
                    </a:ln>
                    <a:gradFill>
                      <a:gsLst>
                        <a:gs pos="9174">
                          <a:schemeClr val="tx1"/>
                        </a:gs>
                        <a:gs pos="42000">
                          <a:schemeClr val="tx1"/>
                        </a:gs>
                      </a:gsLst>
                      <a:path path="circle">
                        <a:fillToRect l="100000" t="100000"/>
                      </a:path>
                    </a:gradFill>
                    <a:latin typeface="Segoe UI Variable Display Semibold" pitchFamily="2" charset="0"/>
                    <a:cs typeface="Segoe UI" pitchFamily="34" charset="0"/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lvl="1"/>
                <a:endParaRPr lang="en-CA"/>
              </a:p>
            </p:txBody>
          </p:sp>
          <p:sp>
            <p:nvSpPr>
              <p:cNvPr id="128" name="TextBox 127">
                <a:extLst>
                  <a:ext uri="{FF2B5EF4-FFF2-40B4-BE49-F238E27FC236}">
                    <a16:creationId xmlns:a16="http://schemas.microsoft.com/office/drawing/2014/main" id="{3D4C301D-9987-154B-13C5-65DB37518BE6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5858760" y="6241023"/>
                <a:ext cx="457200" cy="241657"/>
              </a:xfrm>
              <a:prstGeom prst="rect">
                <a:avLst/>
              </a:prstGeom>
              <a:solidFill>
                <a:srgbClr val="FFC6CC"/>
              </a:solidFill>
              <a:ln>
                <a:noFill/>
              </a:ln>
            </p:spPr>
            <p:txBody>
              <a:bodyPr wrap="square" lIns="45720" tIns="18288" rIns="0" bIns="0" rtlCol="0" anchor="t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>
                  <a:defRPr>
                    <a:solidFill>
                      <a:schemeClr val="tx1"/>
                    </a:solidFill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marL="0" marR="0" lvl="1" indent="0" algn="l" defTabSz="932780" rtl="0" eaLnBrk="1" fontAlgn="auto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Tx/>
                  <a:buNone/>
                  <a:tabLst/>
                  <a:defRPr/>
                </a:pPr>
                <a:endParaRPr lang="en-CA" sz="600" b="1">
                  <a:ln w="3175">
                    <a:noFill/>
                  </a:ln>
                  <a:gradFill>
                    <a:gsLst>
                      <a:gs pos="90826">
                        <a:srgbClr val="FFFFFF"/>
                      </a:gs>
                      <a:gs pos="65000">
                        <a:srgbClr val="FFFFFF"/>
                      </a:gs>
                    </a:gsLst>
                    <a:path path="circle">
                      <a:fillToRect l="100000" t="100000"/>
                    </a:path>
                  </a:gradFill>
                  <a:latin typeface="Segoe UI Variable Display Semibold" pitchFamily="2" charset="0"/>
                  <a:cs typeface="Segoe UI" pitchFamily="34" charset="0"/>
                </a:endParaRPr>
              </a:p>
            </p:txBody>
          </p:sp>
          <p:sp>
            <p:nvSpPr>
              <p:cNvPr id="129" name="TextBox 128">
                <a:extLst>
                  <a:ext uri="{FF2B5EF4-FFF2-40B4-BE49-F238E27FC236}">
                    <a16:creationId xmlns:a16="http://schemas.microsoft.com/office/drawing/2014/main" id="{565E8CAA-775E-EB3E-D831-1DC29AA4D91D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6334248" y="6241023"/>
                <a:ext cx="457200" cy="241657"/>
              </a:xfrm>
              <a:prstGeom prst="rect">
                <a:avLst/>
              </a:prstGeom>
              <a:solidFill>
                <a:srgbClr val="FFEAB2"/>
              </a:solidFill>
              <a:ln>
                <a:noFill/>
              </a:ln>
            </p:spPr>
            <p:txBody>
              <a:bodyPr wrap="square" lIns="45720" tIns="18288" rIns="0" bIns="0" rtlCol="0" anchor="t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>
                  <a:defRPr>
                    <a:solidFill>
                      <a:schemeClr val="tx1"/>
                    </a:solidFill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marL="0" marR="0" lvl="1" indent="0" algn="l" defTabSz="932780" rtl="0" eaLnBrk="1" fontAlgn="auto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Tx/>
                  <a:buNone/>
                  <a:tabLst/>
                  <a:defRPr/>
                </a:pPr>
                <a:endParaRPr lang="en-CA" sz="600" b="1">
                  <a:ln w="3175">
                    <a:noFill/>
                  </a:ln>
                  <a:gradFill>
                    <a:gsLst>
                      <a:gs pos="90826">
                        <a:srgbClr val="FFFFFF"/>
                      </a:gs>
                      <a:gs pos="65000">
                        <a:srgbClr val="FFFFFF"/>
                      </a:gs>
                    </a:gsLst>
                    <a:path path="circle">
                      <a:fillToRect l="100000" t="100000"/>
                    </a:path>
                  </a:gradFill>
                  <a:latin typeface="Segoe UI Variable Display Semibold" pitchFamily="2" charset="0"/>
                  <a:cs typeface="Segoe UI" pitchFamily="34" charset="0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0B4FBDE4-3A24-87DF-DAF8-523C0040B8E5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 flipH="1">
                <a:off x="15858760" y="6241023"/>
                <a:ext cx="457200" cy="241657"/>
              </a:xfrm>
              <a:prstGeom prst="rtTriangle">
                <a:avLst/>
              </a:prstGeom>
              <a:solidFill>
                <a:srgbClr val="73262F"/>
              </a:solidFill>
              <a:ln>
                <a:noFill/>
              </a:ln>
            </p:spPr>
            <p:txBody>
              <a:bodyPr wrap="square" lIns="45720" tIns="18288" rIns="0" bIns="0" rtlCol="0" anchor="t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>
                  <a:defRPr>
                    <a:solidFill>
                      <a:schemeClr val="tx1"/>
                    </a:solidFill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marL="0" lvl="1" defTabSz="932780">
                  <a:spcBef>
                    <a:spcPct val="20000"/>
                  </a:spcBef>
                  <a:buSzPct val="90000"/>
                  <a:defRPr/>
                </a:pPr>
                <a:endParaRPr lang="en-CA" sz="600" b="1">
                  <a:ln w="3175">
                    <a:noFill/>
                  </a:ln>
                  <a:gradFill>
                    <a:gsLst>
                      <a:gs pos="9174">
                        <a:schemeClr val="tx1"/>
                      </a:gs>
                      <a:gs pos="42000">
                        <a:schemeClr val="tx1"/>
                      </a:gs>
                    </a:gsLst>
                    <a:path path="circle">
                      <a:fillToRect l="100000" t="100000"/>
                    </a:path>
                  </a:gradFill>
                  <a:latin typeface="Segoe UI Variable Display Semibold" pitchFamily="2" charset="0"/>
                  <a:cs typeface="Segoe UI" pitchFamily="34" charset="0"/>
                </a:endParaRPr>
              </a:p>
            </p:txBody>
          </p:sp>
          <p:sp>
            <p:nvSpPr>
              <p:cNvPr id="131" name="TextBox 130">
                <a:extLst>
                  <a:ext uri="{FF2B5EF4-FFF2-40B4-BE49-F238E27FC236}">
                    <a16:creationId xmlns:a16="http://schemas.microsoft.com/office/drawing/2014/main" id="{29450C06-7661-A938-81AE-5E7FCD41BE06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 flipH="1">
                <a:off x="16334248" y="6241023"/>
                <a:ext cx="457200" cy="241657"/>
              </a:xfrm>
              <a:prstGeom prst="rtTriangle">
                <a:avLst/>
              </a:prstGeom>
              <a:solidFill>
                <a:srgbClr val="7F5A1A"/>
              </a:solidFill>
              <a:ln>
                <a:noFill/>
              </a:ln>
            </p:spPr>
            <p:txBody>
              <a:bodyPr wrap="square" lIns="45720" tIns="18288" rIns="0" bIns="0" rtlCol="0" anchor="t" anchorCtr="0">
                <a:noAutofit/>
              </a:bodyPr>
              <a:lstStyle>
                <a:defPPr>
                  <a:defRPr lang="en-US"/>
                </a:defPPr>
                <a:lvl1pPr algn="ctr" defTabSz="2275850" fontAlgn="base">
                  <a:spcBef>
                    <a:spcPct val="0"/>
                  </a:spcBef>
                  <a:spcAft>
                    <a:spcPct val="0"/>
                  </a:spcAft>
                  <a:tabLst>
                    <a:tab pos="3701239" algn="l"/>
                  </a:tabLst>
                  <a:defRPr sz="6000" b="1">
                    <a:ln w="3175">
                      <a:noFill/>
                    </a:ln>
                    <a:gradFill>
                      <a:gsLst>
                        <a:gs pos="53147">
                          <a:srgbClr val="FFFFFF"/>
                        </a:gs>
                        <a:gs pos="2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Segoe UI Variable Display Semib" pitchFamily="2" charset="0"/>
                    <a:cs typeface="Segoe UI" pitchFamily="34" charset="0"/>
                  </a:defRPr>
                </a:lvl1pPr>
                <a:lvl2pPr>
                  <a:defRPr>
                    <a:solidFill>
                      <a:schemeClr val="tx1"/>
                    </a:solidFill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marL="0" lvl="1" defTabSz="932780">
                  <a:spcBef>
                    <a:spcPct val="20000"/>
                  </a:spcBef>
                  <a:buSzPct val="90000"/>
                  <a:defRPr/>
                </a:pPr>
                <a:endParaRPr lang="en-CA" sz="600" b="1">
                  <a:ln w="3175">
                    <a:noFill/>
                  </a:ln>
                  <a:gradFill>
                    <a:gsLst>
                      <a:gs pos="9174">
                        <a:schemeClr val="tx1"/>
                      </a:gs>
                      <a:gs pos="42000">
                        <a:schemeClr val="tx1"/>
                      </a:gs>
                    </a:gsLst>
                    <a:path path="circle">
                      <a:fillToRect l="100000" t="100000"/>
                    </a:path>
                  </a:gradFill>
                  <a:latin typeface="Segoe UI Variable Display Semibold" pitchFamily="2" charset="0"/>
                  <a:cs typeface="Segoe UI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70024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650" r:id="rId1"/>
    <p:sldLayoutId id="2147485651" r:id="rId2"/>
    <p:sldLayoutId id="2147485652" r:id="rId3"/>
    <p:sldLayoutId id="2147485653" r:id="rId4"/>
    <p:sldLayoutId id="2147485654" r:id="rId5"/>
    <p:sldLayoutId id="2147485655" r:id="rId6"/>
    <p:sldLayoutId id="2147485656" r:id="rId7"/>
    <p:sldLayoutId id="2147485657" r:id="rId8"/>
    <p:sldLayoutId id="2147485658" r:id="rId9"/>
    <p:sldLayoutId id="2147485659" r:id="rId10"/>
    <p:sldLayoutId id="2147485660" r:id="rId11"/>
    <p:sldLayoutId id="2147485661" r:id="rId12"/>
    <p:sldLayoutId id="2147485662" r:id="rId13"/>
    <p:sldLayoutId id="2147485663" r:id="rId14"/>
    <p:sldLayoutId id="2147485664" r:id="rId15"/>
    <p:sldLayoutId id="2147485665" r:id="rId16"/>
    <p:sldLayoutId id="2147485666" r:id="rId17"/>
    <p:sldLayoutId id="2147485667" r:id="rId18"/>
    <p:sldLayoutId id="2147485668" r:id="rId19"/>
    <p:sldLayoutId id="2147485669" r:id="rId20"/>
    <p:sldLayoutId id="2147485670" r:id="rId21"/>
    <p:sldLayoutId id="2147485671" r:id="rId22"/>
    <p:sldLayoutId id="2147485672" r:id="rId23"/>
    <p:sldLayoutId id="2147485673" r:id="rId24"/>
    <p:sldLayoutId id="2147485674" r:id="rId25"/>
    <p:sldLayoutId id="2147485675" r:id="rId26"/>
    <p:sldLayoutId id="2147485676" r:id="rId27"/>
    <p:sldLayoutId id="2147485677" r:id="rId28"/>
    <p:sldLayoutId id="2147485678" r:id="rId29"/>
    <p:sldLayoutId id="2147485679" r:id="rId30"/>
    <p:sldLayoutId id="2147485680" r:id="rId31"/>
    <p:sldLayoutId id="2147485681" r:id="rId32"/>
    <p:sldLayoutId id="2147485682" r:id="rId33"/>
    <p:sldLayoutId id="2147485683" r:id="rId34"/>
    <p:sldLayoutId id="2147485684" r:id="rId35"/>
    <p:sldLayoutId id="2147485685" r:id="rId36"/>
    <p:sldLayoutId id="2147485686" r:id="rId37"/>
    <p:sldLayoutId id="2147485687" r:id="rId38"/>
    <p:sldLayoutId id="2147485688" r:id="rId39"/>
    <p:sldLayoutId id="2147485689" r:id="rId40"/>
    <p:sldLayoutId id="2147485690" r:id="rId41"/>
    <p:sldLayoutId id="2147485691" r:id="rId42"/>
    <p:sldLayoutId id="2147485692" r:id="rId43"/>
    <p:sldLayoutId id="2147485693" r:id="rId44"/>
    <p:sldLayoutId id="2147485694" r:id="rId45"/>
    <p:sldLayoutId id="2147485695" r:id="rId46"/>
    <p:sldLayoutId id="2147485696" r:id="rId47"/>
    <p:sldLayoutId id="2147485697" r:id="rId48"/>
    <p:sldLayoutId id="2147485698" r:id="rId49"/>
    <p:sldLayoutId id="2147485699" r:id="rId50"/>
    <p:sldLayoutId id="2147485700" r:id="rId51"/>
    <p:sldLayoutId id="2147485701" r:id="rId52"/>
    <p:sldLayoutId id="2147485702" r:id="rId53"/>
    <p:sldLayoutId id="2147485703" r:id="rId54"/>
    <p:sldLayoutId id="2147485704" r:id="rId55"/>
    <p:sldLayoutId id="2147485705" r:id="rId56"/>
    <p:sldLayoutId id="2147485706" r:id="rId57"/>
    <p:sldLayoutId id="2147485707" r:id="rId58"/>
    <p:sldLayoutId id="2147485708" r:id="rId59"/>
    <p:sldLayoutId id="2147485709" r:id="rId60"/>
    <p:sldLayoutId id="2147485710" r:id="rId61"/>
    <p:sldLayoutId id="2147485711" r:id="rId62"/>
    <p:sldLayoutId id="2147485712" r:id="rId63"/>
    <p:sldLayoutId id="2147485713" r:id="rId64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0" kern="1200" cap="none" spc="-50" baseline="0" dirty="0" smtClean="0">
          <a:ln w="3175">
            <a:noFill/>
          </a:ln>
          <a:solidFill>
            <a:schemeClr val="tx1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solidFill>
            <a:schemeClr val="tx1"/>
          </a:solidFill>
          <a:latin typeface="+mn-lt"/>
          <a:ea typeface="+mn-ea"/>
          <a:cs typeface="Segoe UI" panose="020B05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  <p15:guide id="31" orient="horz" pos="400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blackWhite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9EE0FB50-F632-6593-2B42-21057CE4C4AA}"/>
              </a:ext>
            </a:extLst>
          </p:cNvPr>
          <p:cNvGrpSpPr/>
          <p:nvPr userDrawn="1"/>
        </p:nvGrpSpPr>
        <p:grpSpPr>
          <a:xfrm>
            <a:off x="12410482" y="0"/>
            <a:ext cx="2639018" cy="6858001"/>
            <a:chOff x="12410482" y="0"/>
            <a:chExt cx="2639018" cy="6858001"/>
          </a:xfrm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63E1FEEE-112B-02EA-2A33-B4B71AD51CD0}"/>
                </a:ext>
              </a:extLst>
            </p:cNvPr>
            <p:cNvSpPr/>
            <p:nvPr userDrawn="1"/>
          </p:nvSpPr>
          <p:spPr bwMode="auto">
            <a:xfrm>
              <a:off x="12410482" y="2"/>
              <a:ext cx="530159" cy="722860"/>
            </a:xfrm>
            <a:prstGeom prst="rect">
              <a:avLst/>
            </a:prstGeom>
            <a:solidFill>
              <a:schemeClr val="bg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0" name="Rectangle: Single Corner Snipped 49">
              <a:extLst>
                <a:ext uri="{FF2B5EF4-FFF2-40B4-BE49-F238E27FC236}">
                  <a16:creationId xmlns:a16="http://schemas.microsoft.com/office/drawing/2014/main" id="{E60A3D03-6048-C4DE-5E7A-26BA8E566B48}"/>
                </a:ext>
              </a:extLst>
            </p:cNvPr>
            <p:cNvSpPr/>
            <p:nvPr userDrawn="1"/>
          </p:nvSpPr>
          <p:spPr bwMode="auto">
            <a:xfrm flipV="1">
              <a:off x="12994851" y="2"/>
              <a:ext cx="530160" cy="722860"/>
            </a:xfrm>
            <a:prstGeom prst="snip1Rect">
              <a:avLst>
                <a:gd name="adj" fmla="val 41626"/>
              </a:avLst>
            </a:prstGeom>
            <a:solidFill>
              <a:schemeClr val="bg2">
                <a:lumMod val="40000"/>
                <a:lumOff val="6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58673699-9081-FA96-B0BB-C69FAC84C74F}"/>
                </a:ext>
              </a:extLst>
            </p:cNvPr>
            <p:cNvSpPr/>
            <p:nvPr userDrawn="1"/>
          </p:nvSpPr>
          <p:spPr bwMode="auto">
            <a:xfrm>
              <a:off x="12410482" y="1537243"/>
              <a:ext cx="530159" cy="722860"/>
            </a:xfrm>
            <a:prstGeom prst="rect">
              <a:avLst/>
            </a:prstGeom>
            <a:solidFill>
              <a:srgbClr val="374649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2" name="Rectangle: Single Corner Snipped 51">
              <a:extLst>
                <a:ext uri="{FF2B5EF4-FFF2-40B4-BE49-F238E27FC236}">
                  <a16:creationId xmlns:a16="http://schemas.microsoft.com/office/drawing/2014/main" id="{E7D36249-54DA-4D92-3FAE-CADB419C311E}"/>
                </a:ext>
              </a:extLst>
            </p:cNvPr>
            <p:cNvSpPr/>
            <p:nvPr userDrawn="1"/>
          </p:nvSpPr>
          <p:spPr bwMode="auto">
            <a:xfrm flipV="1">
              <a:off x="12994851" y="1537242"/>
              <a:ext cx="530160" cy="722860"/>
            </a:xfrm>
            <a:prstGeom prst="snip1Rect">
              <a:avLst>
                <a:gd name="adj" fmla="val 39234"/>
              </a:avLst>
            </a:prstGeom>
            <a:solidFill>
              <a:srgbClr val="A7B9BD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C12DE7B7-6D48-157C-B67E-80676A5D1796}"/>
                </a:ext>
              </a:extLst>
            </p:cNvPr>
            <p:cNvSpPr/>
            <p:nvPr userDrawn="1"/>
          </p:nvSpPr>
          <p:spPr bwMode="auto">
            <a:xfrm>
              <a:off x="12410604" y="2305863"/>
              <a:ext cx="530159" cy="720557"/>
            </a:xfrm>
            <a:prstGeom prst="rect">
              <a:avLst/>
            </a:prstGeom>
            <a:solidFill>
              <a:srgbClr val="6A4B1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" wrap="square" lIns="182880" tIns="45720" rIns="18288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Power Bi Dark</a:t>
              </a:r>
            </a:p>
          </p:txBody>
        </p:sp>
        <p:sp>
          <p:nvSpPr>
            <p:cNvPr id="59" name="Rectangle: Single Corner Snipped 58">
              <a:extLst>
                <a:ext uri="{FF2B5EF4-FFF2-40B4-BE49-F238E27FC236}">
                  <a16:creationId xmlns:a16="http://schemas.microsoft.com/office/drawing/2014/main" id="{04704ADC-5A71-A7AC-08FB-98476ACD606B}"/>
                </a:ext>
              </a:extLst>
            </p:cNvPr>
            <p:cNvSpPr/>
            <p:nvPr userDrawn="1"/>
          </p:nvSpPr>
          <p:spPr bwMode="auto">
            <a:xfrm flipV="1">
              <a:off x="12995340" y="2305862"/>
              <a:ext cx="530160" cy="720557"/>
            </a:xfrm>
            <a:prstGeom prst="snip1Rect">
              <a:avLst>
                <a:gd name="adj" fmla="val 38037"/>
              </a:avLst>
            </a:prstGeom>
            <a:solidFill>
              <a:srgbClr val="F2CE3E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4572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Power Bi Light</a:t>
              </a:r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56110A8D-D937-33BE-87D5-7E552688D3F2}"/>
                </a:ext>
              </a:extLst>
            </p:cNvPr>
            <p:cNvSpPr/>
            <p:nvPr userDrawn="1"/>
          </p:nvSpPr>
          <p:spPr bwMode="auto">
            <a:xfrm>
              <a:off x="12410727" y="3072180"/>
              <a:ext cx="530159" cy="720557"/>
            </a:xfrm>
            <a:prstGeom prst="rect">
              <a:avLst/>
            </a:prstGeom>
            <a:solidFill>
              <a:srgbClr val="0066FF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" wrap="square" lIns="182880" tIns="45720" rIns="18288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Power</a:t>
              </a:r>
              <a:br>
                <a: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</a:br>
              <a:r>
                <a: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Automate Dark</a:t>
              </a:r>
            </a:p>
          </p:txBody>
        </p:sp>
        <p:sp>
          <p:nvSpPr>
            <p:cNvPr id="63" name="Rectangle: Single Corner Snipped 62">
              <a:extLst>
                <a:ext uri="{FF2B5EF4-FFF2-40B4-BE49-F238E27FC236}">
                  <a16:creationId xmlns:a16="http://schemas.microsoft.com/office/drawing/2014/main" id="{4F3699C4-A871-BEAC-0F44-134D67BDA5B2}"/>
                </a:ext>
              </a:extLst>
            </p:cNvPr>
            <p:cNvSpPr/>
            <p:nvPr userDrawn="1"/>
          </p:nvSpPr>
          <p:spPr bwMode="auto">
            <a:xfrm flipV="1">
              <a:off x="12995340" y="3072179"/>
              <a:ext cx="530160" cy="720557"/>
            </a:xfrm>
            <a:prstGeom prst="snip1Rect">
              <a:avLst>
                <a:gd name="adj" fmla="val 38037"/>
              </a:avLst>
            </a:prstGeom>
            <a:solidFill>
              <a:srgbClr val="50E6FF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4572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Power</a:t>
              </a:r>
              <a:br>
                <a: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</a:br>
              <a:r>
                <a: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Automate Light</a:t>
              </a:r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4F6C4DB2-FFDC-E46B-7EB6-A1AD0A18E2AA}"/>
                </a:ext>
              </a:extLst>
            </p:cNvPr>
            <p:cNvSpPr/>
            <p:nvPr userDrawn="1"/>
          </p:nvSpPr>
          <p:spPr bwMode="auto">
            <a:xfrm>
              <a:off x="12410849" y="3838497"/>
              <a:ext cx="530159" cy="720557"/>
            </a:xfrm>
            <a:prstGeom prst="rect">
              <a:avLst/>
            </a:prstGeom>
            <a:solidFill>
              <a:srgbClr val="742774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" wrap="square" lIns="182880" tIns="45720" rIns="18288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Power</a:t>
              </a:r>
              <a:br>
                <a: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</a:br>
              <a:r>
                <a: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Apps</a:t>
              </a:r>
              <a:br>
                <a: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</a:br>
              <a:r>
                <a: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Dark</a:t>
              </a:r>
            </a:p>
          </p:txBody>
        </p:sp>
        <p:sp>
          <p:nvSpPr>
            <p:cNvPr id="67" name="Rectangle: Single Corner Snipped 66">
              <a:extLst>
                <a:ext uri="{FF2B5EF4-FFF2-40B4-BE49-F238E27FC236}">
                  <a16:creationId xmlns:a16="http://schemas.microsoft.com/office/drawing/2014/main" id="{05CDE5CD-D913-F954-8055-783E465DF50F}"/>
                </a:ext>
              </a:extLst>
            </p:cNvPr>
            <p:cNvSpPr/>
            <p:nvPr userDrawn="1"/>
          </p:nvSpPr>
          <p:spPr bwMode="auto">
            <a:xfrm flipV="1">
              <a:off x="12995340" y="3838496"/>
              <a:ext cx="530160" cy="720557"/>
            </a:xfrm>
            <a:prstGeom prst="snip1Rect">
              <a:avLst>
                <a:gd name="adj" fmla="val 30859"/>
              </a:avLst>
            </a:prstGeom>
            <a:solidFill>
              <a:srgbClr val="D59DFF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4572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Power</a:t>
              </a:r>
              <a:br>
                <a: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</a:br>
              <a:r>
                <a: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Apps</a:t>
              </a:r>
              <a:br>
                <a: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</a:br>
              <a:r>
                <a: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Light</a:t>
              </a:r>
            </a:p>
          </p:txBody>
        </p: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F966EBCE-C013-9EED-E9EB-BA17AA3E5C8F}"/>
                </a:ext>
              </a:extLst>
            </p:cNvPr>
            <p:cNvSpPr/>
            <p:nvPr userDrawn="1"/>
          </p:nvSpPr>
          <p:spPr bwMode="auto">
            <a:xfrm>
              <a:off x="12410970" y="4604814"/>
              <a:ext cx="530159" cy="720557"/>
            </a:xfrm>
            <a:prstGeom prst="rect">
              <a:avLst/>
            </a:prstGeom>
            <a:solidFill>
              <a:srgbClr val="0B556A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" wrap="square" lIns="182880" tIns="45720" rIns="18288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Power Virtual</a:t>
              </a:r>
              <a:br>
                <a: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</a:br>
              <a:r>
                <a: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Agents Dark</a:t>
              </a:r>
            </a:p>
          </p:txBody>
        </p:sp>
        <p:sp>
          <p:nvSpPr>
            <p:cNvPr id="69" name="Rectangle: Single Corner Snipped 68">
              <a:extLst>
                <a:ext uri="{FF2B5EF4-FFF2-40B4-BE49-F238E27FC236}">
                  <a16:creationId xmlns:a16="http://schemas.microsoft.com/office/drawing/2014/main" id="{13187A80-1B29-1AA7-E72E-CC324C7731B3}"/>
                </a:ext>
              </a:extLst>
            </p:cNvPr>
            <p:cNvSpPr/>
            <p:nvPr userDrawn="1"/>
          </p:nvSpPr>
          <p:spPr bwMode="auto">
            <a:xfrm flipV="1">
              <a:off x="12995340" y="4604813"/>
              <a:ext cx="530160" cy="720557"/>
            </a:xfrm>
            <a:prstGeom prst="snip1Rect">
              <a:avLst>
                <a:gd name="adj" fmla="val 21276"/>
              </a:avLst>
            </a:prstGeom>
            <a:solidFill>
              <a:srgbClr val="4CCBED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45720" tIns="27432" rIns="91440" bIns="2743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Power Virtual</a:t>
              </a:r>
              <a:br>
                <a: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</a:br>
              <a:r>
                <a: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Agents Light</a:t>
              </a: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68D432F4-C1DA-83AF-FC96-0CDD7996560C}"/>
                </a:ext>
              </a:extLst>
            </p:cNvPr>
            <p:cNvSpPr/>
            <p:nvPr userDrawn="1"/>
          </p:nvSpPr>
          <p:spPr bwMode="auto">
            <a:xfrm>
              <a:off x="12410849" y="5371131"/>
              <a:ext cx="530159" cy="720557"/>
            </a:xfrm>
            <a:prstGeom prst="rect">
              <a:avLst/>
            </a:prstGeom>
            <a:solidFill>
              <a:srgbClr val="22204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" wrap="square" lIns="182880" tIns="45720" rIns="18288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Power</a:t>
              </a:r>
              <a:br>
                <a: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</a:br>
              <a:r>
                <a: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Pages Dark</a:t>
              </a:r>
            </a:p>
          </p:txBody>
        </p:sp>
        <p:sp>
          <p:nvSpPr>
            <p:cNvPr id="74" name="Rectangle: Single Corner Snipped 73">
              <a:extLst>
                <a:ext uri="{FF2B5EF4-FFF2-40B4-BE49-F238E27FC236}">
                  <a16:creationId xmlns:a16="http://schemas.microsoft.com/office/drawing/2014/main" id="{5E28FDC9-01D2-1FE1-7F07-0906701CCACF}"/>
                </a:ext>
              </a:extLst>
            </p:cNvPr>
            <p:cNvSpPr/>
            <p:nvPr userDrawn="1"/>
          </p:nvSpPr>
          <p:spPr bwMode="auto">
            <a:xfrm flipV="1">
              <a:off x="12995340" y="5371130"/>
              <a:ext cx="530160" cy="720557"/>
            </a:xfrm>
            <a:prstGeom prst="snip1Rect">
              <a:avLst>
                <a:gd name="adj" fmla="val 33252"/>
              </a:avLst>
            </a:prstGeom>
            <a:solidFill>
              <a:srgbClr val="4B44C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4572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Power</a:t>
              </a:r>
              <a:br>
                <a: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</a:br>
              <a:r>
                <a: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Pages Light</a:t>
              </a:r>
            </a:p>
          </p:txBody>
        </p:sp>
        <p:sp>
          <p:nvSpPr>
            <p:cNvPr id="91" name="Rectangle 90">
              <a:extLst>
                <a:ext uri="{FF2B5EF4-FFF2-40B4-BE49-F238E27FC236}">
                  <a16:creationId xmlns:a16="http://schemas.microsoft.com/office/drawing/2014/main" id="{52B15FA5-6C54-48D2-5AF5-5F911096FD9C}"/>
                </a:ext>
              </a:extLst>
            </p:cNvPr>
            <p:cNvSpPr/>
            <p:nvPr userDrawn="1"/>
          </p:nvSpPr>
          <p:spPr bwMode="auto">
            <a:xfrm>
              <a:off x="12410970" y="6137444"/>
              <a:ext cx="530159" cy="720557"/>
            </a:xfrm>
            <a:prstGeom prst="rect">
              <a:avLst/>
            </a:prstGeom>
            <a:solidFill>
              <a:srgbClr val="14938C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" wrap="square" lIns="182880" tIns="45720" rIns="18288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Power</a:t>
              </a:r>
              <a:br>
                <a: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</a:br>
              <a:r>
                <a: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Platform Dark</a:t>
              </a:r>
            </a:p>
          </p:txBody>
        </p:sp>
        <p:sp>
          <p:nvSpPr>
            <p:cNvPr id="92" name="Rectangle: Single Corner Snipped 91">
              <a:extLst>
                <a:ext uri="{FF2B5EF4-FFF2-40B4-BE49-F238E27FC236}">
                  <a16:creationId xmlns:a16="http://schemas.microsoft.com/office/drawing/2014/main" id="{FECDD228-E02E-C86F-8EE2-87C6C84F8F3E}"/>
                </a:ext>
              </a:extLst>
            </p:cNvPr>
            <p:cNvSpPr/>
            <p:nvPr userDrawn="1"/>
          </p:nvSpPr>
          <p:spPr bwMode="auto">
            <a:xfrm flipV="1">
              <a:off x="12995340" y="6137444"/>
              <a:ext cx="530160" cy="720557"/>
            </a:xfrm>
            <a:prstGeom prst="snip1Rect">
              <a:avLst>
                <a:gd name="adj" fmla="val 24878"/>
              </a:avLst>
            </a:prstGeom>
            <a:solidFill>
              <a:srgbClr val="4BC17A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4572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Power</a:t>
              </a:r>
              <a:br>
                <a: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</a:br>
              <a:r>
                <a: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Platform Light</a:t>
              </a:r>
            </a:p>
          </p:txBody>
        </p:sp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BE7E2E2D-C6B1-5EA4-7349-83FF5DE2DBB6}"/>
                </a:ext>
              </a:extLst>
            </p:cNvPr>
            <p:cNvSpPr/>
            <p:nvPr userDrawn="1"/>
          </p:nvSpPr>
          <p:spPr bwMode="auto">
            <a:xfrm>
              <a:off x="12410482" y="768622"/>
              <a:ext cx="530159" cy="722861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12" name="Rectangle: Single Corner Snipped 111">
              <a:extLst>
                <a:ext uri="{FF2B5EF4-FFF2-40B4-BE49-F238E27FC236}">
                  <a16:creationId xmlns:a16="http://schemas.microsoft.com/office/drawing/2014/main" id="{7109F77D-50EF-7CD4-C093-4F6451C99DB6}"/>
                </a:ext>
              </a:extLst>
            </p:cNvPr>
            <p:cNvSpPr/>
            <p:nvPr userDrawn="1"/>
          </p:nvSpPr>
          <p:spPr bwMode="auto">
            <a:xfrm flipV="1">
              <a:off x="12994851" y="768622"/>
              <a:ext cx="530160" cy="722860"/>
            </a:xfrm>
            <a:prstGeom prst="snip1Rect">
              <a:avLst>
                <a:gd name="adj" fmla="val 41626"/>
              </a:avLst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29425B8F-DEAE-2553-A34D-A142F1FCE2F5}"/>
                </a:ext>
              </a:extLst>
            </p:cNvPr>
            <p:cNvSpPr/>
            <p:nvPr userDrawn="1"/>
          </p:nvSpPr>
          <p:spPr bwMode="auto">
            <a:xfrm>
              <a:off x="13608553" y="0"/>
              <a:ext cx="134938" cy="2203733"/>
            </a:xfrm>
            <a:custGeom>
              <a:avLst/>
              <a:gdLst>
                <a:gd name="connsiteX0" fmla="*/ 0 w 200025"/>
                <a:gd name="connsiteY0" fmla="*/ 0 h 2203733"/>
                <a:gd name="connsiteX1" fmla="*/ 200025 w 200025"/>
                <a:gd name="connsiteY1" fmla="*/ 0 h 2203733"/>
                <a:gd name="connsiteX2" fmla="*/ 200025 w 200025"/>
                <a:gd name="connsiteY2" fmla="*/ 2203733 h 2203733"/>
                <a:gd name="connsiteX3" fmla="*/ 0 w 200025"/>
                <a:gd name="connsiteY3" fmla="*/ 2203733 h 2203733"/>
                <a:gd name="connsiteX4" fmla="*/ 0 w 200025"/>
                <a:gd name="connsiteY4" fmla="*/ 0 h 2203733"/>
                <a:gd name="connsiteX0" fmla="*/ 0 w 200025"/>
                <a:gd name="connsiteY0" fmla="*/ 0 h 2203733"/>
                <a:gd name="connsiteX1" fmla="*/ 200025 w 200025"/>
                <a:gd name="connsiteY1" fmla="*/ 0 h 2203733"/>
                <a:gd name="connsiteX2" fmla="*/ 200025 w 200025"/>
                <a:gd name="connsiteY2" fmla="*/ 2203733 h 2203733"/>
                <a:gd name="connsiteX3" fmla="*/ 0 w 200025"/>
                <a:gd name="connsiteY3" fmla="*/ 2203733 h 2203733"/>
                <a:gd name="connsiteX4" fmla="*/ 91440 w 200025"/>
                <a:gd name="connsiteY4" fmla="*/ 91440 h 2203733"/>
                <a:gd name="connsiteX0" fmla="*/ 0 w 200025"/>
                <a:gd name="connsiteY0" fmla="*/ 0 h 2203733"/>
                <a:gd name="connsiteX1" fmla="*/ 200025 w 200025"/>
                <a:gd name="connsiteY1" fmla="*/ 0 h 2203733"/>
                <a:gd name="connsiteX2" fmla="*/ 200025 w 200025"/>
                <a:gd name="connsiteY2" fmla="*/ 2203733 h 2203733"/>
                <a:gd name="connsiteX3" fmla="*/ 0 w 200025"/>
                <a:gd name="connsiteY3" fmla="*/ 2203733 h 2203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0025" h="2203733">
                  <a:moveTo>
                    <a:pt x="0" y="0"/>
                  </a:moveTo>
                  <a:lnTo>
                    <a:pt x="200025" y="0"/>
                  </a:lnTo>
                  <a:lnTo>
                    <a:pt x="200025" y="2203733"/>
                  </a:lnTo>
                  <a:lnTo>
                    <a:pt x="0" y="2203733"/>
                  </a:lnTo>
                </a:path>
              </a:pathLst>
            </a:custGeom>
            <a:ln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17" name="TextBox 116">
              <a:extLst>
                <a:ext uri="{FF2B5EF4-FFF2-40B4-BE49-F238E27FC236}">
                  <a16:creationId xmlns:a16="http://schemas.microsoft.com/office/drawing/2014/main" id="{D0EA6001-AA7F-ADE7-1D3C-E21D2ED694F6}"/>
                </a:ext>
              </a:extLst>
            </p:cNvPr>
            <p:cNvSpPr txBox="1"/>
            <p:nvPr userDrawn="1"/>
          </p:nvSpPr>
          <p:spPr>
            <a:xfrm rot="5400000">
              <a:off x="13119148" y="971060"/>
              <a:ext cx="1263926" cy="261610"/>
            </a:xfrm>
            <a:prstGeom prst="rect">
              <a:avLst/>
            </a:prstGeom>
            <a:solidFill>
              <a:srgbClr val="ECECEC"/>
            </a:solidFill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Universal Colors</a:t>
              </a:r>
            </a:p>
          </p:txBody>
        </p:sp>
        <p:sp>
          <p:nvSpPr>
            <p:cNvPr id="118" name="Rectangle 114">
              <a:extLst>
                <a:ext uri="{FF2B5EF4-FFF2-40B4-BE49-F238E27FC236}">
                  <a16:creationId xmlns:a16="http://schemas.microsoft.com/office/drawing/2014/main" id="{BDC581B7-C25C-BC19-F5F3-9B5342F25487}"/>
                </a:ext>
              </a:extLst>
            </p:cNvPr>
            <p:cNvSpPr/>
            <p:nvPr userDrawn="1"/>
          </p:nvSpPr>
          <p:spPr bwMode="auto">
            <a:xfrm>
              <a:off x="13609637" y="2303703"/>
              <a:ext cx="134938" cy="4554297"/>
            </a:xfrm>
            <a:custGeom>
              <a:avLst/>
              <a:gdLst>
                <a:gd name="connsiteX0" fmla="*/ 0 w 200025"/>
                <a:gd name="connsiteY0" fmla="*/ 0 h 2203733"/>
                <a:gd name="connsiteX1" fmla="*/ 200025 w 200025"/>
                <a:gd name="connsiteY1" fmla="*/ 0 h 2203733"/>
                <a:gd name="connsiteX2" fmla="*/ 200025 w 200025"/>
                <a:gd name="connsiteY2" fmla="*/ 2203733 h 2203733"/>
                <a:gd name="connsiteX3" fmla="*/ 0 w 200025"/>
                <a:gd name="connsiteY3" fmla="*/ 2203733 h 2203733"/>
                <a:gd name="connsiteX4" fmla="*/ 0 w 200025"/>
                <a:gd name="connsiteY4" fmla="*/ 0 h 2203733"/>
                <a:gd name="connsiteX0" fmla="*/ 0 w 200025"/>
                <a:gd name="connsiteY0" fmla="*/ 0 h 2203733"/>
                <a:gd name="connsiteX1" fmla="*/ 200025 w 200025"/>
                <a:gd name="connsiteY1" fmla="*/ 0 h 2203733"/>
                <a:gd name="connsiteX2" fmla="*/ 200025 w 200025"/>
                <a:gd name="connsiteY2" fmla="*/ 2203733 h 2203733"/>
                <a:gd name="connsiteX3" fmla="*/ 0 w 200025"/>
                <a:gd name="connsiteY3" fmla="*/ 2203733 h 2203733"/>
                <a:gd name="connsiteX4" fmla="*/ 91440 w 200025"/>
                <a:gd name="connsiteY4" fmla="*/ 91440 h 2203733"/>
                <a:gd name="connsiteX0" fmla="*/ 0 w 200025"/>
                <a:gd name="connsiteY0" fmla="*/ 0 h 2203733"/>
                <a:gd name="connsiteX1" fmla="*/ 200025 w 200025"/>
                <a:gd name="connsiteY1" fmla="*/ 0 h 2203733"/>
                <a:gd name="connsiteX2" fmla="*/ 200025 w 200025"/>
                <a:gd name="connsiteY2" fmla="*/ 2203733 h 2203733"/>
                <a:gd name="connsiteX3" fmla="*/ 0 w 200025"/>
                <a:gd name="connsiteY3" fmla="*/ 2203733 h 2203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0025" h="2203733">
                  <a:moveTo>
                    <a:pt x="0" y="0"/>
                  </a:moveTo>
                  <a:lnTo>
                    <a:pt x="200025" y="0"/>
                  </a:lnTo>
                  <a:lnTo>
                    <a:pt x="200025" y="2203733"/>
                  </a:lnTo>
                  <a:lnTo>
                    <a:pt x="0" y="2203733"/>
                  </a:lnTo>
                </a:path>
              </a:pathLst>
            </a:custGeom>
            <a:ln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19" name="TextBox 118">
              <a:extLst>
                <a:ext uri="{FF2B5EF4-FFF2-40B4-BE49-F238E27FC236}">
                  <a16:creationId xmlns:a16="http://schemas.microsoft.com/office/drawing/2014/main" id="{26C18FCC-458B-3C39-F881-A647D9187BB2}"/>
                </a:ext>
              </a:extLst>
            </p:cNvPr>
            <p:cNvSpPr txBox="1"/>
            <p:nvPr userDrawn="1"/>
          </p:nvSpPr>
          <p:spPr>
            <a:xfrm rot="5400000">
              <a:off x="13162466" y="4258315"/>
              <a:ext cx="1177290" cy="261610"/>
            </a:xfrm>
            <a:prstGeom prst="rect">
              <a:avLst/>
            </a:prstGeom>
            <a:solidFill>
              <a:srgbClr val="ECECEC"/>
            </a:solidFill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Product Colors</a:t>
              </a:r>
            </a:p>
          </p:txBody>
        </p:sp>
        <p:sp>
          <p:nvSpPr>
            <p:cNvPr id="160" name="Rectangle 159">
              <a:extLst>
                <a:ext uri="{FF2B5EF4-FFF2-40B4-BE49-F238E27FC236}">
                  <a16:creationId xmlns:a16="http://schemas.microsoft.com/office/drawing/2014/main" id="{0C48B22D-E877-46C2-C93F-2B0A8A391F90}"/>
                </a:ext>
              </a:extLst>
            </p:cNvPr>
            <p:cNvSpPr/>
            <p:nvPr userDrawn="1"/>
          </p:nvSpPr>
          <p:spPr bwMode="auto">
            <a:xfrm>
              <a:off x="13934970" y="0"/>
              <a:ext cx="530159" cy="720557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" wrap="square" lIns="182880" tIns="45720" rIns="18288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" name="Rectangle: Single Corner Snipped 160">
              <a:extLst>
                <a:ext uri="{FF2B5EF4-FFF2-40B4-BE49-F238E27FC236}">
                  <a16:creationId xmlns:a16="http://schemas.microsoft.com/office/drawing/2014/main" id="{13452B28-68E8-CE7E-FA9D-BD52B5D77B52}"/>
                </a:ext>
              </a:extLst>
            </p:cNvPr>
            <p:cNvSpPr/>
            <p:nvPr userDrawn="1"/>
          </p:nvSpPr>
          <p:spPr bwMode="auto">
            <a:xfrm flipV="1">
              <a:off x="14519340" y="0"/>
              <a:ext cx="530160" cy="720557"/>
            </a:xfrm>
            <a:prstGeom prst="snip1Rect">
              <a:avLst>
                <a:gd name="adj" fmla="val 24878"/>
              </a:avLst>
            </a:prstGeom>
            <a:solidFill>
              <a:schemeClr val="bg1">
                <a:lumMod val="8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4572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404435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872" r:id="rId1"/>
    <p:sldLayoutId id="2147485873" r:id="rId2"/>
    <p:sldLayoutId id="2147485874" r:id="rId3"/>
    <p:sldLayoutId id="2147485875" r:id="rId4"/>
    <p:sldLayoutId id="2147485876" r:id="rId5"/>
    <p:sldLayoutId id="2147485877" r:id="rId6"/>
    <p:sldLayoutId id="2147485878" r:id="rId7"/>
    <p:sldLayoutId id="2147485879" r:id="rId8"/>
    <p:sldLayoutId id="2147485880" r:id="rId9"/>
    <p:sldLayoutId id="2147485881" r:id="rId10"/>
    <p:sldLayoutId id="2147485882" r:id="rId11"/>
    <p:sldLayoutId id="2147485883" r:id="rId12"/>
    <p:sldLayoutId id="2147485884" r:id="rId13"/>
    <p:sldLayoutId id="2147485885" r:id="rId14"/>
    <p:sldLayoutId id="2147485886" r:id="rId15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0" kern="1200" cap="none" spc="-50" baseline="0" dirty="0" smtClean="0">
          <a:ln w="3175">
            <a:noFill/>
          </a:ln>
          <a:solidFill>
            <a:schemeClr val="tx1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solidFill>
            <a:schemeClr val="tx1"/>
          </a:solidFill>
          <a:latin typeface="+mn-lt"/>
          <a:ea typeface="+mn-ea"/>
          <a:cs typeface="Segoe UI" panose="020B05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52">
          <p15:clr>
            <a:srgbClr val="A4A3A4"/>
          </p15:clr>
        </p15:guide>
        <p15:guide id="30" pos="7488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6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6" Type="http://schemas.openxmlformats.org/officeDocument/2006/relationships/image" Target="../media/image110.png"/><Relationship Id="rId5" Type="http://schemas.openxmlformats.org/officeDocument/2006/relationships/image" Target="../media/image109.png"/><Relationship Id="rId4" Type="http://schemas.openxmlformats.org/officeDocument/2006/relationships/image" Target="../media/image10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6.xml"/><Relationship Id="rId2" Type="http://schemas.openxmlformats.org/officeDocument/2006/relationships/video" Target="../media/media3.mp4"/><Relationship Id="rId1" Type="http://schemas.microsoft.com/office/2007/relationships/media" Target="../media/media3.mp4"/><Relationship Id="rId4" Type="http://schemas.openxmlformats.org/officeDocument/2006/relationships/image" Target="../media/image11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6.xml"/><Relationship Id="rId2" Type="http://schemas.openxmlformats.org/officeDocument/2006/relationships/video" Target="../media/media4.mp4"/><Relationship Id="rId1" Type="http://schemas.microsoft.com/office/2007/relationships/media" Target="../media/media4.mp4"/><Relationship Id="rId5" Type="http://schemas.openxmlformats.org/officeDocument/2006/relationships/hyperlink" Target="https://techcommunity.microsoft.com/blog/azure-ai-services-blog/azure-ai-voice-live-api-what%E2%80%99s-new-and-the-pricing-announcement/4428687" TargetMode="External"/><Relationship Id="rId4" Type="http://schemas.openxmlformats.org/officeDocument/2006/relationships/image" Target="../media/image11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0.xml"/><Relationship Id="rId5" Type="http://schemas.openxmlformats.org/officeDocument/2006/relationships/image" Target="../media/image115.svg"/><Relationship Id="rId4" Type="http://schemas.openxmlformats.org/officeDocument/2006/relationships/image" Target="../media/image11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7.xml"/><Relationship Id="rId4" Type="http://schemas.openxmlformats.org/officeDocument/2006/relationships/image" Target="../media/image117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hyperlink" Target="https://aka.ms/ghcp-appmod/dotnet-upgrade" TargetMode="External"/><Relationship Id="rId3" Type="http://schemas.openxmlformats.org/officeDocument/2006/relationships/slideLayout" Target="../slideLayouts/slideLayout83.xml"/><Relationship Id="rId7" Type="http://schemas.openxmlformats.org/officeDocument/2006/relationships/image" Target="../media/image120.png"/><Relationship Id="rId2" Type="http://schemas.openxmlformats.org/officeDocument/2006/relationships/video" Target="../media/media5.mp4"/><Relationship Id="rId1" Type="http://schemas.microsoft.com/office/2007/relationships/media" Target="../media/media5.mp4"/><Relationship Id="rId6" Type="http://schemas.openxmlformats.org/officeDocument/2006/relationships/image" Target="../media/image119.svg"/><Relationship Id="rId5" Type="http://schemas.openxmlformats.org/officeDocument/2006/relationships/image" Target="../media/image118.png"/><Relationship Id="rId4" Type="http://schemas.openxmlformats.org/officeDocument/2006/relationships/notesSlide" Target="../notesSlides/notesSlide6.xml"/><Relationship Id="rId9" Type="http://schemas.openxmlformats.org/officeDocument/2006/relationships/hyperlink" Target="https://aka.ms/ghcp-appmod/java" TargetMode="External"/></Relationships>
</file>

<file path=ppt/slides/_rels/slide16.xml.rels><?xml version="1.0" encoding="UTF-8" standalone="yes"?>
<Relationships xmlns="http://schemas.openxmlformats.org/package/2006/relationships"><Relationship Id="rId3" Type="http://schemas.microsoft.com/office/2017/06/relationships/model3d" Target="../media/model3d1.glb"/><Relationship Id="rId7" Type="http://schemas.openxmlformats.org/officeDocument/2006/relationships/image" Target="../media/image12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3.xml"/><Relationship Id="rId6" Type="http://schemas.openxmlformats.org/officeDocument/2006/relationships/image" Target="../media/image115.svg"/><Relationship Id="rId5" Type="http://schemas.openxmlformats.org/officeDocument/2006/relationships/image" Target="../media/image114.png"/><Relationship Id="rId4" Type="http://schemas.openxmlformats.org/officeDocument/2006/relationships/image" Target="../media/image121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3.png"/><Relationship Id="rId1" Type="http://schemas.openxmlformats.org/officeDocument/2006/relationships/slideLayout" Target="../slideLayouts/slideLayout9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4.png"/><Relationship Id="rId1" Type="http://schemas.openxmlformats.org/officeDocument/2006/relationships/slideLayout" Target="../slideLayouts/slideLayout9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5.png"/><Relationship Id="rId1" Type="http://schemas.openxmlformats.org/officeDocument/2006/relationships/slideLayout" Target="../slideLayouts/slideLayout9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8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6.png"/><Relationship Id="rId1" Type="http://schemas.openxmlformats.org/officeDocument/2006/relationships/slideLayout" Target="../slideLayouts/slideLayout9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3.xml"/><Relationship Id="rId6" Type="http://schemas.openxmlformats.org/officeDocument/2006/relationships/hyperlink" Target="https://code.visualstudio.com/blogs/2025/06/30/openSourceAIEditorFirstMilestone" TargetMode="External"/><Relationship Id="rId5" Type="http://schemas.openxmlformats.org/officeDocument/2006/relationships/image" Target="../media/image127.png"/><Relationship Id="rId4" Type="http://schemas.openxmlformats.org/officeDocument/2006/relationships/image" Target="../media/image119.sv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6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3.png"/><Relationship Id="rId13" Type="http://schemas.openxmlformats.org/officeDocument/2006/relationships/image" Target="../media/image137.svg"/><Relationship Id="rId3" Type="http://schemas.openxmlformats.org/officeDocument/2006/relationships/image" Target="../media/image128.png"/><Relationship Id="rId7" Type="http://schemas.openxmlformats.org/officeDocument/2006/relationships/image" Target="../media/image132.png"/><Relationship Id="rId12" Type="http://schemas.openxmlformats.org/officeDocument/2006/relationships/image" Target="../media/image13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31.png"/><Relationship Id="rId11" Type="http://schemas.openxmlformats.org/officeDocument/2006/relationships/image" Target="../media/image135.svg"/><Relationship Id="rId5" Type="http://schemas.openxmlformats.org/officeDocument/2006/relationships/image" Target="../media/image130.svg"/><Relationship Id="rId10" Type="http://schemas.openxmlformats.org/officeDocument/2006/relationships/image" Target="../media/image134.png"/><Relationship Id="rId4" Type="http://schemas.openxmlformats.org/officeDocument/2006/relationships/image" Target="../media/image129.png"/><Relationship Id="rId9" Type="http://schemas.openxmlformats.org/officeDocument/2006/relationships/image" Target="../media/image88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8.png"/><Relationship Id="rId7" Type="http://schemas.openxmlformats.org/officeDocument/2006/relationships/image" Target="../media/image14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12.xml"/><Relationship Id="rId6" Type="http://schemas.openxmlformats.org/officeDocument/2006/relationships/image" Target="../media/image141.png"/><Relationship Id="rId5" Type="http://schemas.openxmlformats.org/officeDocument/2006/relationships/image" Target="../media/image140.png"/><Relationship Id="rId4" Type="http://schemas.openxmlformats.org/officeDocument/2006/relationships/image" Target="../media/image139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1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2.xml"/><Relationship Id="rId2" Type="http://schemas.openxmlformats.org/officeDocument/2006/relationships/video" Target="../media/media6.mp4"/><Relationship Id="rId1" Type="http://schemas.microsoft.com/office/2007/relationships/media" Target="../media/media6.mp4"/><Relationship Id="rId6" Type="http://schemas.openxmlformats.org/officeDocument/2006/relationships/hyperlink" Target="https://www.microsoft.com/en-us/microsoft-365/blog/2025/03/25/introducing-researcher-and-analyst-in-microsoft-365-copilot/" TargetMode="External"/><Relationship Id="rId5" Type="http://schemas.openxmlformats.org/officeDocument/2006/relationships/image" Target="../media/image145.png"/><Relationship Id="rId4" Type="http://schemas.openxmlformats.org/officeDocument/2006/relationships/image" Target="../media/image144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2.xml"/><Relationship Id="rId2" Type="http://schemas.openxmlformats.org/officeDocument/2006/relationships/video" Target="../media/media7.mp4"/><Relationship Id="rId1" Type="http://schemas.microsoft.com/office/2007/relationships/media" Target="../media/media7.mp4"/><Relationship Id="rId6" Type="http://schemas.openxmlformats.org/officeDocument/2006/relationships/hyperlink" Target="https://techcommunity.microsoft.com/blog/microsoft365copilotblog/analyst-agent-in-microsoft-365-copilot/4397191" TargetMode="External"/><Relationship Id="rId5" Type="http://schemas.openxmlformats.org/officeDocument/2006/relationships/image" Target="../media/image147.png"/><Relationship Id="rId4" Type="http://schemas.openxmlformats.org/officeDocument/2006/relationships/image" Target="../media/image146.pn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8.png"/><Relationship Id="rId1" Type="http://schemas.openxmlformats.org/officeDocument/2006/relationships/slideLayout" Target="../slideLayouts/slideLayout109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9.png"/><Relationship Id="rId1" Type="http://schemas.openxmlformats.org/officeDocument/2006/relationships/slideLayout" Target="../slideLayouts/slideLayout11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6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0.png"/><Relationship Id="rId1" Type="http://schemas.openxmlformats.org/officeDocument/2006/relationships/slideLayout" Target="../slideLayouts/slideLayout112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4.png"/><Relationship Id="rId3" Type="http://schemas.openxmlformats.org/officeDocument/2006/relationships/image" Target="../media/image151.png"/><Relationship Id="rId7" Type="http://schemas.openxmlformats.org/officeDocument/2006/relationships/image" Target="../media/image15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12.xml"/><Relationship Id="rId6" Type="http://schemas.openxmlformats.org/officeDocument/2006/relationships/image" Target="../media/image130.svg"/><Relationship Id="rId5" Type="http://schemas.openxmlformats.org/officeDocument/2006/relationships/image" Target="../media/image129.png"/><Relationship Id="rId4" Type="http://schemas.openxmlformats.org/officeDocument/2006/relationships/image" Target="../media/image152.sv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155.png"/><Relationship Id="rId4" Type="http://schemas.openxmlformats.org/officeDocument/2006/relationships/image" Target="../media/image130.sv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7.png"/><Relationship Id="rId2" Type="http://schemas.openxmlformats.org/officeDocument/2006/relationships/image" Target="../media/image156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60.svg"/><Relationship Id="rId5" Type="http://schemas.openxmlformats.org/officeDocument/2006/relationships/image" Target="../media/image159.png"/><Relationship Id="rId4" Type="http://schemas.openxmlformats.org/officeDocument/2006/relationships/image" Target="../media/image158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1.png"/><Relationship Id="rId7" Type="http://schemas.openxmlformats.org/officeDocument/2006/relationships/image" Target="../media/image163.sv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162.png"/><Relationship Id="rId5" Type="http://schemas.openxmlformats.org/officeDocument/2006/relationships/image" Target="../media/image88.png"/><Relationship Id="rId4" Type="http://schemas.openxmlformats.org/officeDocument/2006/relationships/image" Target="../media/image72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12.xml"/><Relationship Id="rId5" Type="http://schemas.openxmlformats.org/officeDocument/2006/relationships/image" Target="../media/image166.svg"/><Relationship Id="rId4" Type="http://schemas.openxmlformats.org/officeDocument/2006/relationships/image" Target="../media/image165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1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7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8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170.png"/><Relationship Id="rId4" Type="http://schemas.openxmlformats.org/officeDocument/2006/relationships/image" Target="../media/image169.png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6.svg"/><Relationship Id="rId13" Type="http://schemas.openxmlformats.org/officeDocument/2006/relationships/image" Target="../media/image81.png"/><Relationship Id="rId18" Type="http://schemas.openxmlformats.org/officeDocument/2006/relationships/image" Target="../media/image86.svg"/><Relationship Id="rId3" Type="http://schemas.openxmlformats.org/officeDocument/2006/relationships/image" Target="../media/image71.png"/><Relationship Id="rId7" Type="http://schemas.openxmlformats.org/officeDocument/2006/relationships/image" Target="../media/image75.png"/><Relationship Id="rId12" Type="http://schemas.openxmlformats.org/officeDocument/2006/relationships/image" Target="../media/image80.svg"/><Relationship Id="rId17" Type="http://schemas.openxmlformats.org/officeDocument/2006/relationships/image" Target="../media/image85.pn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84.svg"/><Relationship Id="rId20" Type="http://schemas.openxmlformats.org/officeDocument/2006/relationships/image" Target="../media/image88.png"/><Relationship Id="rId1" Type="http://schemas.openxmlformats.org/officeDocument/2006/relationships/slideLayout" Target="../slideLayouts/slideLayout86.xml"/><Relationship Id="rId6" Type="http://schemas.openxmlformats.org/officeDocument/2006/relationships/image" Target="../media/image74.svg"/><Relationship Id="rId11" Type="http://schemas.openxmlformats.org/officeDocument/2006/relationships/image" Target="../media/image79.png"/><Relationship Id="rId5" Type="http://schemas.openxmlformats.org/officeDocument/2006/relationships/image" Target="../media/image73.png"/><Relationship Id="rId15" Type="http://schemas.openxmlformats.org/officeDocument/2006/relationships/image" Target="../media/image83.png"/><Relationship Id="rId10" Type="http://schemas.openxmlformats.org/officeDocument/2006/relationships/image" Target="../media/image78.svg"/><Relationship Id="rId19" Type="http://schemas.openxmlformats.org/officeDocument/2006/relationships/image" Target="../media/image87.jpeg"/><Relationship Id="rId4" Type="http://schemas.openxmlformats.org/officeDocument/2006/relationships/image" Target="../media/image72.png"/><Relationship Id="rId9" Type="http://schemas.openxmlformats.org/officeDocument/2006/relationships/image" Target="../media/image77.png"/><Relationship Id="rId14" Type="http://schemas.openxmlformats.org/officeDocument/2006/relationships/image" Target="../media/image82.svg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86.xml"/></Relationships>
</file>

<file path=ppt/slides/_rels/slide41.xml.rels><?xml version="1.0" encoding="UTF-8" standalone="yes"?>
<Relationships xmlns="http://schemas.openxmlformats.org/package/2006/relationships"><Relationship Id="rId13" Type="http://schemas.microsoft.com/office/2007/relationships/hdphoto" Target="../media/hdphoto4.wdp"/><Relationship Id="rId18" Type="http://schemas.openxmlformats.org/officeDocument/2006/relationships/image" Target="../media/image184.png"/><Relationship Id="rId26" Type="http://schemas.openxmlformats.org/officeDocument/2006/relationships/image" Target="../media/image191.png"/><Relationship Id="rId39" Type="http://schemas.openxmlformats.org/officeDocument/2006/relationships/image" Target="../media/image202.png"/><Relationship Id="rId21" Type="http://schemas.openxmlformats.org/officeDocument/2006/relationships/image" Target="../media/image187.png"/><Relationship Id="rId34" Type="http://schemas.openxmlformats.org/officeDocument/2006/relationships/image" Target="../media/image197.png"/><Relationship Id="rId7" Type="http://schemas.openxmlformats.org/officeDocument/2006/relationships/image" Target="../media/image175.png"/><Relationship Id="rId2" Type="http://schemas.openxmlformats.org/officeDocument/2006/relationships/notesSlide" Target="../notesSlides/notesSlide20.xml"/><Relationship Id="rId16" Type="http://schemas.openxmlformats.org/officeDocument/2006/relationships/image" Target="../media/image182.png"/><Relationship Id="rId20" Type="http://schemas.openxmlformats.org/officeDocument/2006/relationships/image" Target="../media/image186.png"/><Relationship Id="rId29" Type="http://schemas.openxmlformats.org/officeDocument/2006/relationships/image" Target="../media/image193.png"/><Relationship Id="rId41" Type="http://schemas.openxmlformats.org/officeDocument/2006/relationships/image" Target="../media/image203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74.png"/><Relationship Id="rId11" Type="http://schemas.openxmlformats.org/officeDocument/2006/relationships/image" Target="../media/image178.png"/><Relationship Id="rId24" Type="http://schemas.openxmlformats.org/officeDocument/2006/relationships/image" Target="../media/image190.png"/><Relationship Id="rId32" Type="http://schemas.microsoft.com/office/2007/relationships/hdphoto" Target="../media/hdphoto7.wdp"/><Relationship Id="rId37" Type="http://schemas.openxmlformats.org/officeDocument/2006/relationships/image" Target="../media/image200.png"/><Relationship Id="rId40" Type="http://schemas.microsoft.com/office/2007/relationships/hdphoto" Target="../media/hdphoto8.wdp"/><Relationship Id="rId5" Type="http://schemas.openxmlformats.org/officeDocument/2006/relationships/image" Target="../media/image173.png"/><Relationship Id="rId15" Type="http://schemas.openxmlformats.org/officeDocument/2006/relationships/image" Target="../media/image181.svg"/><Relationship Id="rId23" Type="http://schemas.openxmlformats.org/officeDocument/2006/relationships/image" Target="../media/image189.png"/><Relationship Id="rId28" Type="http://schemas.microsoft.com/office/2007/relationships/hdphoto" Target="../media/hdphoto6.wdp"/><Relationship Id="rId36" Type="http://schemas.openxmlformats.org/officeDocument/2006/relationships/image" Target="../media/image199.png"/><Relationship Id="rId10" Type="http://schemas.openxmlformats.org/officeDocument/2006/relationships/image" Target="../media/image177.png"/><Relationship Id="rId19" Type="http://schemas.openxmlformats.org/officeDocument/2006/relationships/image" Target="../media/image185.png"/><Relationship Id="rId31" Type="http://schemas.openxmlformats.org/officeDocument/2006/relationships/image" Target="../media/image195.png"/><Relationship Id="rId4" Type="http://schemas.openxmlformats.org/officeDocument/2006/relationships/image" Target="../media/image172.png"/><Relationship Id="rId9" Type="http://schemas.openxmlformats.org/officeDocument/2006/relationships/image" Target="../media/image176.png"/><Relationship Id="rId14" Type="http://schemas.openxmlformats.org/officeDocument/2006/relationships/image" Target="../media/image180.png"/><Relationship Id="rId22" Type="http://schemas.openxmlformats.org/officeDocument/2006/relationships/image" Target="../media/image188.png"/><Relationship Id="rId27" Type="http://schemas.openxmlformats.org/officeDocument/2006/relationships/image" Target="../media/image192.png"/><Relationship Id="rId30" Type="http://schemas.openxmlformats.org/officeDocument/2006/relationships/image" Target="../media/image194.svg"/><Relationship Id="rId35" Type="http://schemas.openxmlformats.org/officeDocument/2006/relationships/image" Target="../media/image198.png"/><Relationship Id="rId8" Type="http://schemas.microsoft.com/office/2007/relationships/hdphoto" Target="../media/hdphoto3.wdp"/><Relationship Id="rId3" Type="http://schemas.openxmlformats.org/officeDocument/2006/relationships/image" Target="../media/image171.png"/><Relationship Id="rId12" Type="http://schemas.openxmlformats.org/officeDocument/2006/relationships/image" Target="../media/image179.png"/><Relationship Id="rId17" Type="http://schemas.openxmlformats.org/officeDocument/2006/relationships/image" Target="../media/image183.png"/><Relationship Id="rId25" Type="http://schemas.microsoft.com/office/2007/relationships/hdphoto" Target="../media/hdphoto5.wdp"/><Relationship Id="rId33" Type="http://schemas.openxmlformats.org/officeDocument/2006/relationships/image" Target="../media/image196.png"/><Relationship Id="rId38" Type="http://schemas.openxmlformats.org/officeDocument/2006/relationships/image" Target="../media/image201.png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9.png"/><Relationship Id="rId13" Type="http://schemas.openxmlformats.org/officeDocument/2006/relationships/image" Target="../media/image214.jpeg"/><Relationship Id="rId18" Type="http://schemas.openxmlformats.org/officeDocument/2006/relationships/image" Target="../media/image219.png"/><Relationship Id="rId26" Type="http://schemas.openxmlformats.org/officeDocument/2006/relationships/image" Target="../media/image226.png"/><Relationship Id="rId3" Type="http://schemas.openxmlformats.org/officeDocument/2006/relationships/image" Target="../media/image204.png"/><Relationship Id="rId21" Type="http://schemas.openxmlformats.org/officeDocument/2006/relationships/image" Target="../media/image222.png"/><Relationship Id="rId7" Type="http://schemas.openxmlformats.org/officeDocument/2006/relationships/image" Target="../media/image208.png"/><Relationship Id="rId12" Type="http://schemas.openxmlformats.org/officeDocument/2006/relationships/image" Target="../media/image213.png"/><Relationship Id="rId17" Type="http://schemas.openxmlformats.org/officeDocument/2006/relationships/image" Target="../media/image218.png"/><Relationship Id="rId25" Type="http://schemas.openxmlformats.org/officeDocument/2006/relationships/image" Target="../media/image225.png"/><Relationship Id="rId2" Type="http://schemas.openxmlformats.org/officeDocument/2006/relationships/notesSlide" Target="../notesSlides/notesSlide21.xml"/><Relationship Id="rId16" Type="http://schemas.openxmlformats.org/officeDocument/2006/relationships/image" Target="../media/image217.png"/><Relationship Id="rId20" Type="http://schemas.openxmlformats.org/officeDocument/2006/relationships/image" Target="../media/image221.png"/><Relationship Id="rId29" Type="http://schemas.openxmlformats.org/officeDocument/2006/relationships/image" Target="../media/image229.png"/><Relationship Id="rId1" Type="http://schemas.openxmlformats.org/officeDocument/2006/relationships/slideLayout" Target="../slideLayouts/slideLayout78.xml"/><Relationship Id="rId6" Type="http://schemas.openxmlformats.org/officeDocument/2006/relationships/image" Target="../media/image207.png"/><Relationship Id="rId11" Type="http://schemas.openxmlformats.org/officeDocument/2006/relationships/image" Target="../media/image212.png"/><Relationship Id="rId24" Type="http://schemas.microsoft.com/office/2007/relationships/hdphoto" Target="../media/hdphoto9.wdp"/><Relationship Id="rId32" Type="http://schemas.openxmlformats.org/officeDocument/2006/relationships/image" Target="../media/image232.png"/><Relationship Id="rId5" Type="http://schemas.openxmlformats.org/officeDocument/2006/relationships/image" Target="../media/image206.png"/><Relationship Id="rId15" Type="http://schemas.openxmlformats.org/officeDocument/2006/relationships/image" Target="../media/image216.png"/><Relationship Id="rId23" Type="http://schemas.openxmlformats.org/officeDocument/2006/relationships/image" Target="../media/image224.png"/><Relationship Id="rId28" Type="http://schemas.openxmlformats.org/officeDocument/2006/relationships/image" Target="../media/image228.jpeg"/><Relationship Id="rId10" Type="http://schemas.openxmlformats.org/officeDocument/2006/relationships/image" Target="../media/image211.png"/><Relationship Id="rId19" Type="http://schemas.openxmlformats.org/officeDocument/2006/relationships/image" Target="../media/image220.png"/><Relationship Id="rId31" Type="http://schemas.openxmlformats.org/officeDocument/2006/relationships/image" Target="../media/image231.png"/><Relationship Id="rId4" Type="http://schemas.openxmlformats.org/officeDocument/2006/relationships/image" Target="../media/image205.png"/><Relationship Id="rId9" Type="http://schemas.openxmlformats.org/officeDocument/2006/relationships/image" Target="../media/image210.png"/><Relationship Id="rId14" Type="http://schemas.openxmlformats.org/officeDocument/2006/relationships/image" Target="../media/image215.png"/><Relationship Id="rId22" Type="http://schemas.openxmlformats.org/officeDocument/2006/relationships/image" Target="../media/image223.png"/><Relationship Id="rId27" Type="http://schemas.openxmlformats.org/officeDocument/2006/relationships/image" Target="../media/image227.png"/><Relationship Id="rId30" Type="http://schemas.openxmlformats.org/officeDocument/2006/relationships/image" Target="../media/image230.png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3.png"/><Relationship Id="rId13" Type="http://schemas.openxmlformats.org/officeDocument/2006/relationships/image" Target="../media/image235.png"/><Relationship Id="rId18" Type="http://schemas.microsoft.com/office/2017/06/relationships/model3d" Target="../media/model3d1.glb"/><Relationship Id="rId3" Type="http://schemas.openxmlformats.org/officeDocument/2006/relationships/image" Target="../media/image216.png"/><Relationship Id="rId21" Type="http://schemas.openxmlformats.org/officeDocument/2006/relationships/image" Target="../media/image242.png"/><Relationship Id="rId7" Type="http://schemas.openxmlformats.org/officeDocument/2006/relationships/image" Target="../media/image173.png"/><Relationship Id="rId12" Type="http://schemas.openxmlformats.org/officeDocument/2006/relationships/image" Target="../media/image196.png"/><Relationship Id="rId17" Type="http://schemas.openxmlformats.org/officeDocument/2006/relationships/image" Target="../media/image239.png"/><Relationship Id="rId2" Type="http://schemas.openxmlformats.org/officeDocument/2006/relationships/notesSlide" Target="../notesSlides/notesSlide22.xml"/><Relationship Id="rId16" Type="http://schemas.openxmlformats.org/officeDocument/2006/relationships/image" Target="../media/image238.png"/><Relationship Id="rId20" Type="http://schemas.openxmlformats.org/officeDocument/2006/relationships/image" Target="../media/image241.png"/><Relationship Id="rId1" Type="http://schemas.openxmlformats.org/officeDocument/2006/relationships/slideLayout" Target="../slideLayouts/slideLayout46.xml"/><Relationship Id="rId6" Type="http://schemas.openxmlformats.org/officeDocument/2006/relationships/image" Target="../media/image177.png"/><Relationship Id="rId11" Type="http://schemas.microsoft.com/office/2007/relationships/hdphoto" Target="../media/hdphoto9.wdp"/><Relationship Id="rId5" Type="http://schemas.openxmlformats.org/officeDocument/2006/relationships/image" Target="../media/image130.svg"/><Relationship Id="rId15" Type="http://schemas.openxmlformats.org/officeDocument/2006/relationships/image" Target="../media/image237.png"/><Relationship Id="rId10" Type="http://schemas.openxmlformats.org/officeDocument/2006/relationships/image" Target="../media/image224.png"/><Relationship Id="rId19" Type="http://schemas.openxmlformats.org/officeDocument/2006/relationships/image" Target="../media/image240.png"/><Relationship Id="rId4" Type="http://schemas.openxmlformats.org/officeDocument/2006/relationships/image" Target="../media/image129.png"/><Relationship Id="rId9" Type="http://schemas.openxmlformats.org/officeDocument/2006/relationships/image" Target="../media/image234.png"/><Relationship Id="rId14" Type="http://schemas.openxmlformats.org/officeDocument/2006/relationships/image" Target="../media/image236.png"/><Relationship Id="rId22" Type="http://schemas.openxmlformats.org/officeDocument/2006/relationships/image" Target="../media/image243.png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4.png"/><Relationship Id="rId1" Type="http://schemas.openxmlformats.org/officeDocument/2006/relationships/slideLayout" Target="../slideLayouts/slideLayout78.xml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0.svg"/><Relationship Id="rId3" Type="http://schemas.openxmlformats.org/officeDocument/2006/relationships/image" Target="../media/image129.png"/><Relationship Id="rId7" Type="http://schemas.openxmlformats.org/officeDocument/2006/relationships/image" Target="../media/image89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46.png"/><Relationship Id="rId5" Type="http://schemas.openxmlformats.org/officeDocument/2006/relationships/image" Target="../media/image245.png"/><Relationship Id="rId4" Type="http://schemas.openxmlformats.org/officeDocument/2006/relationships/image" Target="../media/image130.svg"/><Relationship Id="rId9" Type="http://schemas.openxmlformats.org/officeDocument/2006/relationships/image" Target="../media/image247.png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8.jpe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46.xml"/><Relationship Id="rId6" Type="http://schemas.openxmlformats.org/officeDocument/2006/relationships/image" Target="../media/image250.png"/><Relationship Id="rId5" Type="http://schemas.openxmlformats.org/officeDocument/2006/relationships/hyperlink" Target="https://www.microsoft.com/en-hk/CloudandAIBootcamp/" TargetMode="External"/><Relationship Id="rId4" Type="http://schemas.openxmlformats.org/officeDocument/2006/relationships/image" Target="../media/image249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3.png"/><Relationship Id="rId3" Type="http://schemas.openxmlformats.org/officeDocument/2006/relationships/image" Target="../media/image89.png"/><Relationship Id="rId7" Type="http://schemas.microsoft.com/office/2007/relationships/hdphoto" Target="../media/hdphoto2.wdp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6.xml"/><Relationship Id="rId6" Type="http://schemas.openxmlformats.org/officeDocument/2006/relationships/image" Target="../media/image92.png"/><Relationship Id="rId11" Type="http://schemas.openxmlformats.org/officeDocument/2006/relationships/image" Target="../media/image96.jpeg"/><Relationship Id="rId5" Type="http://schemas.openxmlformats.org/officeDocument/2006/relationships/image" Target="../media/image91.png"/><Relationship Id="rId10" Type="http://schemas.openxmlformats.org/officeDocument/2006/relationships/image" Target="../media/image95.png"/><Relationship Id="rId4" Type="http://schemas.openxmlformats.org/officeDocument/2006/relationships/image" Target="../media/image90.svg"/><Relationship Id="rId9" Type="http://schemas.openxmlformats.org/officeDocument/2006/relationships/image" Target="../media/image94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3.png"/><Relationship Id="rId13" Type="http://schemas.microsoft.com/office/2007/relationships/hdphoto" Target="../media/hdphoto2.wdp"/><Relationship Id="rId3" Type="http://schemas.openxmlformats.org/officeDocument/2006/relationships/image" Target="../media/image98.svg"/><Relationship Id="rId7" Type="http://schemas.openxmlformats.org/officeDocument/2006/relationships/image" Target="../media/image102.svg"/><Relationship Id="rId12" Type="http://schemas.openxmlformats.org/officeDocument/2006/relationships/image" Target="../media/image92.png"/><Relationship Id="rId2" Type="http://schemas.openxmlformats.org/officeDocument/2006/relationships/image" Target="../media/image97.png"/><Relationship Id="rId1" Type="http://schemas.openxmlformats.org/officeDocument/2006/relationships/slideLayout" Target="../slideLayouts/slideLayout86.xml"/><Relationship Id="rId6" Type="http://schemas.openxmlformats.org/officeDocument/2006/relationships/image" Target="../media/image101.png"/><Relationship Id="rId11" Type="http://schemas.openxmlformats.org/officeDocument/2006/relationships/image" Target="../media/image95.png"/><Relationship Id="rId5" Type="http://schemas.openxmlformats.org/officeDocument/2006/relationships/image" Target="../media/image100.svg"/><Relationship Id="rId10" Type="http://schemas.openxmlformats.org/officeDocument/2006/relationships/image" Target="../media/image105.png"/><Relationship Id="rId4" Type="http://schemas.openxmlformats.org/officeDocument/2006/relationships/image" Target="../media/image99.png"/><Relationship Id="rId9" Type="http://schemas.openxmlformats.org/officeDocument/2006/relationships/image" Target="../media/image104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7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10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png"/><Relationship Id="rId2" Type="http://schemas.openxmlformats.org/officeDocument/2006/relationships/hyperlink" Target="https://github.com/Azure-Samples/visionary-lab" TargetMode="External"/><Relationship Id="rId1" Type="http://schemas.openxmlformats.org/officeDocument/2006/relationships/slideLayout" Target="../slideLayouts/slideLayout4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235539A-9D9A-8BE7-7E0C-E24349547E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2425700"/>
            <a:ext cx="6973888" cy="1108075"/>
          </a:xfrm>
        </p:spPr>
        <p:txBody>
          <a:bodyPr/>
          <a:lstStyle/>
          <a:p>
            <a:r>
              <a:rPr lang="en-US" dirty="0"/>
              <a:t>Exploring the Agent landscape</a:t>
            </a:r>
            <a:endParaRPr lang="en-HK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5DDEE47-80E4-55BA-43A8-E48DA5ECAF1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84200" y="3962400"/>
            <a:ext cx="6795294" cy="553998"/>
          </a:xfrm>
        </p:spPr>
        <p:txBody>
          <a:bodyPr/>
          <a:lstStyle/>
          <a:p>
            <a:r>
              <a:rPr lang="en-US" dirty="0"/>
              <a:t>Wai Man Hui - Microsoft Cloud Solution Architect</a:t>
            </a:r>
          </a:p>
          <a:p>
            <a:r>
              <a:rPr lang="en-US" dirty="0"/>
              <a:t>Kinfey Lo - Microsoft Senior Cloud Advocate</a:t>
            </a:r>
          </a:p>
        </p:txBody>
      </p:sp>
    </p:spTree>
    <p:extLst>
      <p:ext uri="{BB962C8B-B14F-4D97-AF65-F5344CB8AC3E}">
        <p14:creationId xmlns:p14="http://schemas.microsoft.com/office/powerpoint/2010/main" val="4111824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AD9D65-1708-BA80-229B-5489AEB832AD}"/>
              </a:ext>
            </a:extLst>
          </p:cNvPr>
          <p:cNvSpPr txBox="1">
            <a:spLocks/>
          </p:cNvSpPr>
          <p:nvPr/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50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>
              <a:buClrTx/>
              <a:buFontTx/>
            </a:pPr>
            <a:r>
              <a:rPr lang="en-US"/>
              <a:t>Customization</a:t>
            </a:r>
            <a:br>
              <a:rPr lang="en-US"/>
            </a:br>
            <a:r>
              <a:rPr lang="en-US" sz="2400"/>
              <a:t>Fine-tuning for more accurate, natural and engaging conversations 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E452B6E0-2173-980D-8BCB-98ED29EAEF5C}"/>
              </a:ext>
            </a:extLst>
          </p:cNvPr>
          <p:cNvSpPr txBox="1">
            <a:spLocks/>
          </p:cNvSpPr>
          <p:nvPr/>
        </p:nvSpPr>
        <p:spPr>
          <a:xfrm>
            <a:off x="585217" y="1953532"/>
            <a:ext cx="3264408" cy="67710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solidFill>
                  <a:schemeClr val="tx1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Custom speech</a:t>
            </a:r>
            <a:endParaRPr lang="en-US" dirty="0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02C4BD9C-6A21-602E-5B91-C6C68715E391}"/>
              </a:ext>
            </a:extLst>
          </p:cNvPr>
          <p:cNvSpPr txBox="1">
            <a:spLocks/>
          </p:cNvSpPr>
          <p:nvPr/>
        </p:nvSpPr>
        <p:spPr>
          <a:xfrm>
            <a:off x="4463796" y="2529278"/>
            <a:ext cx="3264408" cy="1760482"/>
          </a:xfrm>
          <a:prstGeom prst="rect">
            <a:avLst/>
          </a:prstGeom>
        </p:spPr>
        <p:txBody>
          <a:bodyPr/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solidFill>
                  <a:schemeClr val="tx1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/>
              <a:t>Create a unique voice</a:t>
            </a:r>
            <a:br>
              <a:rPr lang="en-US" sz="1400"/>
            </a:br>
            <a:r>
              <a:rPr lang="en-US" sz="1400"/>
              <a:t>for your agent</a:t>
            </a:r>
          </a:p>
          <a:p>
            <a:r>
              <a:rPr lang="en-US" sz="1400"/>
              <a:t>Available through self-service</a:t>
            </a:r>
            <a:br>
              <a:rPr lang="en-US" sz="1400"/>
            </a:br>
            <a:r>
              <a:rPr lang="en-US" sz="1400"/>
              <a:t>for professional voice fine-tuning,</a:t>
            </a:r>
            <a:br>
              <a:rPr lang="en-US" sz="1400"/>
            </a:br>
            <a:r>
              <a:rPr lang="en-US" sz="1400"/>
              <a:t>with multilingual, multi-style,</a:t>
            </a:r>
            <a:br>
              <a:rPr lang="en-US" sz="1400"/>
            </a:br>
            <a:r>
              <a:rPr lang="en-US" sz="1400"/>
              <a:t>and </a:t>
            </a:r>
            <a:r>
              <a:rPr lang="en-US" sz="1400">
                <a:latin typeface="+mj-lt"/>
              </a:rPr>
              <a:t>neural HD </a:t>
            </a:r>
            <a:r>
              <a:rPr lang="en-US" sz="1400"/>
              <a:t>options</a:t>
            </a:r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3AD77424-E832-7AF4-17CB-D1176AD8A569}"/>
              </a:ext>
            </a:extLst>
          </p:cNvPr>
          <p:cNvSpPr txBox="1">
            <a:spLocks/>
          </p:cNvSpPr>
          <p:nvPr/>
        </p:nvSpPr>
        <p:spPr>
          <a:xfrm>
            <a:off x="585217" y="2535918"/>
            <a:ext cx="3264408" cy="1760482"/>
          </a:xfrm>
          <a:prstGeom prst="rect">
            <a:avLst/>
          </a:prstGeom>
        </p:spPr>
        <p:txBody>
          <a:bodyPr/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solidFill>
                  <a:schemeClr val="tx1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/>
              <a:t>Boost accuracy of use-case or domain-specific vocabulary </a:t>
            </a:r>
          </a:p>
          <a:p>
            <a:r>
              <a:rPr lang="en-US" sz="1400"/>
              <a:t>Lightweight, just-in-time customization through phrase list</a:t>
            </a:r>
          </a:p>
        </p:txBody>
      </p:sp>
      <p:sp>
        <p:nvSpPr>
          <p:cNvPr id="6" name="Text Placeholder 16">
            <a:extLst>
              <a:ext uri="{FF2B5EF4-FFF2-40B4-BE49-F238E27FC236}">
                <a16:creationId xmlns:a16="http://schemas.microsoft.com/office/drawing/2014/main" id="{31730A34-EE74-E3AF-5291-11224CE93095}"/>
              </a:ext>
            </a:extLst>
          </p:cNvPr>
          <p:cNvSpPr txBox="1">
            <a:spLocks/>
          </p:cNvSpPr>
          <p:nvPr/>
        </p:nvSpPr>
        <p:spPr>
          <a:xfrm>
            <a:off x="8342375" y="1953532"/>
            <a:ext cx="3264408" cy="67710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solidFill>
                  <a:schemeClr val="tx1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Custom avatar</a:t>
            </a:r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EF60503E-D1AF-211B-6AC8-F28B8880F4E8}"/>
              </a:ext>
            </a:extLst>
          </p:cNvPr>
          <p:cNvSpPr txBox="1">
            <a:spLocks/>
          </p:cNvSpPr>
          <p:nvPr/>
        </p:nvSpPr>
        <p:spPr>
          <a:xfrm>
            <a:off x="4463796" y="1953532"/>
            <a:ext cx="3264408" cy="67710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solidFill>
                  <a:schemeClr val="tx1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Custom voice</a:t>
            </a:r>
          </a:p>
        </p:txBody>
      </p:sp>
      <p:sp>
        <p:nvSpPr>
          <p:cNvPr id="8" name="Text Placeholder 18">
            <a:extLst>
              <a:ext uri="{FF2B5EF4-FFF2-40B4-BE49-F238E27FC236}">
                <a16:creationId xmlns:a16="http://schemas.microsoft.com/office/drawing/2014/main" id="{1CBB3BDD-156D-5B84-2DFA-675F74D0D87C}"/>
              </a:ext>
            </a:extLst>
          </p:cNvPr>
          <p:cNvSpPr txBox="1">
            <a:spLocks/>
          </p:cNvSpPr>
          <p:nvPr/>
        </p:nvSpPr>
        <p:spPr>
          <a:xfrm>
            <a:off x="8342375" y="2535918"/>
            <a:ext cx="3264408" cy="1760482"/>
          </a:xfrm>
          <a:prstGeom prst="rect">
            <a:avLst/>
          </a:prstGeom>
        </p:spPr>
        <p:txBody>
          <a:bodyPr/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solidFill>
                  <a:schemeClr val="tx1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/>
              <a:t>Give a brand visual identity</a:t>
            </a:r>
            <a:br>
              <a:rPr lang="en-US" sz="1400"/>
            </a:br>
            <a:r>
              <a:rPr lang="en-US" sz="1400"/>
              <a:t>to your agent</a:t>
            </a:r>
          </a:p>
          <a:p>
            <a:r>
              <a:rPr lang="en-US" sz="1400"/>
              <a:t>Now available with </a:t>
            </a:r>
            <a:r>
              <a:rPr lang="en-US" sz="1400">
                <a:latin typeface="+mj-lt"/>
              </a:rPr>
              <a:t>voice sync</a:t>
            </a:r>
            <a:r>
              <a:rPr lang="en-US" sz="1400"/>
              <a:t>, which offers a personalized voice to your custom avatar, all </a:t>
            </a:r>
            <a:r>
              <a:rPr lang="en-US" sz="1400">
                <a:latin typeface="+mj-lt"/>
              </a:rPr>
              <a:t>in one step</a:t>
            </a:r>
            <a:r>
              <a:rPr lang="en-US" sz="1400"/>
              <a:t>, trained from the same set of data</a:t>
            </a:r>
            <a:endParaRPr lang="en-US" sz="14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E1F20A5-7C24-5E5B-6A08-C1AE22EC8216}"/>
              </a:ext>
            </a:extLst>
          </p:cNvPr>
          <p:cNvSpPr txBox="1"/>
          <p:nvPr/>
        </p:nvSpPr>
        <p:spPr>
          <a:xfrm>
            <a:off x="585217" y="3786822"/>
            <a:ext cx="2813303" cy="1157240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  <a:sym typeface="Arial"/>
              </a:rPr>
              <a:t>Examples of phrases include:</a:t>
            </a:r>
          </a:p>
          <a:p>
            <a:pPr marL="176213" marR="0" lvl="0" indent="-176213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  <a:sym typeface="Arial"/>
              </a:rPr>
              <a:t>Proper nouns (e.g., names)</a:t>
            </a:r>
          </a:p>
          <a:p>
            <a:pPr marL="176213" marR="0" lvl="0" indent="-176213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  <a:sym typeface="Arial"/>
              </a:rPr>
              <a:t>Homonyms</a:t>
            </a:r>
          </a:p>
          <a:p>
            <a:pPr marL="176213" marR="0" lvl="0" indent="-176213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  <a:sym typeface="Arial"/>
              </a:rPr>
              <a:t>Words or acronyms unique to your industry or organization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D3DA6D77-982B-2553-D18A-43908CAD121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 bwMode="auto">
          <a:xfrm>
            <a:off x="8342375" y="4009691"/>
            <a:ext cx="1920240" cy="372618"/>
          </a:xfrm>
          <a:prstGeom prst="roundRect">
            <a:avLst>
              <a:gd name="adj" fmla="val 36259"/>
            </a:avLst>
          </a:prstGeom>
          <a:gradFill flip="none" rotWithShape="1">
            <a:gsLst>
              <a:gs pos="80000">
                <a:srgbClr val="A9D5ED"/>
              </a:gs>
              <a:gs pos="0">
                <a:srgbClr val="FFC6CC"/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 wrap="square" lIns="182880" tIns="36576" rIns="182880" bIns="73152" rtlCol="0" anchor="ctr" anchorCtr="0">
            <a:spAutoFit/>
          </a:bodyPr>
          <a:lstStyle/>
          <a:p>
            <a:pPr marL="0" marR="0" lvl="0" indent="0" algn="ctr" defTabSz="91443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487158" algn="l"/>
              </a:tabLst>
              <a:defRPr/>
            </a:pPr>
            <a:r>
              <a:rPr kumimoji="0" lang="en-US" sz="1200" b="1" i="0" u="none" strike="noStrike" kern="1200" cap="none" spc="0" normalizeH="0" baseline="0" noProof="0" dirty="0">
                <a:ln w="3175">
                  <a:noFill/>
                </a:ln>
                <a:gradFill>
                  <a:gsLst>
                    <a:gs pos="46602">
                      <a:srgbClr val="000000"/>
                    </a:gs>
                    <a:gs pos="80000">
                      <a:srgbClr val="000000"/>
                    </a:gs>
                  </a:gsLst>
                  <a:path path="circle">
                    <a:fillToRect l="100000" t="100000"/>
                  </a:path>
                </a:gradFill>
                <a:effectLst/>
                <a:uLnTx/>
                <a:uFillTx/>
                <a:latin typeface="Segoe UI Variable Display Semib" pitchFamily="2" charset="0"/>
                <a:ea typeface="+mn-ea"/>
                <a:cs typeface="Segoe UI" pitchFamily="34" charset="0"/>
                <a:sym typeface="Arial"/>
              </a:rPr>
              <a:t>Public Preview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ACFB3408-5247-331B-E05A-27F1A8FBB64B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 bwMode="auto">
          <a:xfrm>
            <a:off x="4463796" y="4009691"/>
            <a:ext cx="1920240" cy="372618"/>
          </a:xfrm>
          <a:prstGeom prst="roundRect">
            <a:avLst>
              <a:gd name="adj" fmla="val 36259"/>
            </a:avLst>
          </a:prstGeom>
          <a:gradFill flip="none" rotWithShape="1">
            <a:gsLst>
              <a:gs pos="80000">
                <a:srgbClr val="A9D5ED"/>
              </a:gs>
              <a:gs pos="0">
                <a:srgbClr val="FFC6CC"/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 wrap="square" lIns="182880" tIns="36576" rIns="182880" bIns="73152" rtlCol="0" anchor="ctr" anchorCtr="0">
            <a:spAutoFit/>
          </a:bodyPr>
          <a:lstStyle/>
          <a:p>
            <a:pPr marL="0" marR="0" lvl="0" indent="0" algn="ctr" defTabSz="91443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487158" algn="l"/>
              </a:tabLst>
              <a:defRPr/>
            </a:pPr>
            <a:r>
              <a:rPr kumimoji="0" lang="en-US" sz="1200" b="1" i="0" u="none" strike="noStrike" kern="1200" cap="none" spc="0" normalizeH="0" baseline="0" noProof="0" dirty="0">
                <a:ln w="3175">
                  <a:noFill/>
                </a:ln>
                <a:gradFill>
                  <a:gsLst>
                    <a:gs pos="46602">
                      <a:srgbClr val="000000"/>
                    </a:gs>
                    <a:gs pos="80000">
                      <a:srgbClr val="000000"/>
                    </a:gs>
                  </a:gsLst>
                  <a:path path="circle">
                    <a:fillToRect l="100000" t="100000"/>
                  </a:path>
                </a:gradFill>
                <a:effectLst/>
                <a:uLnTx/>
                <a:uFillTx/>
                <a:latin typeface="Segoe UI Variable Display Semib" pitchFamily="2" charset="0"/>
                <a:ea typeface="+mn-ea"/>
                <a:cs typeface="Segoe UI" pitchFamily="34" charset="0"/>
                <a:sym typeface="Arial"/>
              </a:rPr>
              <a:t>Public Preview</a:t>
            </a:r>
          </a:p>
        </p:txBody>
      </p:sp>
      <p:grpSp>
        <p:nvGrpSpPr>
          <p:cNvPr id="12" name="Group 11" descr="Screenshot">
            <a:extLst>
              <a:ext uri="{FF2B5EF4-FFF2-40B4-BE49-F238E27FC236}">
                <a16:creationId xmlns:a16="http://schemas.microsoft.com/office/drawing/2014/main" id="{B7AFFFC5-58F7-E5E5-6BED-BFCD87E18B38}"/>
              </a:ext>
            </a:extLst>
          </p:cNvPr>
          <p:cNvGrpSpPr/>
          <p:nvPr/>
        </p:nvGrpSpPr>
        <p:grpSpPr>
          <a:xfrm>
            <a:off x="4462464" y="4472622"/>
            <a:ext cx="2273216" cy="1883453"/>
            <a:chOff x="3597825" y="3644324"/>
            <a:chExt cx="3626285" cy="2989743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E62F52AF-833B-B0AF-1E39-506CA68E8D6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97825" y="3644324"/>
              <a:ext cx="3626285" cy="2989743"/>
            </a:xfrm>
            <a:prstGeom prst="rect">
              <a:avLst/>
            </a:prstGeom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96163F45-3BBD-0936-4352-0E88648F3B0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20471" y="3956435"/>
              <a:ext cx="2383097" cy="1090140"/>
            </a:xfrm>
            <a:prstGeom prst="rect">
              <a:avLst/>
            </a:prstGeom>
          </p:spPr>
        </p:pic>
      </p:grpSp>
      <p:pic>
        <p:nvPicPr>
          <p:cNvPr id="15" name="Voice sync 0508" descr="Video">
            <a:hlinkClick r:id="" action="ppaction://media"/>
            <a:extLst>
              <a:ext uri="{FF2B5EF4-FFF2-40B4-BE49-F238E27FC236}">
                <a16:creationId xmlns:a16="http://schemas.microsoft.com/office/drawing/2014/main" id="{49E0DCC5-0BA9-9DFA-E379-11EEE0CEBA21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rcRect l="1822"/>
          <a:stretch>
            <a:fillRect/>
          </a:stretch>
        </p:blipFill>
        <p:spPr>
          <a:xfrm>
            <a:off x="8342375" y="4484273"/>
            <a:ext cx="3267013" cy="1871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221191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1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1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5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15"/>
                </p:tgtEl>
              </p:cMediaNode>
            </p:video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Voice Live API">
            <a:hlinkClick r:id="" action="ppaction://media"/>
            <a:extLst>
              <a:ext uri="{FF2B5EF4-FFF2-40B4-BE49-F238E27FC236}">
                <a16:creationId xmlns:a16="http://schemas.microsoft.com/office/drawing/2014/main" id="{3C47AD92-11D7-2518-8B18-8E5012E1DB94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161426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8090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Voice Live API">
            <a:hlinkClick r:id="" action="ppaction://media"/>
            <a:extLst>
              <a:ext uri="{FF2B5EF4-FFF2-40B4-BE49-F238E27FC236}">
                <a16:creationId xmlns:a16="http://schemas.microsoft.com/office/drawing/2014/main" id="{B996EF82-2526-6E58-7285-A121E2C86B00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FA3F02FF-ABF5-C7A7-96FE-96D35E4D5692}"/>
              </a:ext>
            </a:extLst>
          </p:cNvPr>
          <p:cNvSpPr txBox="1"/>
          <p:nvPr/>
        </p:nvSpPr>
        <p:spPr>
          <a:xfrm>
            <a:off x="5279230" y="70573"/>
            <a:ext cx="663297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HK" dirty="0">
                <a:hlinkClick r:id="rId5"/>
              </a:rPr>
              <a:t>https://techcommunity.microsoft.com/blog/azure-ai-services-blog/azure-ai-voice-live-api-what%E2%80%99s-new-and-the-pricing-announcement/4428687</a:t>
            </a:r>
            <a:endParaRPr lang="en-HK" dirty="0"/>
          </a:p>
        </p:txBody>
      </p:sp>
    </p:spTree>
    <p:extLst>
      <p:ext uri="{BB962C8B-B14F-4D97-AF65-F5344CB8AC3E}">
        <p14:creationId xmlns:p14="http://schemas.microsoft.com/office/powerpoint/2010/main" val="276288609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9376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B96D10-E895-51E7-4F6C-669BFFF1E6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>
            <a:extLst>
              <a:ext uri="{FF2B5EF4-FFF2-40B4-BE49-F238E27FC236}">
                <a16:creationId xmlns:a16="http://schemas.microsoft.com/office/drawing/2014/main" id="{64C0BEDA-EA35-2CAF-395A-58568B7FD0B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41234" y="1947084"/>
            <a:ext cx="5995988" cy="554037"/>
          </a:xfrm>
        </p:spPr>
        <p:txBody>
          <a:bodyPr/>
          <a:lstStyle/>
          <a:p>
            <a:r>
              <a:rPr lang="en-US"/>
              <a:t>Agent mod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BB98C278-7959-6CC5-B5D1-B34CF323F19E}"/>
              </a:ext>
            </a:extLst>
          </p:cNvPr>
          <p:cNvSpPr txBox="1">
            <a:spLocks/>
          </p:cNvSpPr>
          <p:nvPr/>
        </p:nvSpPr>
        <p:spPr>
          <a:xfrm>
            <a:off x="518110" y="2705435"/>
            <a:ext cx="4672220" cy="778528"/>
          </a:xfrm>
          <a:prstGeom prst="rect">
            <a:avLst/>
          </a:prstGeom>
        </p:spPr>
        <p:txBody>
          <a:bodyPr lIns="91440" tIns="45720" rIns="91440" bIns="4572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200" b="0" i="0" kern="1200">
                <a:solidFill>
                  <a:schemeClr val="tx1"/>
                </a:solidFill>
                <a:latin typeface="Mona-Sans Regular" pitchFamily="2" charset="77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Mona-Sans Regular" pitchFamily="2" charset="77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Mona-Sans Regular" pitchFamily="2" charset="77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Mona-Sans Regular" pitchFamily="2" charset="77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Mona-Sans Regular" pitchFamily="2" charset="77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 w="3175">
                  <a:noFill/>
                </a:ln>
                <a:gradFill flip="none" rotWithShape="1">
                  <a:gsLst>
                    <a:gs pos="0">
                      <a:srgbClr val="FFC6CC"/>
                    </a:gs>
                    <a:gs pos="80000">
                      <a:srgbClr val="A9D5ED"/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effectLst/>
                <a:uLnTx/>
                <a:uFillTx/>
                <a:latin typeface="Segoe UI Variable Display Semibold" pitchFamily="2" charset="0"/>
                <a:ea typeface="+mn-ea"/>
                <a:cs typeface="Segoe UI" pitchFamily="34" charset="0"/>
                <a:sym typeface="Arial"/>
              </a:rPr>
              <a:t>Iterate securely, automatically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 w="3175">
                  <a:noFill/>
                </a:ln>
                <a:gradFill flip="none" rotWithShape="1">
                  <a:gsLst>
                    <a:gs pos="0">
                      <a:srgbClr val="FFC6CC"/>
                    </a:gs>
                    <a:gs pos="80000">
                      <a:srgbClr val="A9D5ED"/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effectLst/>
                <a:uLnTx/>
                <a:uFillTx/>
                <a:latin typeface="Segoe UI Variable Display Semibold" pitchFamily="2" charset="0"/>
                <a:ea typeface="+mn-ea"/>
                <a:cs typeface="Segoe UI" pitchFamily="34" charset="0"/>
                <a:sym typeface="Arial"/>
              </a:rPr>
              <a:t> </a:t>
            </a: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CA177929-741E-F5E0-E1C6-FEC6705019C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5422997" y="1310273"/>
            <a:ext cx="6127769" cy="4237453"/>
            <a:chOff x="5422997" y="1118318"/>
            <a:chExt cx="6127769" cy="4237453"/>
          </a:xfrm>
        </p:grpSpPr>
        <p:sp>
          <p:nvSpPr>
            <p:cNvPr id="11" name="Rounded Rectangle 10">
              <a:extLst>
                <a:ext uri="{FF2B5EF4-FFF2-40B4-BE49-F238E27FC236}">
                  <a16:creationId xmlns:a16="http://schemas.microsoft.com/office/drawing/2014/main" id="{F05EB01C-91EF-A184-8966-D9C9E87CB1D9}"/>
                </a:ext>
              </a:extLst>
            </p:cNvPr>
            <p:cNvSpPr/>
            <p:nvPr/>
          </p:nvSpPr>
          <p:spPr>
            <a:xfrm>
              <a:off x="5422997" y="1118318"/>
              <a:ext cx="6127769" cy="4237453"/>
            </a:xfrm>
            <a:prstGeom prst="roundRect">
              <a:avLst>
                <a:gd name="adj" fmla="val 5769"/>
              </a:avLst>
            </a:prstGeom>
            <a:gradFill>
              <a:gsLst>
                <a:gs pos="0">
                  <a:srgbClr val="FFF8E5">
                    <a:alpha val="10000"/>
                  </a:srgbClr>
                </a:gs>
                <a:gs pos="80000">
                  <a:srgbClr val="DCEDE8">
                    <a:alpha val="10000"/>
                  </a:srgbClr>
                </a:gs>
              </a:gsLst>
              <a:path path="circle">
                <a:fillToRect l="100000" t="100000"/>
              </a:path>
            </a:gradFill>
          </p:spPr>
          <p:txBody>
            <a:bodyPr wrap="square" lIns="0" tIns="0" rIns="0" bIns="45720" rtlCol="0" anchor="ctr" anchorCtr="0">
              <a:noAutofit/>
            </a:bodyPr>
            <a:lstStyle/>
            <a:p>
              <a:pPr marL="0" marR="0" lvl="0" indent="0" algn="ctr" defTabSz="2275850" rtl="0" eaLnBrk="1" fontAlgn="base" latinLnBrk="0" hangingPunct="1">
                <a:lnSpc>
                  <a:spcPct val="100000"/>
                </a:lnSpc>
                <a:spcBef>
                  <a:spcPts val="20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3701239" algn="l"/>
                </a:tabLst>
                <a:defRPr/>
              </a:pPr>
              <a:endParaRPr kumimoji="0" lang="en-US" sz="2000" b="1" i="0" u="none" strike="noStrike" kern="1200" cap="none" spc="0" normalizeH="0" baseline="0" noProof="0">
                <a:ln w="3175">
                  <a:noFill/>
                </a:ln>
                <a:gradFill>
                  <a:gsLst>
                    <a:gs pos="9174">
                      <a:srgbClr val="FFFFFF"/>
                    </a:gs>
                    <a:gs pos="42000">
                      <a:srgbClr val="FFFFFF"/>
                    </a:gs>
                  </a:gsLst>
                  <a:path path="circle">
                    <a:fillToRect l="100000" t="100000"/>
                  </a:path>
                </a:gradFill>
                <a:effectLst/>
                <a:uLnTx/>
                <a:uFillTx/>
                <a:latin typeface="Segoe UI Variable Display Semibold" pitchFamily="2" charset="0"/>
                <a:ea typeface="+mn-ea"/>
                <a:cs typeface="Segoe UI" pitchFamily="34" charset="0"/>
                <a:sym typeface="Arial"/>
              </a:endParaRPr>
            </a:p>
          </p:txBody>
        </p:sp>
        <p:pic>
          <p:nvPicPr>
            <p:cNvPr id="27" name="Picture 26" descr="A screenshot of a computer&#10;&#10;AI-generated content may be incorrect.">
              <a:extLst>
                <a:ext uri="{FF2B5EF4-FFF2-40B4-BE49-F238E27FC236}">
                  <a16:creationId xmlns:a16="http://schemas.microsoft.com/office/drawing/2014/main" id="{20BE1095-86FB-A26A-4C47-C37424AB111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99991" y="1309850"/>
              <a:ext cx="5773781" cy="3854389"/>
            </a:xfrm>
            <a:prstGeom prst="roundRect">
              <a:avLst>
                <a:gd name="adj" fmla="val 1717"/>
              </a:avLst>
            </a:prstGeom>
          </p:spPr>
        </p:pic>
      </p:grp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CF7AABD2-946D-ADEF-B142-DAA5B48C283C}"/>
              </a:ext>
            </a:extLst>
          </p:cNvPr>
          <p:cNvSpPr/>
          <p:nvPr/>
        </p:nvSpPr>
        <p:spPr>
          <a:xfrm>
            <a:off x="950948" y="3483963"/>
            <a:ext cx="2057436" cy="415936"/>
          </a:xfrm>
          <a:prstGeom prst="roundRect">
            <a:avLst>
              <a:gd name="adj" fmla="val 50000"/>
            </a:avLst>
          </a:prstGeom>
          <a:noFill/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/>
                <a:ea typeface="+mn-ea"/>
                <a:cs typeface="+mn-cs"/>
                <a:sym typeface="Arial"/>
              </a:rPr>
              <a:t>Intent detection</a:t>
            </a:r>
          </a:p>
        </p:txBody>
      </p:sp>
      <p:grpSp>
        <p:nvGrpSpPr>
          <p:cNvPr id="2" name="Google Shape;1276;p65">
            <a:extLst>
              <a:ext uri="{FF2B5EF4-FFF2-40B4-BE49-F238E27FC236}">
                <a16:creationId xmlns:a16="http://schemas.microsoft.com/office/drawing/2014/main" id="{74B64344-ED62-1983-9438-0006234BBA1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619968" y="3590433"/>
            <a:ext cx="202996" cy="202997"/>
            <a:chOff x="4027450" y="4768275"/>
            <a:chExt cx="58000" cy="58000"/>
          </a:xfrm>
          <a:solidFill>
            <a:schemeClr val="tx2"/>
          </a:solidFill>
        </p:grpSpPr>
        <p:sp>
          <p:nvSpPr>
            <p:cNvPr id="3" name="Google Shape;1277;p65">
              <a:extLst>
                <a:ext uri="{FF2B5EF4-FFF2-40B4-BE49-F238E27FC236}">
                  <a16:creationId xmlns:a16="http://schemas.microsoft.com/office/drawing/2014/main" id="{2CFB1ECC-9962-D6ED-06D4-4C89352302CA}"/>
                </a:ext>
              </a:extLst>
            </p:cNvPr>
            <p:cNvSpPr/>
            <p:nvPr/>
          </p:nvSpPr>
          <p:spPr>
            <a:xfrm>
              <a:off x="4041775" y="4786625"/>
              <a:ext cx="29350" cy="21100"/>
            </a:xfrm>
            <a:custGeom>
              <a:avLst/>
              <a:gdLst/>
              <a:ahLst/>
              <a:cxnLst/>
              <a:rect l="l" t="t" r="r" b="b"/>
              <a:pathLst>
                <a:path w="1174" h="844" extrusionOk="0">
                  <a:moveTo>
                    <a:pt x="1089" y="1"/>
                  </a:moveTo>
                  <a:cubicBezTo>
                    <a:pt x="1068" y="1"/>
                    <a:pt x="1047" y="9"/>
                    <a:pt x="1030" y="26"/>
                  </a:cubicBezTo>
                  <a:lnTo>
                    <a:pt x="406" y="650"/>
                  </a:lnTo>
                  <a:lnTo>
                    <a:pt x="144" y="397"/>
                  </a:lnTo>
                  <a:cubicBezTo>
                    <a:pt x="127" y="380"/>
                    <a:pt x="106" y="372"/>
                    <a:pt x="86" y="372"/>
                  </a:cubicBezTo>
                  <a:cubicBezTo>
                    <a:pt x="66" y="372"/>
                    <a:pt x="47" y="380"/>
                    <a:pt x="35" y="397"/>
                  </a:cubicBezTo>
                  <a:cubicBezTo>
                    <a:pt x="1" y="422"/>
                    <a:pt x="1" y="473"/>
                    <a:pt x="35" y="507"/>
                  </a:cubicBezTo>
                  <a:lnTo>
                    <a:pt x="347" y="819"/>
                  </a:lnTo>
                  <a:cubicBezTo>
                    <a:pt x="364" y="835"/>
                    <a:pt x="385" y="844"/>
                    <a:pt x="405" y="844"/>
                  </a:cubicBezTo>
                  <a:cubicBezTo>
                    <a:pt x="425" y="844"/>
                    <a:pt x="444" y="835"/>
                    <a:pt x="456" y="819"/>
                  </a:cubicBezTo>
                  <a:lnTo>
                    <a:pt x="1148" y="136"/>
                  </a:lnTo>
                  <a:cubicBezTo>
                    <a:pt x="1173" y="102"/>
                    <a:pt x="1173" y="51"/>
                    <a:pt x="1148" y="26"/>
                  </a:cubicBezTo>
                  <a:cubicBezTo>
                    <a:pt x="1131" y="9"/>
                    <a:pt x="1110" y="1"/>
                    <a:pt x="108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a Sans" pitchFamily="2" charset="77"/>
                <a:ea typeface="+mn-ea"/>
                <a:cs typeface="Arial"/>
                <a:sym typeface="Arial"/>
              </a:endParaRPr>
            </a:p>
          </p:txBody>
        </p:sp>
        <p:sp>
          <p:nvSpPr>
            <p:cNvPr id="4" name="Google Shape;1278;p65">
              <a:extLst>
                <a:ext uri="{FF2B5EF4-FFF2-40B4-BE49-F238E27FC236}">
                  <a16:creationId xmlns:a16="http://schemas.microsoft.com/office/drawing/2014/main" id="{542024D9-7763-C300-F0AE-C44177E36DF4}"/>
                </a:ext>
              </a:extLst>
            </p:cNvPr>
            <p:cNvSpPr/>
            <p:nvPr/>
          </p:nvSpPr>
          <p:spPr>
            <a:xfrm>
              <a:off x="4027450" y="4768275"/>
              <a:ext cx="58000" cy="58000"/>
            </a:xfrm>
            <a:custGeom>
              <a:avLst/>
              <a:gdLst/>
              <a:ahLst/>
              <a:cxnLst/>
              <a:rect l="l" t="t" r="r" b="b"/>
              <a:pathLst>
                <a:path w="2320" h="2320" extrusionOk="0">
                  <a:moveTo>
                    <a:pt x="1164" y="1"/>
                  </a:moveTo>
                  <a:cubicBezTo>
                    <a:pt x="523" y="1"/>
                    <a:pt x="1" y="515"/>
                    <a:pt x="1" y="1156"/>
                  </a:cubicBezTo>
                  <a:cubicBezTo>
                    <a:pt x="1" y="1797"/>
                    <a:pt x="523" y="2320"/>
                    <a:pt x="1164" y="2320"/>
                  </a:cubicBezTo>
                  <a:cubicBezTo>
                    <a:pt x="1797" y="2320"/>
                    <a:pt x="2320" y="1797"/>
                    <a:pt x="2320" y="1156"/>
                  </a:cubicBezTo>
                  <a:cubicBezTo>
                    <a:pt x="2320" y="515"/>
                    <a:pt x="1797" y="1"/>
                    <a:pt x="1164" y="1"/>
                  </a:cubicBezTo>
                  <a:close/>
                  <a:moveTo>
                    <a:pt x="161" y="1156"/>
                  </a:moveTo>
                  <a:cubicBezTo>
                    <a:pt x="161" y="600"/>
                    <a:pt x="608" y="153"/>
                    <a:pt x="1164" y="153"/>
                  </a:cubicBezTo>
                  <a:cubicBezTo>
                    <a:pt x="1712" y="153"/>
                    <a:pt x="2159" y="600"/>
                    <a:pt x="2159" y="1156"/>
                  </a:cubicBezTo>
                  <a:cubicBezTo>
                    <a:pt x="2159" y="1713"/>
                    <a:pt x="1712" y="2160"/>
                    <a:pt x="1164" y="2160"/>
                  </a:cubicBezTo>
                  <a:cubicBezTo>
                    <a:pt x="608" y="2160"/>
                    <a:pt x="161" y="1713"/>
                    <a:pt x="161" y="115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a Sans" pitchFamily="2" charset="77"/>
                <a:ea typeface="+mn-ea"/>
                <a:cs typeface="Arial"/>
                <a:sym typeface="Arial"/>
              </a:endParaRPr>
            </a:p>
          </p:txBody>
        </p:sp>
      </p:grpSp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007452A3-D25F-1FD0-8DEA-DD0EA5A7D485}"/>
              </a:ext>
            </a:extLst>
          </p:cNvPr>
          <p:cNvSpPr/>
          <p:nvPr/>
        </p:nvSpPr>
        <p:spPr>
          <a:xfrm>
            <a:off x="950948" y="4009573"/>
            <a:ext cx="2768636" cy="415936"/>
          </a:xfrm>
          <a:prstGeom prst="roundRect">
            <a:avLst>
              <a:gd name="adj" fmla="val 50000"/>
            </a:avLst>
          </a:prstGeom>
          <a:noFill/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/>
                <a:ea typeface="+mn-ea"/>
                <a:cs typeface="+mn-cs"/>
                <a:sym typeface="Arial"/>
              </a:rPr>
              <a:t>Self-healing capabilities</a:t>
            </a:r>
          </a:p>
        </p:txBody>
      </p:sp>
      <p:grpSp>
        <p:nvGrpSpPr>
          <p:cNvPr id="5" name="Google Shape;1276;p65">
            <a:extLst>
              <a:ext uri="{FF2B5EF4-FFF2-40B4-BE49-F238E27FC236}">
                <a16:creationId xmlns:a16="http://schemas.microsoft.com/office/drawing/2014/main" id="{C6A84E97-1897-E75B-7E6E-8FC80B4781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619968" y="4116043"/>
            <a:ext cx="202996" cy="202997"/>
            <a:chOff x="4027450" y="4768275"/>
            <a:chExt cx="58000" cy="58000"/>
          </a:xfrm>
          <a:solidFill>
            <a:schemeClr val="tx2"/>
          </a:solidFill>
        </p:grpSpPr>
        <p:sp>
          <p:nvSpPr>
            <p:cNvPr id="6" name="Google Shape;1277;p65">
              <a:extLst>
                <a:ext uri="{FF2B5EF4-FFF2-40B4-BE49-F238E27FC236}">
                  <a16:creationId xmlns:a16="http://schemas.microsoft.com/office/drawing/2014/main" id="{8D908B5C-8438-A4C1-4228-7978435FBA5C}"/>
                </a:ext>
              </a:extLst>
            </p:cNvPr>
            <p:cNvSpPr/>
            <p:nvPr/>
          </p:nvSpPr>
          <p:spPr>
            <a:xfrm>
              <a:off x="4041775" y="4786625"/>
              <a:ext cx="29350" cy="21100"/>
            </a:xfrm>
            <a:custGeom>
              <a:avLst/>
              <a:gdLst/>
              <a:ahLst/>
              <a:cxnLst/>
              <a:rect l="l" t="t" r="r" b="b"/>
              <a:pathLst>
                <a:path w="1174" h="844" extrusionOk="0">
                  <a:moveTo>
                    <a:pt x="1089" y="1"/>
                  </a:moveTo>
                  <a:cubicBezTo>
                    <a:pt x="1068" y="1"/>
                    <a:pt x="1047" y="9"/>
                    <a:pt x="1030" y="26"/>
                  </a:cubicBezTo>
                  <a:lnTo>
                    <a:pt x="406" y="650"/>
                  </a:lnTo>
                  <a:lnTo>
                    <a:pt x="144" y="397"/>
                  </a:lnTo>
                  <a:cubicBezTo>
                    <a:pt x="127" y="380"/>
                    <a:pt x="106" y="372"/>
                    <a:pt x="86" y="372"/>
                  </a:cubicBezTo>
                  <a:cubicBezTo>
                    <a:pt x="66" y="372"/>
                    <a:pt x="47" y="380"/>
                    <a:pt x="35" y="397"/>
                  </a:cubicBezTo>
                  <a:cubicBezTo>
                    <a:pt x="1" y="422"/>
                    <a:pt x="1" y="473"/>
                    <a:pt x="35" y="507"/>
                  </a:cubicBezTo>
                  <a:lnTo>
                    <a:pt x="347" y="819"/>
                  </a:lnTo>
                  <a:cubicBezTo>
                    <a:pt x="364" y="835"/>
                    <a:pt x="385" y="844"/>
                    <a:pt x="405" y="844"/>
                  </a:cubicBezTo>
                  <a:cubicBezTo>
                    <a:pt x="425" y="844"/>
                    <a:pt x="444" y="835"/>
                    <a:pt x="456" y="819"/>
                  </a:cubicBezTo>
                  <a:lnTo>
                    <a:pt x="1148" y="136"/>
                  </a:lnTo>
                  <a:cubicBezTo>
                    <a:pt x="1173" y="102"/>
                    <a:pt x="1173" y="51"/>
                    <a:pt x="1148" y="26"/>
                  </a:cubicBezTo>
                  <a:cubicBezTo>
                    <a:pt x="1131" y="9"/>
                    <a:pt x="1110" y="1"/>
                    <a:pt x="108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a Sans" pitchFamily="2" charset="77"/>
                <a:ea typeface="+mn-ea"/>
                <a:cs typeface="Arial"/>
                <a:sym typeface="Arial"/>
              </a:endParaRPr>
            </a:p>
          </p:txBody>
        </p:sp>
        <p:sp>
          <p:nvSpPr>
            <p:cNvPr id="7" name="Google Shape;1278;p65">
              <a:extLst>
                <a:ext uri="{FF2B5EF4-FFF2-40B4-BE49-F238E27FC236}">
                  <a16:creationId xmlns:a16="http://schemas.microsoft.com/office/drawing/2014/main" id="{738BE0CD-E7DB-A742-C12B-42F507B25EC4}"/>
                </a:ext>
              </a:extLst>
            </p:cNvPr>
            <p:cNvSpPr/>
            <p:nvPr/>
          </p:nvSpPr>
          <p:spPr>
            <a:xfrm>
              <a:off x="4027450" y="4768275"/>
              <a:ext cx="58000" cy="58000"/>
            </a:xfrm>
            <a:custGeom>
              <a:avLst/>
              <a:gdLst/>
              <a:ahLst/>
              <a:cxnLst/>
              <a:rect l="l" t="t" r="r" b="b"/>
              <a:pathLst>
                <a:path w="2320" h="2320" extrusionOk="0">
                  <a:moveTo>
                    <a:pt x="1164" y="1"/>
                  </a:moveTo>
                  <a:cubicBezTo>
                    <a:pt x="523" y="1"/>
                    <a:pt x="1" y="515"/>
                    <a:pt x="1" y="1156"/>
                  </a:cubicBezTo>
                  <a:cubicBezTo>
                    <a:pt x="1" y="1797"/>
                    <a:pt x="523" y="2320"/>
                    <a:pt x="1164" y="2320"/>
                  </a:cubicBezTo>
                  <a:cubicBezTo>
                    <a:pt x="1797" y="2320"/>
                    <a:pt x="2320" y="1797"/>
                    <a:pt x="2320" y="1156"/>
                  </a:cubicBezTo>
                  <a:cubicBezTo>
                    <a:pt x="2320" y="515"/>
                    <a:pt x="1797" y="1"/>
                    <a:pt x="1164" y="1"/>
                  </a:cubicBezTo>
                  <a:close/>
                  <a:moveTo>
                    <a:pt x="161" y="1156"/>
                  </a:moveTo>
                  <a:cubicBezTo>
                    <a:pt x="161" y="600"/>
                    <a:pt x="608" y="153"/>
                    <a:pt x="1164" y="153"/>
                  </a:cubicBezTo>
                  <a:cubicBezTo>
                    <a:pt x="1712" y="153"/>
                    <a:pt x="2159" y="600"/>
                    <a:pt x="2159" y="1156"/>
                  </a:cubicBezTo>
                  <a:cubicBezTo>
                    <a:pt x="2159" y="1713"/>
                    <a:pt x="1712" y="2160"/>
                    <a:pt x="1164" y="2160"/>
                  </a:cubicBezTo>
                  <a:cubicBezTo>
                    <a:pt x="608" y="2160"/>
                    <a:pt x="161" y="1713"/>
                    <a:pt x="161" y="115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a Sans" pitchFamily="2" charset="77"/>
                <a:ea typeface="+mn-ea"/>
                <a:cs typeface="Arial"/>
                <a:sym typeface="Arial"/>
              </a:endParaRPr>
            </a:p>
          </p:txBody>
        </p:sp>
      </p:grpSp>
      <p:sp>
        <p:nvSpPr>
          <p:cNvPr id="16" name="Rounded Rectangle 15">
            <a:extLst>
              <a:ext uri="{FF2B5EF4-FFF2-40B4-BE49-F238E27FC236}">
                <a16:creationId xmlns:a16="http://schemas.microsoft.com/office/drawing/2014/main" id="{351C3607-F878-0666-9159-F68009E34ED4}"/>
              </a:ext>
            </a:extLst>
          </p:cNvPr>
          <p:cNvSpPr/>
          <p:nvPr/>
        </p:nvSpPr>
        <p:spPr>
          <a:xfrm>
            <a:off x="950948" y="4535183"/>
            <a:ext cx="3020747" cy="415936"/>
          </a:xfrm>
          <a:prstGeom prst="roundRect">
            <a:avLst>
              <a:gd name="adj" fmla="val 50000"/>
            </a:avLst>
          </a:prstGeom>
          <a:noFill/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/>
                <a:ea typeface="+mn-ea"/>
                <a:cs typeface="+mn-cs"/>
                <a:sym typeface="Arial"/>
              </a:rPr>
              <a:t>Auto-resolve runtime errors</a:t>
            </a:r>
          </a:p>
        </p:txBody>
      </p:sp>
      <p:grpSp>
        <p:nvGrpSpPr>
          <p:cNvPr id="8" name="Google Shape;1276;p65">
            <a:extLst>
              <a:ext uri="{FF2B5EF4-FFF2-40B4-BE49-F238E27FC236}">
                <a16:creationId xmlns:a16="http://schemas.microsoft.com/office/drawing/2014/main" id="{B9B4BCD6-1A56-C0A4-7BE9-A08566F6B3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619968" y="4641653"/>
            <a:ext cx="202996" cy="202997"/>
            <a:chOff x="4027450" y="4768275"/>
            <a:chExt cx="58000" cy="58000"/>
          </a:xfrm>
          <a:solidFill>
            <a:schemeClr val="tx2"/>
          </a:solidFill>
        </p:grpSpPr>
        <p:sp>
          <p:nvSpPr>
            <p:cNvPr id="9" name="Google Shape;1277;p65">
              <a:extLst>
                <a:ext uri="{FF2B5EF4-FFF2-40B4-BE49-F238E27FC236}">
                  <a16:creationId xmlns:a16="http://schemas.microsoft.com/office/drawing/2014/main" id="{EEFEB4E2-BA69-A172-905D-5896C558DED2}"/>
                </a:ext>
              </a:extLst>
            </p:cNvPr>
            <p:cNvSpPr/>
            <p:nvPr/>
          </p:nvSpPr>
          <p:spPr>
            <a:xfrm>
              <a:off x="4041775" y="4786625"/>
              <a:ext cx="29350" cy="21100"/>
            </a:xfrm>
            <a:custGeom>
              <a:avLst/>
              <a:gdLst/>
              <a:ahLst/>
              <a:cxnLst/>
              <a:rect l="l" t="t" r="r" b="b"/>
              <a:pathLst>
                <a:path w="1174" h="844" extrusionOk="0">
                  <a:moveTo>
                    <a:pt x="1089" y="1"/>
                  </a:moveTo>
                  <a:cubicBezTo>
                    <a:pt x="1068" y="1"/>
                    <a:pt x="1047" y="9"/>
                    <a:pt x="1030" y="26"/>
                  </a:cubicBezTo>
                  <a:lnTo>
                    <a:pt x="406" y="650"/>
                  </a:lnTo>
                  <a:lnTo>
                    <a:pt x="144" y="397"/>
                  </a:lnTo>
                  <a:cubicBezTo>
                    <a:pt x="127" y="380"/>
                    <a:pt x="106" y="372"/>
                    <a:pt x="86" y="372"/>
                  </a:cubicBezTo>
                  <a:cubicBezTo>
                    <a:pt x="66" y="372"/>
                    <a:pt x="47" y="380"/>
                    <a:pt x="35" y="397"/>
                  </a:cubicBezTo>
                  <a:cubicBezTo>
                    <a:pt x="1" y="422"/>
                    <a:pt x="1" y="473"/>
                    <a:pt x="35" y="507"/>
                  </a:cubicBezTo>
                  <a:lnTo>
                    <a:pt x="347" y="819"/>
                  </a:lnTo>
                  <a:cubicBezTo>
                    <a:pt x="364" y="835"/>
                    <a:pt x="385" y="844"/>
                    <a:pt x="405" y="844"/>
                  </a:cubicBezTo>
                  <a:cubicBezTo>
                    <a:pt x="425" y="844"/>
                    <a:pt x="444" y="835"/>
                    <a:pt x="456" y="819"/>
                  </a:cubicBezTo>
                  <a:lnTo>
                    <a:pt x="1148" y="136"/>
                  </a:lnTo>
                  <a:cubicBezTo>
                    <a:pt x="1173" y="102"/>
                    <a:pt x="1173" y="51"/>
                    <a:pt x="1148" y="26"/>
                  </a:cubicBezTo>
                  <a:cubicBezTo>
                    <a:pt x="1131" y="9"/>
                    <a:pt x="1110" y="1"/>
                    <a:pt x="108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a Sans" pitchFamily="2" charset="77"/>
                <a:ea typeface="+mn-ea"/>
                <a:cs typeface="Arial"/>
                <a:sym typeface="Arial"/>
              </a:endParaRPr>
            </a:p>
          </p:txBody>
        </p:sp>
        <p:sp>
          <p:nvSpPr>
            <p:cNvPr id="10" name="Google Shape;1278;p65">
              <a:extLst>
                <a:ext uri="{FF2B5EF4-FFF2-40B4-BE49-F238E27FC236}">
                  <a16:creationId xmlns:a16="http://schemas.microsoft.com/office/drawing/2014/main" id="{403A9D18-EBBD-7FED-B87C-B97F9C873961}"/>
                </a:ext>
              </a:extLst>
            </p:cNvPr>
            <p:cNvSpPr/>
            <p:nvPr/>
          </p:nvSpPr>
          <p:spPr>
            <a:xfrm>
              <a:off x="4027450" y="4768275"/>
              <a:ext cx="58000" cy="58000"/>
            </a:xfrm>
            <a:custGeom>
              <a:avLst/>
              <a:gdLst/>
              <a:ahLst/>
              <a:cxnLst/>
              <a:rect l="l" t="t" r="r" b="b"/>
              <a:pathLst>
                <a:path w="2320" h="2320" extrusionOk="0">
                  <a:moveTo>
                    <a:pt x="1164" y="1"/>
                  </a:moveTo>
                  <a:cubicBezTo>
                    <a:pt x="523" y="1"/>
                    <a:pt x="1" y="515"/>
                    <a:pt x="1" y="1156"/>
                  </a:cubicBezTo>
                  <a:cubicBezTo>
                    <a:pt x="1" y="1797"/>
                    <a:pt x="523" y="2320"/>
                    <a:pt x="1164" y="2320"/>
                  </a:cubicBezTo>
                  <a:cubicBezTo>
                    <a:pt x="1797" y="2320"/>
                    <a:pt x="2320" y="1797"/>
                    <a:pt x="2320" y="1156"/>
                  </a:cubicBezTo>
                  <a:cubicBezTo>
                    <a:pt x="2320" y="515"/>
                    <a:pt x="1797" y="1"/>
                    <a:pt x="1164" y="1"/>
                  </a:cubicBezTo>
                  <a:close/>
                  <a:moveTo>
                    <a:pt x="161" y="1156"/>
                  </a:moveTo>
                  <a:cubicBezTo>
                    <a:pt x="161" y="600"/>
                    <a:pt x="608" y="153"/>
                    <a:pt x="1164" y="153"/>
                  </a:cubicBezTo>
                  <a:cubicBezTo>
                    <a:pt x="1712" y="153"/>
                    <a:pt x="2159" y="600"/>
                    <a:pt x="2159" y="1156"/>
                  </a:cubicBezTo>
                  <a:cubicBezTo>
                    <a:pt x="2159" y="1713"/>
                    <a:pt x="1712" y="2160"/>
                    <a:pt x="1164" y="2160"/>
                  </a:cubicBezTo>
                  <a:cubicBezTo>
                    <a:pt x="608" y="2160"/>
                    <a:pt x="161" y="1713"/>
                    <a:pt x="161" y="115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a Sans" pitchFamily="2" charset="77"/>
                <a:ea typeface="+mn-ea"/>
                <a:cs typeface="Arial"/>
                <a:sym typeface="Arial"/>
              </a:endParaRP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13804BE2-CD14-E360-C82C-54404CB504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623539" y="1461835"/>
            <a:ext cx="1485531" cy="297916"/>
            <a:chOff x="2475455" y="1323144"/>
            <a:chExt cx="1485531" cy="297916"/>
          </a:xfrm>
        </p:grpSpPr>
        <p:sp>
          <p:nvSpPr>
            <p:cNvPr id="19" name="Rounded Rectangle 48">
              <a:extLst>
                <a:ext uri="{FF2B5EF4-FFF2-40B4-BE49-F238E27FC236}">
                  <a16:creationId xmlns:a16="http://schemas.microsoft.com/office/drawing/2014/main" id="{05854567-88E6-380A-B42C-1B5CCA889403}"/>
                </a:ext>
              </a:extLst>
            </p:cNvPr>
            <p:cNvSpPr/>
            <p:nvPr/>
          </p:nvSpPr>
          <p:spPr>
            <a:xfrm>
              <a:off x="2475455" y="1323144"/>
              <a:ext cx="1485531" cy="297916"/>
            </a:xfrm>
            <a:prstGeom prst="roundRect">
              <a:avLst>
                <a:gd name="adj" fmla="val 50000"/>
              </a:avLst>
            </a:prstGeom>
            <a:blipFill dpi="0" rotWithShape="0">
              <a:blip r:embed="rId4">
                <a:lum/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rcRect/>
              <a:stretch>
                <a:fillRect l="-26648" t="-76692" r="-26648" b="-83116"/>
              </a:stretch>
            </a:blipFill>
            <a:ln w="19050" cap="rnd">
              <a:gradFill flip="none" rotWithShape="1">
                <a:gsLst>
                  <a:gs pos="80000">
                    <a:srgbClr val="A9D5ED"/>
                  </a:gs>
                  <a:gs pos="0">
                    <a:srgbClr val="FFC6CC"/>
                  </a:gs>
                </a:gsLst>
                <a:lin ang="10800000" scaled="1"/>
                <a:tileRect/>
              </a:gradFill>
              <a:headEnd type="none" w="lg" len="sm"/>
              <a:tailEnd type="none" w="lg" len="sm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0" tIns="146266" rIns="0" bIns="14626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FF5C39">
                      <a:lumMod val="40000"/>
                      <a:lumOff val="60000"/>
                    </a:srgbClr>
                  </a:solidFill>
                  <a:effectLst/>
                  <a:uLnTx/>
                  <a:uFillTx/>
                  <a:latin typeface="Mona Sans" pitchFamily="2" charset="77"/>
                  <a:ea typeface="+mn-ea"/>
                  <a:cs typeface="+mn-cs"/>
                  <a:sym typeface="Arial"/>
                </a:rPr>
                <a:t>        GitHub Copilot</a:t>
              </a:r>
            </a:p>
          </p:txBody>
        </p:sp>
        <p:grpSp>
          <p:nvGrpSpPr>
            <p:cNvPr id="20" name="Google Shape;1693;p69">
              <a:extLst>
                <a:ext uri="{FF2B5EF4-FFF2-40B4-BE49-F238E27FC236}">
                  <a16:creationId xmlns:a16="http://schemas.microsoft.com/office/drawing/2014/main" id="{4A0C97FB-7628-739E-9516-E02C90F4536F}"/>
                </a:ext>
              </a:extLst>
            </p:cNvPr>
            <p:cNvGrpSpPr/>
            <p:nvPr/>
          </p:nvGrpSpPr>
          <p:grpSpPr>
            <a:xfrm>
              <a:off x="2585025" y="1384403"/>
              <a:ext cx="210130" cy="175399"/>
              <a:chOff x="690700" y="246575"/>
              <a:chExt cx="6228425" cy="5199000"/>
            </a:xfrm>
            <a:solidFill>
              <a:srgbClr val="000000"/>
            </a:solidFill>
          </p:grpSpPr>
          <p:sp>
            <p:nvSpPr>
              <p:cNvPr id="21" name="Google Shape;1694;p69">
                <a:extLst>
                  <a:ext uri="{FF2B5EF4-FFF2-40B4-BE49-F238E27FC236}">
                    <a16:creationId xmlns:a16="http://schemas.microsoft.com/office/drawing/2014/main" id="{941738AF-7A00-9C08-DAB0-C64CDA5171C6}"/>
                  </a:ext>
                </a:extLst>
              </p:cNvPr>
              <p:cNvSpPr/>
              <p:nvPr/>
            </p:nvSpPr>
            <p:spPr>
              <a:xfrm>
                <a:off x="690700" y="246575"/>
                <a:ext cx="6228425" cy="5199000"/>
              </a:xfrm>
              <a:custGeom>
                <a:avLst/>
                <a:gdLst/>
                <a:ahLst/>
                <a:cxnLst/>
                <a:rect l="l" t="t" r="r" b="b"/>
                <a:pathLst>
                  <a:path w="249137" h="207960" extrusionOk="0">
                    <a:moveTo>
                      <a:pt x="248256" y="155809"/>
                    </a:moveTo>
                    <a:cubicBezTo>
                      <a:pt x="239350" y="171352"/>
                      <a:pt x="187470" y="207959"/>
                      <a:pt x="124585" y="207959"/>
                    </a:cubicBezTo>
                    <a:cubicBezTo>
                      <a:pt x="61666" y="207959"/>
                      <a:pt x="9787" y="171352"/>
                      <a:pt x="880" y="155809"/>
                    </a:cubicBezTo>
                    <a:cubicBezTo>
                      <a:pt x="203" y="154691"/>
                      <a:pt x="0" y="153404"/>
                      <a:pt x="0" y="152084"/>
                    </a:cubicBezTo>
                    <a:lnTo>
                      <a:pt x="0" y="124451"/>
                    </a:lnTo>
                    <a:cubicBezTo>
                      <a:pt x="0" y="123333"/>
                      <a:pt x="169" y="122182"/>
                      <a:pt x="610" y="121132"/>
                    </a:cubicBezTo>
                    <a:cubicBezTo>
                      <a:pt x="4470" y="111413"/>
                      <a:pt x="14595" y="97326"/>
                      <a:pt x="27633" y="93567"/>
                    </a:cubicBezTo>
                    <a:cubicBezTo>
                      <a:pt x="29360" y="89097"/>
                      <a:pt x="31934" y="82629"/>
                      <a:pt x="34338" y="77820"/>
                    </a:cubicBezTo>
                    <a:cubicBezTo>
                      <a:pt x="33932" y="74163"/>
                      <a:pt x="33796" y="70370"/>
                      <a:pt x="33796" y="66543"/>
                    </a:cubicBezTo>
                    <a:cubicBezTo>
                      <a:pt x="33796" y="52727"/>
                      <a:pt x="36708" y="40637"/>
                      <a:pt x="45513" y="31596"/>
                    </a:cubicBezTo>
                    <a:cubicBezTo>
                      <a:pt x="49644" y="27397"/>
                      <a:pt x="54758" y="24146"/>
                      <a:pt x="60820" y="21741"/>
                    </a:cubicBezTo>
                    <a:cubicBezTo>
                      <a:pt x="75347" y="9923"/>
                      <a:pt x="96004" y="1"/>
                      <a:pt x="124348" y="1"/>
                    </a:cubicBezTo>
                    <a:cubicBezTo>
                      <a:pt x="152692" y="1"/>
                      <a:pt x="173789" y="9923"/>
                      <a:pt x="188317" y="21741"/>
                    </a:cubicBezTo>
                    <a:cubicBezTo>
                      <a:pt x="194379" y="24146"/>
                      <a:pt x="199492" y="27397"/>
                      <a:pt x="203624" y="31596"/>
                    </a:cubicBezTo>
                    <a:cubicBezTo>
                      <a:pt x="212428" y="40637"/>
                      <a:pt x="215374" y="52727"/>
                      <a:pt x="215374" y="66543"/>
                    </a:cubicBezTo>
                    <a:cubicBezTo>
                      <a:pt x="215374" y="70370"/>
                      <a:pt x="215205" y="74163"/>
                      <a:pt x="214833" y="77820"/>
                    </a:cubicBezTo>
                    <a:cubicBezTo>
                      <a:pt x="217203" y="82629"/>
                      <a:pt x="219777" y="89097"/>
                      <a:pt x="221504" y="93567"/>
                    </a:cubicBezTo>
                    <a:cubicBezTo>
                      <a:pt x="234575" y="97326"/>
                      <a:pt x="244667" y="111413"/>
                      <a:pt x="248527" y="121132"/>
                    </a:cubicBezTo>
                    <a:cubicBezTo>
                      <a:pt x="248967" y="122182"/>
                      <a:pt x="249137" y="123333"/>
                      <a:pt x="249137" y="124451"/>
                    </a:cubicBezTo>
                    <a:lnTo>
                      <a:pt x="249137" y="152084"/>
                    </a:lnTo>
                    <a:cubicBezTo>
                      <a:pt x="249137" y="153404"/>
                      <a:pt x="248933" y="154691"/>
                      <a:pt x="248256" y="155809"/>
                    </a:cubicBezTo>
                    <a:close/>
                    <a:moveTo>
                      <a:pt x="133017" y="63191"/>
                    </a:moveTo>
                    <a:cubicBezTo>
                      <a:pt x="132577" y="59770"/>
                      <a:pt x="132374" y="56689"/>
                      <a:pt x="132340" y="53912"/>
                    </a:cubicBezTo>
                    <a:lnTo>
                      <a:pt x="132340" y="53709"/>
                    </a:lnTo>
                    <a:cubicBezTo>
                      <a:pt x="132374" y="45717"/>
                      <a:pt x="134101" y="40536"/>
                      <a:pt x="136912" y="37353"/>
                    </a:cubicBezTo>
                    <a:cubicBezTo>
                      <a:pt x="140434" y="33289"/>
                      <a:pt x="147748" y="30173"/>
                      <a:pt x="163190" y="31867"/>
                    </a:cubicBezTo>
                    <a:cubicBezTo>
                      <a:pt x="178801" y="33526"/>
                      <a:pt x="187538" y="37420"/>
                      <a:pt x="192482" y="42466"/>
                    </a:cubicBezTo>
                    <a:cubicBezTo>
                      <a:pt x="197291" y="47376"/>
                      <a:pt x="199797" y="54725"/>
                      <a:pt x="199797" y="66543"/>
                    </a:cubicBezTo>
                    <a:cubicBezTo>
                      <a:pt x="199797" y="79107"/>
                      <a:pt x="198002" y="86523"/>
                      <a:pt x="194006" y="91061"/>
                    </a:cubicBezTo>
                    <a:cubicBezTo>
                      <a:pt x="190213" y="95328"/>
                      <a:pt x="182763" y="98849"/>
                      <a:pt x="166441" y="98849"/>
                    </a:cubicBezTo>
                    <a:cubicBezTo>
                      <a:pt x="153878" y="98849"/>
                      <a:pt x="146698" y="94752"/>
                      <a:pt x="142127" y="89097"/>
                    </a:cubicBezTo>
                    <a:cubicBezTo>
                      <a:pt x="137183" y="83035"/>
                      <a:pt x="134406" y="74163"/>
                      <a:pt x="133017" y="63191"/>
                    </a:cubicBezTo>
                    <a:close/>
                    <a:moveTo>
                      <a:pt x="116119" y="63191"/>
                    </a:moveTo>
                    <a:cubicBezTo>
                      <a:pt x="116560" y="59770"/>
                      <a:pt x="116797" y="56689"/>
                      <a:pt x="116797" y="53912"/>
                    </a:cubicBezTo>
                    <a:lnTo>
                      <a:pt x="116797" y="53709"/>
                    </a:lnTo>
                    <a:cubicBezTo>
                      <a:pt x="116763" y="45717"/>
                      <a:pt x="115036" y="40536"/>
                      <a:pt x="112259" y="37353"/>
                    </a:cubicBezTo>
                    <a:cubicBezTo>
                      <a:pt x="108703" y="33289"/>
                      <a:pt x="101388" y="30173"/>
                      <a:pt x="85980" y="31867"/>
                    </a:cubicBezTo>
                    <a:cubicBezTo>
                      <a:pt x="70335" y="33526"/>
                      <a:pt x="61598" y="37420"/>
                      <a:pt x="56654" y="42466"/>
                    </a:cubicBezTo>
                    <a:cubicBezTo>
                      <a:pt x="51879" y="47376"/>
                      <a:pt x="49340" y="54725"/>
                      <a:pt x="49340" y="66543"/>
                    </a:cubicBezTo>
                    <a:cubicBezTo>
                      <a:pt x="49340" y="79107"/>
                      <a:pt x="51168" y="86523"/>
                      <a:pt x="55130" y="91061"/>
                    </a:cubicBezTo>
                    <a:cubicBezTo>
                      <a:pt x="58923" y="95328"/>
                      <a:pt x="66373" y="98849"/>
                      <a:pt x="82696" y="98849"/>
                    </a:cubicBezTo>
                    <a:cubicBezTo>
                      <a:pt x="95259" y="98849"/>
                      <a:pt x="102438" y="94752"/>
                      <a:pt x="107010" y="89097"/>
                    </a:cubicBezTo>
                    <a:cubicBezTo>
                      <a:pt x="111954" y="83035"/>
                      <a:pt x="114731" y="74163"/>
                      <a:pt x="116119" y="63191"/>
                    </a:cubicBezTo>
                    <a:close/>
                    <a:moveTo>
                      <a:pt x="126346" y="93634"/>
                    </a:moveTo>
                    <a:cubicBezTo>
                      <a:pt x="126956" y="93634"/>
                      <a:pt x="125770" y="93634"/>
                      <a:pt x="126346" y="93634"/>
                    </a:cubicBezTo>
                    <a:cubicBezTo>
                      <a:pt x="125770" y="93634"/>
                      <a:pt x="123366" y="93634"/>
                      <a:pt x="122790" y="93634"/>
                    </a:cubicBezTo>
                    <a:cubicBezTo>
                      <a:pt x="121673" y="95497"/>
                      <a:pt x="120454" y="97258"/>
                      <a:pt x="119099" y="98917"/>
                    </a:cubicBezTo>
                    <a:cubicBezTo>
                      <a:pt x="111107" y="108738"/>
                      <a:pt x="99187" y="114393"/>
                      <a:pt x="82696" y="114393"/>
                    </a:cubicBezTo>
                    <a:cubicBezTo>
                      <a:pt x="64815" y="114393"/>
                      <a:pt x="51676" y="110668"/>
                      <a:pt x="43447" y="101355"/>
                    </a:cubicBezTo>
                    <a:cubicBezTo>
                      <a:pt x="43007" y="100814"/>
                      <a:pt x="42567" y="100272"/>
                      <a:pt x="42567" y="100272"/>
                    </a:cubicBezTo>
                    <a:lnTo>
                      <a:pt x="41551" y="101355"/>
                    </a:lnTo>
                    <a:lnTo>
                      <a:pt x="41551" y="169659"/>
                    </a:lnTo>
                    <a:cubicBezTo>
                      <a:pt x="56451" y="177752"/>
                      <a:pt x="88419" y="192280"/>
                      <a:pt x="124585" y="192280"/>
                    </a:cubicBezTo>
                    <a:cubicBezTo>
                      <a:pt x="160752" y="192280"/>
                      <a:pt x="192686" y="177752"/>
                      <a:pt x="207586" y="169659"/>
                    </a:cubicBezTo>
                    <a:lnTo>
                      <a:pt x="207586" y="101355"/>
                    </a:lnTo>
                    <a:lnTo>
                      <a:pt x="206570" y="100272"/>
                    </a:lnTo>
                    <a:cubicBezTo>
                      <a:pt x="206570" y="100272"/>
                      <a:pt x="206231" y="100712"/>
                      <a:pt x="205689" y="101355"/>
                    </a:cubicBezTo>
                    <a:cubicBezTo>
                      <a:pt x="197460" y="110668"/>
                      <a:pt x="184321" y="114393"/>
                      <a:pt x="166441" y="114393"/>
                    </a:cubicBezTo>
                    <a:cubicBezTo>
                      <a:pt x="149949" y="114393"/>
                      <a:pt x="138029" y="108738"/>
                      <a:pt x="130037" y="98917"/>
                    </a:cubicBezTo>
                    <a:cubicBezTo>
                      <a:pt x="128683" y="97258"/>
                      <a:pt x="127464" y="95497"/>
                      <a:pt x="126346" y="93634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FFFFFE"/>
                  </a:solidFill>
                  <a:effectLst/>
                  <a:uLnTx/>
                  <a:uFillTx/>
                  <a:latin typeface="Mona Sans" pitchFamily="2" charset="77"/>
                  <a:ea typeface="+mn-ea"/>
                  <a:cs typeface="Arial"/>
                  <a:sym typeface="Arial"/>
                </a:endParaRPr>
              </a:p>
            </p:txBody>
          </p:sp>
          <p:sp>
            <p:nvSpPr>
              <p:cNvPr id="22" name="Google Shape;1695;p69">
                <a:extLst>
                  <a:ext uri="{FF2B5EF4-FFF2-40B4-BE49-F238E27FC236}">
                    <a16:creationId xmlns:a16="http://schemas.microsoft.com/office/drawing/2014/main" id="{23A5119E-493E-3875-A4BD-62EC2D3FE045}"/>
                  </a:ext>
                </a:extLst>
              </p:cNvPr>
              <p:cNvSpPr/>
              <p:nvPr/>
            </p:nvSpPr>
            <p:spPr>
              <a:xfrm>
                <a:off x="2962100" y="3350200"/>
                <a:ext cx="453800" cy="1005800"/>
              </a:xfrm>
              <a:custGeom>
                <a:avLst/>
                <a:gdLst/>
                <a:ahLst/>
                <a:cxnLst/>
                <a:rect l="l" t="t" r="r" b="b"/>
                <a:pathLst>
                  <a:path w="18152" h="40232" extrusionOk="0">
                    <a:moveTo>
                      <a:pt x="9076" y="1"/>
                    </a:moveTo>
                    <a:cubicBezTo>
                      <a:pt x="14088" y="1"/>
                      <a:pt x="18152" y="4064"/>
                      <a:pt x="18152" y="9076"/>
                    </a:cubicBezTo>
                    <a:lnTo>
                      <a:pt x="18152" y="31156"/>
                    </a:lnTo>
                    <a:cubicBezTo>
                      <a:pt x="18152" y="36167"/>
                      <a:pt x="14088" y="40231"/>
                      <a:pt x="9076" y="40231"/>
                    </a:cubicBezTo>
                    <a:cubicBezTo>
                      <a:pt x="4064" y="40231"/>
                      <a:pt x="1" y="36167"/>
                      <a:pt x="1" y="31156"/>
                    </a:cubicBezTo>
                    <a:lnTo>
                      <a:pt x="1" y="9076"/>
                    </a:lnTo>
                    <a:cubicBezTo>
                      <a:pt x="1" y="4064"/>
                      <a:pt x="4064" y="1"/>
                      <a:pt x="9076" y="1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FFFFFE"/>
                  </a:solidFill>
                  <a:effectLst/>
                  <a:uLnTx/>
                  <a:uFillTx/>
                  <a:latin typeface="Mona Sans" pitchFamily="2" charset="77"/>
                  <a:ea typeface="+mn-ea"/>
                  <a:cs typeface="Arial"/>
                  <a:sym typeface="Arial"/>
                </a:endParaRPr>
              </a:p>
            </p:txBody>
          </p:sp>
          <p:sp>
            <p:nvSpPr>
              <p:cNvPr id="23" name="Google Shape;1696;p69">
                <a:extLst>
                  <a:ext uri="{FF2B5EF4-FFF2-40B4-BE49-F238E27FC236}">
                    <a16:creationId xmlns:a16="http://schemas.microsoft.com/office/drawing/2014/main" id="{BA22B797-DFF4-F3DA-3806-BB7E31F1EBF4}"/>
                  </a:ext>
                </a:extLst>
              </p:cNvPr>
              <p:cNvSpPr/>
              <p:nvPr/>
            </p:nvSpPr>
            <p:spPr>
              <a:xfrm>
                <a:off x="4194750" y="3350200"/>
                <a:ext cx="453800" cy="1005800"/>
              </a:xfrm>
              <a:custGeom>
                <a:avLst/>
                <a:gdLst/>
                <a:ahLst/>
                <a:cxnLst/>
                <a:rect l="l" t="t" r="r" b="b"/>
                <a:pathLst>
                  <a:path w="18152" h="40232" extrusionOk="0">
                    <a:moveTo>
                      <a:pt x="9076" y="1"/>
                    </a:moveTo>
                    <a:cubicBezTo>
                      <a:pt x="14088" y="1"/>
                      <a:pt x="18152" y="4064"/>
                      <a:pt x="18152" y="9076"/>
                    </a:cubicBezTo>
                    <a:lnTo>
                      <a:pt x="18152" y="31156"/>
                    </a:lnTo>
                    <a:cubicBezTo>
                      <a:pt x="18152" y="36167"/>
                      <a:pt x="14088" y="40231"/>
                      <a:pt x="9076" y="40231"/>
                    </a:cubicBezTo>
                    <a:cubicBezTo>
                      <a:pt x="4064" y="40231"/>
                      <a:pt x="1" y="36167"/>
                      <a:pt x="1" y="31156"/>
                    </a:cubicBezTo>
                    <a:lnTo>
                      <a:pt x="1" y="9076"/>
                    </a:lnTo>
                    <a:cubicBezTo>
                      <a:pt x="1" y="4064"/>
                      <a:pt x="4064" y="1"/>
                      <a:pt x="9076" y="1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FFFFFE"/>
                  </a:solidFill>
                  <a:effectLst/>
                  <a:uLnTx/>
                  <a:uFillTx/>
                  <a:latin typeface="Mona Sans" pitchFamily="2" charset="77"/>
                  <a:ea typeface="+mn-ea"/>
                  <a:cs typeface="Arial"/>
                  <a:sym typeface="Arial"/>
                </a:endParaRPr>
              </a:p>
            </p:txBody>
          </p:sp>
        </p:grpSp>
      </p:grpSp>
      <p:sp>
        <p:nvSpPr>
          <p:cNvPr id="12" name="Rounded Rectangle 20">
            <a:extLst>
              <a:ext uri="{FF2B5EF4-FFF2-40B4-BE49-F238E27FC236}">
                <a16:creationId xmlns:a16="http://schemas.microsoft.com/office/drawing/2014/main" id="{98E6670F-F3A8-97F0-4E86-916A99BE7E1B}"/>
              </a:ext>
            </a:extLst>
          </p:cNvPr>
          <p:cNvSpPr/>
          <p:nvPr/>
        </p:nvSpPr>
        <p:spPr bwMode="auto">
          <a:xfrm>
            <a:off x="10996209" y="293171"/>
            <a:ext cx="870037" cy="328056"/>
          </a:xfrm>
          <a:prstGeom prst="roundRect">
            <a:avLst>
              <a:gd name="adj" fmla="val 50000"/>
            </a:avLst>
          </a:prstGeom>
          <a:noFill/>
          <a:ln w="254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83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67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550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734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918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101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284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469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Display"/>
                <a:ea typeface="Aptos" panose="020B0004020202020204" pitchFamily="34" charset="0"/>
                <a:cs typeface="Segoe Sans Display"/>
                <a:sym typeface="Arial"/>
              </a:rPr>
              <a:t>BRK118</a:t>
            </a:r>
            <a:endParaRPr kumimoji="0" lang="en-US" sz="1765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53562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FFE68D-C63B-B945-2D7B-905BB9B2A1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HK"/>
              <a:t>New VS Code extensions on Database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C681605-5530-F7BC-44E0-29E4327DAE00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88263" y="1214840"/>
            <a:ext cx="11437250" cy="830997"/>
          </a:xfrm>
        </p:spPr>
        <p:txBody>
          <a:bodyPr/>
          <a:lstStyle/>
          <a:p>
            <a:r>
              <a:rPr lang="en-HK" sz="2000"/>
              <a:t>Data</a:t>
            </a:r>
            <a:r>
              <a:rPr lang="zh-TW" altLang="en-US" sz="2000"/>
              <a:t> </a:t>
            </a:r>
            <a:r>
              <a:rPr lang="en-HK" altLang="zh-TW" sz="2000"/>
              <a:t>structure understanding</a:t>
            </a:r>
          </a:p>
          <a:p>
            <a:r>
              <a:rPr lang="en-HK" sz="2000"/>
              <a:t>Performance Analyse and suggest updates on query</a:t>
            </a:r>
            <a:endParaRPr lang="en-HK" altLang="zh-TW" sz="2000"/>
          </a:p>
          <a:p>
            <a:endParaRPr lang="en-HK" altLang="zh-TW" sz="200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D5B303E-1DDF-CC56-6520-2121DEBAD412}"/>
              </a:ext>
            </a:extLst>
          </p:cNvPr>
          <p:cNvSpPr txBox="1"/>
          <p:nvPr/>
        </p:nvSpPr>
        <p:spPr>
          <a:xfrm>
            <a:off x="60959" y="2025364"/>
            <a:ext cx="5662508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8DC8E8"/>
                    </a:gs>
                    <a:gs pos="100000">
                      <a:srgbClr val="D59ED7"/>
                    </a:gs>
                  </a:gsLst>
                  <a:lin ang="0" scaled="1"/>
                </a:gradFill>
                <a:effectLst/>
                <a:uLnTx/>
                <a:uFillTx/>
                <a:latin typeface="Segoe UI Semibold"/>
                <a:ea typeface="+mn-ea"/>
                <a:cs typeface="Segoe Sans Display" pitchFamily="2" charset="0"/>
                <a:sym typeface="Arial"/>
              </a:rPr>
              <a:t>SQL skills in GitHub Copilo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8DC8E8"/>
                    </a:gs>
                    <a:gs pos="100000">
                      <a:srgbClr val="D59ED7"/>
                    </a:gs>
                  </a:gsLst>
                  <a:lin ang="0" scaled="1"/>
                </a:gradFill>
                <a:effectLst/>
                <a:uLnTx/>
                <a:uFillTx/>
                <a:latin typeface="Segoe UI Semibold"/>
                <a:ea typeface="+mn-ea"/>
                <a:cs typeface="Segoe Sans Display" pitchFamily="2" charset="0"/>
                <a:sym typeface="Arial"/>
              </a:rPr>
              <a:t>for MSSQL Extension </a:t>
            </a:r>
            <a:endParaRPr kumimoji="0" lang="en-HK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bold"/>
              <a:ea typeface="+mn-ea"/>
              <a:cs typeface="Arial"/>
              <a:sym typeface="Arial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2EAA267-BD50-AA39-F66E-84FA8574F209}"/>
              </a:ext>
            </a:extLst>
          </p:cNvPr>
          <p:cNvSpPr txBox="1"/>
          <p:nvPr/>
        </p:nvSpPr>
        <p:spPr>
          <a:xfrm>
            <a:off x="6096000" y="1957630"/>
            <a:ext cx="5600148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8DC8E8"/>
                    </a:gs>
                    <a:gs pos="100000">
                      <a:srgbClr val="D59ED7"/>
                    </a:gs>
                  </a:gsLst>
                  <a:lin ang="0" scaled="1"/>
                </a:gradFill>
                <a:effectLst/>
                <a:uLnTx/>
                <a:uFillTx/>
                <a:latin typeface="Segoe UI Semibold"/>
                <a:ea typeface="+mn-ea"/>
                <a:cs typeface="Segoe Sans Display" pitchFamily="2" charset="0"/>
                <a:sym typeface="Arial"/>
              </a:rPr>
              <a:t>PostgreSQL skill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8DC8E8"/>
                    </a:gs>
                    <a:gs pos="100000">
                      <a:srgbClr val="D59ED7"/>
                    </a:gs>
                  </a:gsLst>
                  <a:lin ang="0" scaled="1"/>
                </a:gradFill>
                <a:effectLst/>
                <a:uLnTx/>
                <a:uFillTx/>
                <a:latin typeface="Segoe UI Semibold"/>
                <a:ea typeface="+mn-ea"/>
                <a:cs typeface="Segoe Sans Display" pitchFamily="2" charset="0"/>
                <a:sym typeface="Arial"/>
              </a:rPr>
              <a:t>in GitHub Copilot</a:t>
            </a:r>
            <a:endParaRPr kumimoji="0" lang="en-HK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bold"/>
              <a:ea typeface="+mn-ea"/>
              <a:cs typeface="Arial"/>
              <a:sym typeface="Arial"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7C49F827-81C5-37A6-F394-463A9E64548D}"/>
              </a:ext>
            </a:extLst>
          </p:cNvPr>
          <p:cNvSpPr/>
          <p:nvPr/>
        </p:nvSpPr>
        <p:spPr>
          <a:xfrm>
            <a:off x="4912998" y="2285779"/>
            <a:ext cx="1069447" cy="38710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69000">
                <a:srgbClr val="8DC8E8"/>
              </a:gs>
              <a:gs pos="10000">
                <a:srgbClr val="D59ED7"/>
              </a:gs>
            </a:gsLst>
            <a:path path="circle">
              <a:fillToRect l="100000" t="100000"/>
            </a:path>
            <a:tileRect r="-100000" b="-100000"/>
          </a:gradFill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>
            <a:outerShdw blurRad="63500" dist="127000" dir="2700000" algn="tl" rotWithShape="0">
              <a:srgbClr val="000000">
                <a:alpha val="50000"/>
              </a:srgb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 w="3175">
                  <a:noFill/>
                </a:ln>
                <a:gradFill>
                  <a:gsLst>
                    <a:gs pos="77528">
                      <a:srgbClr val="000000"/>
                    </a:gs>
                    <a:gs pos="53933">
                      <a:srgbClr val="000000"/>
                    </a:gs>
                  </a:gsLst>
                  <a:path path="circle">
                    <a:fillToRect l="100000" b="100000"/>
                  </a:path>
                </a:gradFill>
                <a:effectLst/>
                <a:uLnTx/>
                <a:uFillTx/>
                <a:latin typeface="Segoe Sans Display"/>
                <a:ea typeface="+mn-ea"/>
                <a:cs typeface="Segoe UI Semibold" panose="020B0502040204020203" pitchFamily="34" charset="0"/>
                <a:sym typeface="Arial"/>
              </a:rPr>
              <a:t>Preview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7B3B3B9C-20C4-AD33-EBC8-A34C02C381E6}"/>
              </a:ext>
            </a:extLst>
          </p:cNvPr>
          <p:cNvSpPr/>
          <p:nvPr/>
        </p:nvSpPr>
        <p:spPr>
          <a:xfrm>
            <a:off x="10299760" y="2179574"/>
            <a:ext cx="1069447" cy="38710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69000">
                <a:srgbClr val="8DC8E8"/>
              </a:gs>
              <a:gs pos="10000">
                <a:srgbClr val="D59ED7"/>
              </a:gs>
            </a:gsLst>
            <a:path path="circle">
              <a:fillToRect l="100000" t="100000"/>
            </a:path>
            <a:tileRect r="-100000" b="-100000"/>
          </a:gradFill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>
            <a:outerShdw blurRad="63500" dist="127000" dir="2700000" algn="tl" rotWithShape="0">
              <a:srgbClr val="000000">
                <a:alpha val="50000"/>
              </a:srgb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 w="3175">
                  <a:noFill/>
                </a:ln>
                <a:gradFill>
                  <a:gsLst>
                    <a:gs pos="77528">
                      <a:srgbClr val="000000"/>
                    </a:gs>
                    <a:gs pos="53933">
                      <a:srgbClr val="000000"/>
                    </a:gs>
                  </a:gsLst>
                  <a:path path="circle">
                    <a:fillToRect l="100000" b="100000"/>
                  </a:path>
                </a:gradFill>
                <a:effectLst/>
                <a:uLnTx/>
                <a:uFillTx/>
                <a:latin typeface="Segoe Sans Display"/>
                <a:ea typeface="+mn-ea"/>
                <a:cs typeface="Segoe UI Semibold" panose="020B0502040204020203" pitchFamily="34" charset="0"/>
                <a:sym typeface="Arial"/>
              </a:rPr>
              <a:t>Preview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4397C5E-4EA5-4E80-CE88-CB2FC8138AA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492" r="-2"/>
          <a:stretch>
            <a:fillRect/>
          </a:stretch>
        </p:blipFill>
        <p:spPr>
          <a:xfrm>
            <a:off x="714616" y="2912829"/>
            <a:ext cx="6229950" cy="5543028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70D1E564-B24D-D702-B9C1-47BB19649E0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704622" y="2856361"/>
            <a:ext cx="3664585" cy="4852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660839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9167E-6 -4.07407E-6 L -4.79167E-6 0.03542 " pathEditMode="relative" rAng="0" ptsTypes="AA">
                                      <p:cBhvr>
                                        <p:cTn id="9" dur="700" spd="-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875E-6 -4.81481E-6 L -1.875E-6 0.03542 " pathEditMode="relative" rAng="0" ptsTypes="AA">
                                      <p:cBhvr>
                                        <p:cTn id="14" dur="700" spd="-100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6" grpId="1" animBg="1"/>
      <p:bldP spid="7" grpId="0" animBg="1"/>
      <p:bldP spid="7" grpId="1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7C90ED-F73F-9D5A-E575-F841568DAA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36441812-C414-CA28-9504-E213160EB0D7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1173163" y="-461963"/>
            <a:ext cx="11018837" cy="246063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50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600" b="0" i="0" u="none" strike="noStrike" kern="1200" cap="none" spc="-50" normalizeH="0" baseline="0" noProof="0">
                <a:ln w="3175"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Segoe UI" pitchFamily="34" charset="0"/>
              </a:rPr>
              <a:t>App modernization announcement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E53A1EC-2037-BC44-7861-27A4A525DC43}"/>
              </a:ext>
            </a:extLst>
          </p:cNvPr>
          <p:cNvSpPr txBox="1"/>
          <p:nvPr/>
        </p:nvSpPr>
        <p:spPr>
          <a:xfrm>
            <a:off x="5614118" y="351679"/>
            <a:ext cx="2136926" cy="500129"/>
          </a:xfrm>
          <a:prstGeom prst="roundRect">
            <a:avLst>
              <a:gd name="adj" fmla="val 28094"/>
            </a:avLst>
          </a:prstGeom>
          <a:gradFill flip="none" rotWithShape="1">
            <a:gsLst>
              <a:gs pos="0">
                <a:srgbClr val="AC35AF"/>
              </a:gs>
              <a:gs pos="80000">
                <a:srgbClr val="0A6BBA"/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 wrap="none" lIns="183697" tIns="36738" rIns="183697" bIns="73478" rtlCol="0" anchor="ctr" anchorCtr="0">
            <a:spAutoFit/>
          </a:bodyPr>
          <a:lstStyle/>
          <a:p>
            <a:pPr marL="0" marR="0" lvl="0" indent="0" algn="ctr" defTabSz="91434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487009" algn="l"/>
              </a:tabLst>
              <a:defRPr/>
            </a:pPr>
            <a:r>
              <a:rPr kumimoji="0" lang="en-US" sz="2000" b="1" i="0" u="none" strike="noStrike" kern="1200" cap="none" spc="0" normalizeH="0" baseline="0" noProof="0">
                <a:ln w="3175">
                  <a:noFill/>
                </a:ln>
                <a:gradFill>
                  <a:gsLst>
                    <a:gs pos="53147">
                      <a:srgbClr val="FFFFFF"/>
                    </a:gs>
                    <a:gs pos="28000">
                      <a:srgbClr val="FFFFFF"/>
                    </a:gs>
                  </a:gsLst>
                  <a:path path="circle">
                    <a:fillToRect l="100000" b="100000"/>
                  </a:path>
                </a:gradFill>
                <a:effectLst/>
                <a:uLnTx/>
                <a:uFillTx/>
                <a:latin typeface="Segoe UI Variable Display Semibold" pitchFamily="2" charset="0"/>
                <a:ea typeface="+mn-ea"/>
                <a:cs typeface="Segoe UI" pitchFamily="34" charset="0"/>
                <a:sym typeface="Arial"/>
              </a:rPr>
              <a:t>Public preview</a:t>
            </a:r>
          </a:p>
        </p:txBody>
      </p:sp>
      <p:pic>
        <p:nvPicPr>
          <p:cNvPr id="10" name="Graphic 9" descr="GitHub Copilot logo">
            <a:extLst>
              <a:ext uri="{FF2B5EF4-FFF2-40B4-BE49-F238E27FC236}">
                <a16:creationId xmlns:a16="http://schemas.microsoft.com/office/drawing/2014/main" id="{C6475679-ADFE-DF5B-C146-5640F9275F8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r="85763"/>
          <a:stretch>
            <a:fillRect/>
          </a:stretch>
        </p:blipFill>
        <p:spPr>
          <a:xfrm>
            <a:off x="282525" y="299327"/>
            <a:ext cx="970391" cy="86198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343C34D5-1908-CE47-3D57-1C2E9D801CE3}"/>
              </a:ext>
            </a:extLst>
          </p:cNvPr>
          <p:cNvSpPr/>
          <p:nvPr/>
        </p:nvSpPr>
        <p:spPr bwMode="auto">
          <a:xfrm>
            <a:off x="1414855" y="299327"/>
            <a:ext cx="4956628" cy="969496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3238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39451">
                      <a:srgbClr val="020506"/>
                    </a:gs>
                    <a:gs pos="37000">
                      <a:srgbClr val="000000"/>
                    </a:gs>
                  </a:gsLst>
                  <a:path path="circle">
                    <a:fillToRect l="100000" t="100000"/>
                  </a:path>
                </a:gradFill>
                <a:effectLst/>
                <a:uLnTx/>
                <a:uFillTx/>
                <a:latin typeface="Segoe UI Variable Display Semib" pitchFamily="2" charset="0"/>
                <a:ea typeface="+mn-ea"/>
                <a:cs typeface="Segoe UI" pitchFamily="34" charset="0"/>
                <a:sym typeface="Arial"/>
              </a:rPr>
              <a:t>App modernization</a:t>
            </a:r>
          </a:p>
          <a:p>
            <a:pPr marL="0" marR="0" lvl="0" indent="0" algn="l" defTabSz="932380" rtl="0" eaLnBrk="1" fontAlgn="base" latinLnBrk="0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80000">
                      <a:srgbClr val="2A446F"/>
                    </a:gs>
                    <a:gs pos="0">
                      <a:srgbClr val="463668"/>
                    </a:gs>
                  </a:gsLst>
                  <a:path path="circle">
                    <a:fillToRect l="100000" t="100000"/>
                  </a:path>
                </a:gradFill>
                <a:effectLst/>
                <a:uLnTx/>
                <a:uFillTx/>
                <a:latin typeface="Segoe UI Variable Display Semib" pitchFamily="2" charset="0"/>
                <a:ea typeface="+mn-ea"/>
                <a:cs typeface="Segoe UI" pitchFamily="34" charset="0"/>
                <a:sym typeface="Arial"/>
              </a:rPr>
              <a:t>Transform Java and .NET apps at scale</a:t>
            </a:r>
          </a:p>
        </p:txBody>
      </p:sp>
      <p:sp>
        <p:nvSpPr>
          <p:cNvPr id="8" name="Title 14">
            <a:extLst>
              <a:ext uri="{FF2B5EF4-FFF2-40B4-BE49-F238E27FC236}">
                <a16:creationId xmlns:a16="http://schemas.microsoft.com/office/drawing/2014/main" id="{3204CDB5-D3F9-31BC-BE92-2B0EB958DF37}"/>
              </a:ext>
            </a:extLst>
          </p:cNvPr>
          <p:cNvSpPr txBox="1">
            <a:spLocks/>
          </p:cNvSpPr>
          <p:nvPr/>
        </p:nvSpPr>
        <p:spPr>
          <a:xfrm>
            <a:off x="22146" y="1987383"/>
            <a:ext cx="2785417" cy="3293209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ctr" defTabSz="914400">
              <a:lnSpc>
                <a:spcPct val="100000"/>
              </a:lnSpc>
              <a:spcBef>
                <a:spcPts val="2100"/>
              </a:spcBef>
              <a:buNone/>
              <a:defRPr sz="1800" b="0" kern="0" cap="none" spc="0" baseline="0">
                <a:ln>
                  <a:noFill/>
                </a:ln>
                <a:gradFill>
                  <a:gsLst>
                    <a:gs pos="59195">
                      <a:schemeClr val="tx1"/>
                    </a:gs>
                    <a:gs pos="40000">
                      <a:schemeClr val="tx1"/>
                    </a:gs>
                  </a:gsLst>
                  <a:lin ang="2700000" scaled="1"/>
                </a:gradFill>
                <a:effectLst/>
                <a:latin typeface="Segoe UI Variable Display Semibold" pitchFamily="2" charset="0"/>
              </a:defRPr>
            </a:lvl1pPr>
          </a:lstStyle>
          <a:p>
            <a:pPr marL="0" marR="0" lvl="0" indent="0" algn="ctr" defTabSz="914346" rtl="0" eaLnBrk="1" fontAlgn="auto" latinLnBrk="0" hangingPunct="1">
              <a:lnSpc>
                <a:spcPct val="100000"/>
              </a:lnSpc>
              <a:spcBef>
                <a:spcPts val="2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gradFill>
                  <a:gsLst>
                    <a:gs pos="89510">
                      <a:srgbClr val="000000"/>
                    </a:gs>
                    <a:gs pos="68966">
                      <a:srgbClr val="000000"/>
                    </a:gs>
                  </a:gsLst>
                  <a:lin ang="2700000" scaled="1"/>
                </a:gradFill>
                <a:effectLst/>
                <a:uLnTx/>
                <a:uFillTx/>
                <a:latin typeface="Segoe UI Variable Display Semibold" pitchFamily="2" charset="0"/>
                <a:ea typeface="+mn-ea"/>
                <a:cs typeface="Arial"/>
                <a:sym typeface="Arial"/>
              </a:rPr>
              <a:t>Autonomous planning </a:t>
            </a:r>
            <a:br>
              <a:rPr kumimoji="0" lang="en-US" sz="1800" b="0" i="0" u="none" strike="noStrike" kern="0" cap="none" spc="0" normalizeH="0" baseline="0" noProof="0">
                <a:ln>
                  <a:noFill/>
                </a:ln>
                <a:gradFill>
                  <a:gsLst>
                    <a:gs pos="89510">
                      <a:srgbClr val="000000"/>
                    </a:gs>
                    <a:gs pos="68966">
                      <a:srgbClr val="000000"/>
                    </a:gs>
                  </a:gsLst>
                  <a:lin ang="2700000" scaled="1"/>
                </a:gradFill>
                <a:effectLst/>
                <a:uLnTx/>
                <a:uFillTx/>
                <a:latin typeface="Segoe UI Variable Display Semibold" pitchFamily="2" charset="0"/>
                <a:ea typeface="+mn-ea"/>
                <a:cs typeface="Arial"/>
                <a:sym typeface="Arial"/>
              </a:rPr>
            </a:b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gradFill>
                  <a:gsLst>
                    <a:gs pos="89510">
                      <a:srgbClr val="000000"/>
                    </a:gs>
                    <a:gs pos="68966">
                      <a:srgbClr val="000000"/>
                    </a:gs>
                  </a:gsLst>
                  <a:lin ang="2700000" scaled="1"/>
                </a:gradFill>
                <a:effectLst/>
                <a:uLnTx/>
                <a:uFillTx/>
                <a:latin typeface="Segoe UI Variable Display Semibold" pitchFamily="2" charset="0"/>
                <a:ea typeface="+mn-ea"/>
                <a:cs typeface="Arial"/>
                <a:sym typeface="Arial"/>
              </a:rPr>
              <a:t>and execution</a:t>
            </a:r>
          </a:p>
          <a:p>
            <a:pPr marL="0" marR="0" lvl="0" indent="0" algn="ctr" defTabSz="914346" rtl="0" eaLnBrk="1" fontAlgn="auto" latinLnBrk="0" hangingPunct="1">
              <a:lnSpc>
                <a:spcPct val="100000"/>
              </a:lnSpc>
              <a:spcBef>
                <a:spcPts val="2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gradFill>
                <a:gsLst>
                  <a:gs pos="89510">
                    <a:srgbClr val="000000"/>
                  </a:gs>
                  <a:gs pos="68966">
                    <a:srgbClr val="000000"/>
                  </a:gs>
                </a:gsLst>
                <a:lin ang="2700000" scaled="1"/>
              </a:gradFill>
              <a:effectLst/>
              <a:uLnTx/>
              <a:uFillTx/>
              <a:latin typeface="Segoe UI Variable Display Semibold" pitchFamily="2" charset="0"/>
              <a:ea typeface="+mn-ea"/>
              <a:cs typeface="Arial"/>
              <a:sym typeface="Arial"/>
            </a:endParaRPr>
          </a:p>
          <a:p>
            <a:pPr marL="0" marR="0" lvl="0" indent="0" algn="ctr" defTabSz="914346" rtl="0" eaLnBrk="1" fontAlgn="auto" latinLnBrk="0" hangingPunct="1">
              <a:lnSpc>
                <a:spcPct val="100000"/>
              </a:lnSpc>
              <a:spcBef>
                <a:spcPts val="2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gradFill>
                  <a:gsLst>
                    <a:gs pos="89510">
                      <a:srgbClr val="000000"/>
                    </a:gs>
                    <a:gs pos="68966">
                      <a:srgbClr val="000000"/>
                    </a:gs>
                  </a:gsLst>
                  <a:lin ang="2700000" scaled="1"/>
                </a:gradFill>
                <a:effectLst/>
                <a:uLnTx/>
                <a:uFillTx/>
                <a:latin typeface="Segoe UI Variable Display Semibold" pitchFamily="2" charset="0"/>
                <a:ea typeface="+mn-ea"/>
                <a:cs typeface="Arial"/>
                <a:sym typeface="Arial"/>
              </a:rPr>
              <a:t>Cloud assessment and remediation</a:t>
            </a:r>
          </a:p>
          <a:p>
            <a:pPr marL="0" marR="0" lvl="0" indent="0" algn="ctr" defTabSz="914346" rtl="0" eaLnBrk="1" fontAlgn="auto" latinLnBrk="0" hangingPunct="1">
              <a:lnSpc>
                <a:spcPct val="100000"/>
              </a:lnSpc>
              <a:spcBef>
                <a:spcPts val="2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gradFill>
                <a:gsLst>
                  <a:gs pos="89510">
                    <a:srgbClr val="000000"/>
                  </a:gs>
                  <a:gs pos="68966">
                    <a:srgbClr val="000000"/>
                  </a:gs>
                </a:gsLst>
                <a:lin ang="2700000" scaled="1"/>
              </a:gradFill>
              <a:effectLst/>
              <a:uLnTx/>
              <a:uFillTx/>
              <a:latin typeface="Segoe UI Variable Display Semibold" pitchFamily="2" charset="0"/>
              <a:ea typeface="+mn-ea"/>
              <a:cs typeface="Arial"/>
              <a:sym typeface="Arial"/>
            </a:endParaRPr>
          </a:p>
          <a:p>
            <a:pPr marL="0" marR="0" lvl="0" indent="0" algn="ctr" defTabSz="914346" rtl="0" eaLnBrk="1" fontAlgn="auto" latinLnBrk="0" hangingPunct="1">
              <a:lnSpc>
                <a:spcPct val="100000"/>
              </a:lnSpc>
              <a:spcBef>
                <a:spcPts val="2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gradFill>
                  <a:gsLst>
                    <a:gs pos="89510">
                      <a:srgbClr val="000000"/>
                    </a:gs>
                    <a:gs pos="68966">
                      <a:srgbClr val="000000"/>
                    </a:gs>
                  </a:gsLst>
                  <a:lin ang="2700000" scaled="1"/>
                </a:gradFill>
                <a:effectLst/>
                <a:uLnTx/>
                <a:uFillTx/>
                <a:latin typeface="Segoe UI Variable Display Semibold" pitchFamily="2" charset="0"/>
                <a:ea typeface="+mn-ea"/>
                <a:cs typeface="Arial"/>
                <a:sym typeface="Arial"/>
              </a:rPr>
              <a:t>Contextual learning and optimization</a:t>
            </a:r>
          </a:p>
        </p:txBody>
      </p:sp>
      <p:cxnSp>
        <p:nvCxnSpPr>
          <p:cNvPr id="3" name="!!Straight Connector 49">
            <a:extLst>
              <a:ext uri="{FF2B5EF4-FFF2-40B4-BE49-F238E27FC236}">
                <a16:creationId xmlns:a16="http://schemas.microsoft.com/office/drawing/2014/main" id="{3470BEC4-66FD-B077-58B9-27D9B8AB150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H="1">
            <a:off x="962694" y="3013034"/>
            <a:ext cx="756221" cy="0"/>
          </a:xfrm>
          <a:prstGeom prst="line">
            <a:avLst/>
          </a:prstGeom>
          <a:ln w="15875" cap="rnd">
            <a:solidFill>
              <a:srgbClr val="000000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!!Straight Connector 49">
            <a:extLst>
              <a:ext uri="{FF2B5EF4-FFF2-40B4-BE49-F238E27FC236}">
                <a16:creationId xmlns:a16="http://schemas.microsoft.com/office/drawing/2014/main" id="{023CD6E0-1B6E-488E-7A4D-9C63826160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H="1">
            <a:off x="913074" y="4441283"/>
            <a:ext cx="855460" cy="1107"/>
          </a:xfrm>
          <a:prstGeom prst="line">
            <a:avLst/>
          </a:prstGeom>
          <a:ln w="15875" cap="rnd">
            <a:solidFill>
              <a:srgbClr val="000000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01a_App_Modernization_V14" descr="Copilot is now capable of upgrading frameworks like Java 8 to Java 21 &#10;or .NET 6 to .NET 9 and migrate your on-prem apps to the cloud.&#10;&#10;It  creates a plan for your code&#10;and dependencies, suggests fixes along the way, learns from the changes&#10;you make, and makes the entire&#10;process seamless.">
            <a:hlinkClick r:id="" action="ppaction://media"/>
            <a:extLst>
              <a:ext uri="{FF2B5EF4-FFF2-40B4-BE49-F238E27FC236}">
                <a16:creationId xmlns:a16="http://schemas.microsoft.com/office/drawing/2014/main" id="{9EE871D8-C60E-A635-F74A-130393500CA7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7">
            <a:lum/>
          </a:blip>
          <a:srcRect l="11464"/>
          <a:stretch>
            <a:fillRect/>
          </a:stretch>
        </p:blipFill>
        <p:spPr>
          <a:xfrm>
            <a:off x="2931127" y="1321175"/>
            <a:ext cx="9097389" cy="5779904"/>
          </a:xfrm>
          <a:prstGeom prst="roundRect">
            <a:avLst>
              <a:gd name="adj" fmla="val 3220"/>
            </a:avLst>
          </a:prstGeom>
          <a:effectLst/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541BEADF-01FF-F4DC-B04C-13726AB38E81}"/>
              </a:ext>
            </a:extLst>
          </p:cNvPr>
          <p:cNvSpPr txBox="1"/>
          <p:nvPr/>
        </p:nvSpPr>
        <p:spPr>
          <a:xfrm>
            <a:off x="-39325" y="6327840"/>
            <a:ext cx="2908357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100000">
                      <a:srgbClr val="318581"/>
                    </a:gs>
                    <a:gs pos="0">
                      <a:srgbClr val="F65567"/>
                    </a:gs>
                    <a:gs pos="32000">
                      <a:srgbClr val="AC35AF"/>
                    </a:gs>
                    <a:gs pos="68000">
                      <a:srgbClr val="0A6BBA"/>
                    </a:gs>
                  </a:gsLst>
                  <a:path path="circle">
                    <a:fillToRect l="100000" t="100000"/>
                  </a:path>
                </a:gra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  <a:sym typeface="Arial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ka.ms/</a:t>
            </a:r>
            <a:r>
              <a:rPr kumimoji="0" lang="fr-FR" sz="12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100000">
                      <a:srgbClr val="318581"/>
                    </a:gs>
                    <a:gs pos="0">
                      <a:srgbClr val="F65567"/>
                    </a:gs>
                    <a:gs pos="32000">
                      <a:srgbClr val="AC35AF"/>
                    </a:gs>
                    <a:gs pos="68000">
                      <a:srgbClr val="0A6BBA"/>
                    </a:gs>
                  </a:gsLst>
                  <a:path path="circle">
                    <a:fillToRect l="100000" t="100000"/>
                  </a:path>
                </a:gra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  <a:sym typeface="Arial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ghcp-appmod</a:t>
            </a: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100000">
                      <a:srgbClr val="318581"/>
                    </a:gs>
                    <a:gs pos="0">
                      <a:srgbClr val="F65567"/>
                    </a:gs>
                    <a:gs pos="32000">
                      <a:srgbClr val="AC35AF"/>
                    </a:gs>
                    <a:gs pos="68000">
                      <a:srgbClr val="0A6BBA"/>
                    </a:gs>
                  </a:gsLst>
                  <a:path path="circle">
                    <a:fillToRect l="100000" t="100000"/>
                  </a:path>
                </a:gra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  <a:sym typeface="Arial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/</a:t>
            </a:r>
            <a:r>
              <a:rPr kumimoji="0" lang="fr-FR" sz="12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100000">
                      <a:srgbClr val="318581"/>
                    </a:gs>
                    <a:gs pos="0">
                      <a:srgbClr val="F65567"/>
                    </a:gs>
                    <a:gs pos="32000">
                      <a:srgbClr val="AC35AF"/>
                    </a:gs>
                    <a:gs pos="68000">
                      <a:srgbClr val="0A6BBA"/>
                    </a:gs>
                  </a:gsLst>
                  <a:path path="circle">
                    <a:fillToRect l="100000" t="100000"/>
                  </a:path>
                </a:gra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  <a:sym typeface="Arial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otnet</a:t>
            </a: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100000">
                      <a:srgbClr val="318581"/>
                    </a:gs>
                    <a:gs pos="0">
                      <a:srgbClr val="F65567"/>
                    </a:gs>
                    <a:gs pos="32000">
                      <a:srgbClr val="AC35AF"/>
                    </a:gs>
                    <a:gs pos="68000">
                      <a:srgbClr val="0A6BBA"/>
                    </a:gs>
                  </a:gsLst>
                  <a:path path="circle">
                    <a:fillToRect l="100000" t="100000"/>
                  </a:path>
                </a:gra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  <a:sym typeface="Arial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-upgrade</a:t>
            </a:r>
            <a:endParaRPr kumimoji="0" lang="fr-FR" sz="1200" b="0" i="0" u="none" strike="noStrike" kern="1200" cap="none" spc="0" normalizeH="0" baseline="0" noProof="0">
              <a:ln>
                <a:noFill/>
              </a:ln>
              <a:gradFill>
                <a:gsLst>
                  <a:gs pos="100000">
                    <a:srgbClr val="318581"/>
                  </a:gs>
                  <a:gs pos="0">
                    <a:srgbClr val="F65567"/>
                  </a:gs>
                  <a:gs pos="32000">
                    <a:srgbClr val="AC35AF"/>
                  </a:gs>
                  <a:gs pos="68000">
                    <a:srgbClr val="0A6BBA"/>
                  </a:gs>
                </a:gsLst>
                <a:path path="circle">
                  <a:fillToRect l="100000" t="100000"/>
                </a:path>
              </a:gradFill>
              <a:effectLst/>
              <a:uLnTx/>
              <a:uFillTx/>
              <a:latin typeface="Segoe UI Semibold"/>
              <a:ea typeface="+mn-ea"/>
              <a:cs typeface="Segoe UI" panose="020B0502040204020203" pitchFamily="34" charset="0"/>
              <a:sym typeface="Arial"/>
              <a:hlinkClick r:id="" action="ppaction://noaction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100000">
                      <a:srgbClr val="318581"/>
                    </a:gs>
                    <a:gs pos="0">
                      <a:srgbClr val="F65567"/>
                    </a:gs>
                    <a:gs pos="32000">
                      <a:srgbClr val="AC35AF"/>
                    </a:gs>
                    <a:gs pos="68000">
                      <a:srgbClr val="0A6BBA"/>
                    </a:gs>
                  </a:gsLst>
                  <a:path path="circle">
                    <a:fillToRect l="100000" t="100000"/>
                  </a:path>
                </a:gra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  <a:sym typeface="Arial"/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ka.ms/</a:t>
            </a:r>
            <a:r>
              <a:rPr kumimoji="0" lang="fr-FR" sz="12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100000">
                      <a:srgbClr val="318581"/>
                    </a:gs>
                    <a:gs pos="0">
                      <a:srgbClr val="F65567"/>
                    </a:gs>
                    <a:gs pos="32000">
                      <a:srgbClr val="AC35AF"/>
                    </a:gs>
                    <a:gs pos="68000">
                      <a:srgbClr val="0A6BBA"/>
                    </a:gs>
                  </a:gsLst>
                  <a:path path="circle">
                    <a:fillToRect l="100000" t="100000"/>
                  </a:path>
                </a:gra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  <a:sym typeface="Arial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ghcp-appmod</a:t>
            </a: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100000">
                      <a:srgbClr val="318581"/>
                    </a:gs>
                    <a:gs pos="0">
                      <a:srgbClr val="F65567"/>
                    </a:gs>
                    <a:gs pos="32000">
                      <a:srgbClr val="AC35AF"/>
                    </a:gs>
                    <a:gs pos="68000">
                      <a:srgbClr val="0A6BBA"/>
                    </a:gs>
                  </a:gsLst>
                  <a:path path="circle">
                    <a:fillToRect l="100000" t="100000"/>
                  </a:path>
                </a:gra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  <a:sym typeface="Arial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/java</a:t>
            </a:r>
            <a:endParaRPr kumimoji="0" lang="fr-FR" sz="1200" b="0" i="0" u="none" strike="noStrike" kern="1200" cap="none" spc="0" normalizeH="0" baseline="0" noProof="0">
              <a:ln>
                <a:noFill/>
              </a:ln>
              <a:gradFill>
                <a:gsLst>
                  <a:gs pos="100000">
                    <a:srgbClr val="318581"/>
                  </a:gs>
                  <a:gs pos="0">
                    <a:srgbClr val="F65567"/>
                  </a:gs>
                  <a:gs pos="32000">
                    <a:srgbClr val="AC35AF"/>
                  </a:gs>
                  <a:gs pos="68000">
                    <a:srgbClr val="0A6BBA"/>
                  </a:gs>
                </a:gsLst>
                <a:path path="circle">
                  <a:fillToRect l="100000" t="100000"/>
                </a:path>
              </a:gradFill>
              <a:effectLst/>
              <a:uLnTx/>
              <a:uFillTx/>
              <a:latin typeface="Segoe UI Semibold"/>
              <a:ea typeface="+mn-ea"/>
              <a:cs typeface="Segoe UI" panose="020B0502040204020203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1871585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 0.03542 " pathEditMode="relative" rAng="0" ptsTypes="AA">
                                      <p:cBhvr>
                                        <p:cTn id="9" dur="700" spd="-100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0 3.33333E-6 L 0 0.03541 " pathEditMode="relative" rAng="0" ptsTypes="AA">
                                      <p:cBhvr>
                                        <p:cTn id="14" dur="70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6" presetClass="entr" presetSubtype="42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1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3.125E-6 -2.22222E-6 L 3.125E-6 0.03542 " pathEditMode="relative" rAng="0" ptsTypes="AA">
                                      <p:cBhvr>
                                        <p:cTn id="19" dur="700" spd="-100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6" presetClass="entr" presetSubtype="42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2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-3.125E-6 -2.22222E-6 L -3.125E-6 0.03542 " pathEditMode="relative" rAng="0" ptsTypes="AA">
                                      <p:cBhvr>
                                        <p:cTn id="24" dur="700" spd="-100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42" presetClass="path" presetSubtype="0" decel="100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0 -1.85185E-6 L 0 0.03542 " pathEditMode="relative" rAng="0" ptsTypes="AA">
                                      <p:cBhvr>
                                        <p:cTn id="29" dur="70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6" presetClass="entr" presetSubtype="42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3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42" presetClass="path" presetSubtype="0" decel="10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3.125E-6 -2.22222E-6 L 3.125E-6 0.03542 " pathEditMode="relative" rAng="0" ptsTypes="AA">
                                      <p:cBhvr>
                                        <p:cTn id="34" dur="700" spd="-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16" presetClass="entr" presetSubtype="42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3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42" presetClass="path" presetSubtype="0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3.125E-6 -2.22222E-6 L 3.125E-6 0.03542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16" presetClass="entr" presetSubtype="42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42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42" presetClass="path" presetSubtype="0" decel="10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3.125E-6 -2.22222E-6 L 3.125E-6 0.03542 " pathEditMode="relative" rAng="0" ptsTypes="AA">
                                      <p:cBhvr>
                                        <p:cTn id="44" dur="700" spd="-100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900"/>
                            </p:stCondLst>
                            <p:childTnLst>
                              <p:par>
                                <p:cTn id="46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47" dur="17941" fill="hold"/>
                                        <p:tgtEl>
                                          <p:spTgt spid="1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48" display="0">
                  <p:stCondLst>
                    <p:cond delay="indefinite"/>
                  </p:stCondLst>
                </p:cTn>
                <p:tgtEl>
                  <p:spTgt spid="12"/>
                </p:tgtEl>
              </p:cMediaNode>
            </p:video>
          </p:childTnLst>
        </p:cTn>
      </p:par>
    </p:tnLst>
    <p:bldLst>
      <p:bldP spid="2" grpId="0" animBg="1"/>
      <p:bldP spid="2" grpId="1" animBg="1"/>
      <p:bldP spid="13" grpId="0"/>
      <p:bldP spid="13" grpId="1"/>
      <p:bldP spid="8" grpId="0"/>
      <p:bldP spid="8" grpId="1"/>
      <p:bldP spid="27" grpId="0"/>
      <p:bldP spid="27" grpId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CB46EB-9864-DA4B-E9E1-CCA91D4F32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>
            <a:extLst>
              <a:ext uri="{FF2B5EF4-FFF2-40B4-BE49-F238E27FC236}">
                <a16:creationId xmlns:a16="http://schemas.microsoft.com/office/drawing/2014/main" id="{90FD437B-DBB4-D6C5-7E31-3E5D4586FDC9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01237" y="1590117"/>
            <a:ext cx="5995988" cy="554038"/>
          </a:xfrm>
        </p:spPr>
        <p:txBody>
          <a:bodyPr/>
          <a:lstStyle/>
          <a:p>
            <a:r>
              <a:rPr lang="en-US"/>
              <a:t>Coding Agent</a:t>
            </a:r>
          </a:p>
        </p:txBody>
      </p:sp>
      <mc:AlternateContent xmlns:mc="http://schemas.openxmlformats.org/markup-compatibility/2006">
        <mc:Choice xmlns:am3d="http://schemas.microsoft.com/office/drawing/2017/model3d" Requires="am3d">
          <p:graphicFrame>
            <p:nvGraphicFramePr>
              <p:cNvPr id="16" name="3D Model 15" descr="Theme 5 - 3D announcement bug: Preview">
                <a:extLst>
                  <a:ext uri="{FF2B5EF4-FFF2-40B4-BE49-F238E27FC236}">
                    <a16:creationId xmlns:a16="http://schemas.microsoft.com/office/drawing/2014/main" id="{5629EC81-2EE8-30B0-2576-D3020FC1044D}"/>
                  </a:ext>
                </a:extLst>
              </p:cNvPr>
              <p:cNvGraphicFramePr>
                <a:graphicFrameLocks noChangeAspect="1"/>
              </p:cNvGraphicFramePr>
              <p:nvPr/>
            </p:nvGraphicFramePr>
            <p:xfrm>
              <a:off x="584200" y="211021"/>
              <a:ext cx="1376135" cy="502920"/>
            </p:xfrm>
            <a:graphic>
              <a:graphicData uri="http://schemas.microsoft.com/office/drawing/2017/model3d">
                <am3d:model3d r:embed="rId3">
                  <am3d:spPr>
                    <a:xfrm>
                      <a:off x="0" y="0"/>
                      <a:ext cx="1376135" cy="502920"/>
                    </a:xfrm>
                    <a:prstGeom prst="rect">
                      <a:avLst/>
                    </a:prstGeom>
                  </am3d:spPr>
                  <am3d:camera>
                    <am3d:pos x="0" y="0" z="50123624"/>
                    <am3d:up dx="0" dy="36000000" dz="0"/>
                    <am3d:lookAt x="0" y="0" z="0"/>
                    <am3d:perspective fov="2700000"/>
                  </am3d:camera>
                  <am3d:trans>
                    <am3d:meterPerModelUnit n="999810" d="1000000"/>
                    <am3d:preTrans dx="6584955" dy="-74908" dz="809846"/>
                    <am3d:scale>
                      <am3d:sx n="1000000" d="1000000"/>
                      <am3d:sy n="1000000" d="1000000"/>
                      <am3d:sz n="1000000" d="1000000"/>
                    </am3d:scale>
                    <am3d:rot/>
                    <am3d:postTrans dx="0" dy="0" dz="0"/>
                  </am3d:trans>
                  <am3d:raster rName="Office3DRenderer" rVer="16.0.8326">
                    <am3d:blip r:embed="rId4"/>
                  </am3d:raster>
                  <am3d:objViewport viewportSz="1561641"/>
                  <am3d:ambientLight>
                    <am3d:clr>
                      <a:scrgbClr r="50000" g="50000" b="50000"/>
                    </am3d:clr>
                    <am3d:illuminance n="500000" d="1000000"/>
                  </am3d:ambientLight>
                  <am3d:ptLight rad="0">
                    <am3d:clr>
                      <a:scrgbClr r="100000" g="75000" b="50000"/>
                    </am3d:clr>
                    <am3d:intensity n="9765625" d="1000000"/>
                    <am3d:pos x="21959998" y="70920001" z="16344003"/>
                  </am3d:ptLight>
                  <am3d:ptLight rad="0">
                    <am3d:clr>
                      <a:scrgbClr r="40000" g="60000" b="95000"/>
                    </am3d:clr>
                    <am3d:intensity n="12250000" d="1000000"/>
                    <am3d:pos x="-37964106" y="51130435" z="57631972"/>
                  </am3d:ptLight>
                  <am3d:ptLight rad="0">
                    <am3d:clr>
                      <a:scrgbClr r="86837" g="72700" b="100000"/>
                    </am3d:clr>
                    <am3d:intensity n="3125000" d="1000000"/>
                    <am3d:pos x="-37739122" y="58056624" z="-34769649"/>
                  </am3d:ptLight>
                </am3d:model3d>
              </a:graphicData>
            </a:graphic>
          </p:graphicFrame>
        </mc:Choice>
        <mc:Fallback>
          <p:pic>
            <p:nvPicPr>
              <p:cNvPr id="16" name="3D Model 15" descr="Theme 5 - 3D announcement bug: Preview">
                <a:extLst>
                  <a:ext uri="{FF2B5EF4-FFF2-40B4-BE49-F238E27FC236}">
                    <a16:creationId xmlns:a16="http://schemas.microsoft.com/office/drawing/2014/main" id="{5629EC81-2EE8-30B0-2576-D3020FC1044D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584200" y="211021"/>
                <a:ext cx="1376135" cy="502920"/>
              </a:xfrm>
              <a:prstGeom prst="rect">
                <a:avLst/>
              </a:prstGeom>
            </p:spPr>
          </p:pic>
        </mc:Fallback>
      </mc:AlternateContent>
      <p:grpSp>
        <p:nvGrpSpPr>
          <p:cNvPr id="35" name="Group 34">
            <a:extLst>
              <a:ext uri="{FF2B5EF4-FFF2-40B4-BE49-F238E27FC236}">
                <a16:creationId xmlns:a16="http://schemas.microsoft.com/office/drawing/2014/main" id="{751DD64F-1F1A-A663-2EA2-06177AD7FA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601237" y="1150494"/>
            <a:ext cx="1485531" cy="297916"/>
            <a:chOff x="2475455" y="1323144"/>
            <a:chExt cx="1485531" cy="297916"/>
          </a:xfrm>
        </p:grpSpPr>
        <p:sp>
          <p:nvSpPr>
            <p:cNvPr id="29" name="Rounded Rectangle 48">
              <a:extLst>
                <a:ext uri="{FF2B5EF4-FFF2-40B4-BE49-F238E27FC236}">
                  <a16:creationId xmlns:a16="http://schemas.microsoft.com/office/drawing/2014/main" id="{E129383B-E84B-FBA0-C006-20C94AF4E645}"/>
                </a:ext>
              </a:extLst>
            </p:cNvPr>
            <p:cNvSpPr/>
            <p:nvPr/>
          </p:nvSpPr>
          <p:spPr>
            <a:xfrm>
              <a:off x="2475455" y="1323144"/>
              <a:ext cx="1485531" cy="297916"/>
            </a:xfrm>
            <a:prstGeom prst="roundRect">
              <a:avLst>
                <a:gd name="adj" fmla="val 50000"/>
              </a:avLst>
            </a:prstGeom>
            <a:blipFill dpi="0" rotWithShape="0">
              <a:blip r:embed="rId5">
                <a:lum/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rcRect/>
              <a:stretch>
                <a:fillRect l="-26648" t="-76692" r="-26648" b="-83116"/>
              </a:stretch>
            </a:blipFill>
            <a:ln w="19050" cap="rnd">
              <a:gradFill flip="none" rotWithShape="1">
                <a:gsLst>
                  <a:gs pos="80000">
                    <a:srgbClr val="A9D5ED"/>
                  </a:gs>
                  <a:gs pos="0">
                    <a:srgbClr val="FFC6CC"/>
                  </a:gs>
                </a:gsLst>
                <a:lin ang="10800000" scaled="1"/>
                <a:tileRect/>
              </a:gradFill>
              <a:headEnd type="none" w="lg" len="sm"/>
              <a:tailEnd type="none" w="lg" len="sm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0" tIns="146266" rIns="0" bIns="14626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FF5C39">
                      <a:lumMod val="40000"/>
                      <a:lumOff val="60000"/>
                    </a:srgbClr>
                  </a:solidFill>
                  <a:effectLst/>
                  <a:uLnTx/>
                  <a:uFillTx/>
                  <a:latin typeface="Mona Sans" pitchFamily="2" charset="77"/>
                  <a:ea typeface="+mn-ea"/>
                  <a:cs typeface="+mn-cs"/>
                  <a:sym typeface="Arial"/>
                </a:rPr>
                <a:t>        GitHub Copilot</a:t>
              </a:r>
            </a:p>
          </p:txBody>
        </p:sp>
        <p:grpSp>
          <p:nvGrpSpPr>
            <p:cNvPr id="30" name="Google Shape;1693;p69">
              <a:extLst>
                <a:ext uri="{FF2B5EF4-FFF2-40B4-BE49-F238E27FC236}">
                  <a16:creationId xmlns:a16="http://schemas.microsoft.com/office/drawing/2014/main" id="{B7D838BE-62B0-B625-255D-688593457F34}"/>
                </a:ext>
              </a:extLst>
            </p:cNvPr>
            <p:cNvGrpSpPr/>
            <p:nvPr/>
          </p:nvGrpSpPr>
          <p:grpSpPr>
            <a:xfrm>
              <a:off x="2585025" y="1384403"/>
              <a:ext cx="210130" cy="175399"/>
              <a:chOff x="690700" y="246575"/>
              <a:chExt cx="6228425" cy="5199000"/>
            </a:xfrm>
            <a:solidFill>
              <a:srgbClr val="000000"/>
            </a:solidFill>
          </p:grpSpPr>
          <p:sp>
            <p:nvSpPr>
              <p:cNvPr id="31" name="Google Shape;1694;p69">
                <a:extLst>
                  <a:ext uri="{FF2B5EF4-FFF2-40B4-BE49-F238E27FC236}">
                    <a16:creationId xmlns:a16="http://schemas.microsoft.com/office/drawing/2014/main" id="{EF5F38C0-1450-3A44-6609-6AD53213D578}"/>
                  </a:ext>
                </a:extLst>
              </p:cNvPr>
              <p:cNvSpPr/>
              <p:nvPr/>
            </p:nvSpPr>
            <p:spPr>
              <a:xfrm>
                <a:off x="690700" y="246575"/>
                <a:ext cx="6228425" cy="5199000"/>
              </a:xfrm>
              <a:custGeom>
                <a:avLst/>
                <a:gdLst/>
                <a:ahLst/>
                <a:cxnLst/>
                <a:rect l="l" t="t" r="r" b="b"/>
                <a:pathLst>
                  <a:path w="249137" h="207960" extrusionOk="0">
                    <a:moveTo>
                      <a:pt x="248256" y="155809"/>
                    </a:moveTo>
                    <a:cubicBezTo>
                      <a:pt x="239350" y="171352"/>
                      <a:pt x="187470" y="207959"/>
                      <a:pt x="124585" y="207959"/>
                    </a:cubicBezTo>
                    <a:cubicBezTo>
                      <a:pt x="61666" y="207959"/>
                      <a:pt x="9787" y="171352"/>
                      <a:pt x="880" y="155809"/>
                    </a:cubicBezTo>
                    <a:cubicBezTo>
                      <a:pt x="203" y="154691"/>
                      <a:pt x="0" y="153404"/>
                      <a:pt x="0" y="152084"/>
                    </a:cubicBezTo>
                    <a:lnTo>
                      <a:pt x="0" y="124451"/>
                    </a:lnTo>
                    <a:cubicBezTo>
                      <a:pt x="0" y="123333"/>
                      <a:pt x="169" y="122182"/>
                      <a:pt x="610" y="121132"/>
                    </a:cubicBezTo>
                    <a:cubicBezTo>
                      <a:pt x="4470" y="111413"/>
                      <a:pt x="14595" y="97326"/>
                      <a:pt x="27633" y="93567"/>
                    </a:cubicBezTo>
                    <a:cubicBezTo>
                      <a:pt x="29360" y="89097"/>
                      <a:pt x="31934" y="82629"/>
                      <a:pt x="34338" y="77820"/>
                    </a:cubicBezTo>
                    <a:cubicBezTo>
                      <a:pt x="33932" y="74163"/>
                      <a:pt x="33796" y="70370"/>
                      <a:pt x="33796" y="66543"/>
                    </a:cubicBezTo>
                    <a:cubicBezTo>
                      <a:pt x="33796" y="52727"/>
                      <a:pt x="36708" y="40637"/>
                      <a:pt x="45513" y="31596"/>
                    </a:cubicBezTo>
                    <a:cubicBezTo>
                      <a:pt x="49644" y="27397"/>
                      <a:pt x="54758" y="24146"/>
                      <a:pt x="60820" y="21741"/>
                    </a:cubicBezTo>
                    <a:cubicBezTo>
                      <a:pt x="75347" y="9923"/>
                      <a:pt x="96004" y="1"/>
                      <a:pt x="124348" y="1"/>
                    </a:cubicBezTo>
                    <a:cubicBezTo>
                      <a:pt x="152692" y="1"/>
                      <a:pt x="173789" y="9923"/>
                      <a:pt x="188317" y="21741"/>
                    </a:cubicBezTo>
                    <a:cubicBezTo>
                      <a:pt x="194379" y="24146"/>
                      <a:pt x="199492" y="27397"/>
                      <a:pt x="203624" y="31596"/>
                    </a:cubicBezTo>
                    <a:cubicBezTo>
                      <a:pt x="212428" y="40637"/>
                      <a:pt x="215374" y="52727"/>
                      <a:pt x="215374" y="66543"/>
                    </a:cubicBezTo>
                    <a:cubicBezTo>
                      <a:pt x="215374" y="70370"/>
                      <a:pt x="215205" y="74163"/>
                      <a:pt x="214833" y="77820"/>
                    </a:cubicBezTo>
                    <a:cubicBezTo>
                      <a:pt x="217203" y="82629"/>
                      <a:pt x="219777" y="89097"/>
                      <a:pt x="221504" y="93567"/>
                    </a:cubicBezTo>
                    <a:cubicBezTo>
                      <a:pt x="234575" y="97326"/>
                      <a:pt x="244667" y="111413"/>
                      <a:pt x="248527" y="121132"/>
                    </a:cubicBezTo>
                    <a:cubicBezTo>
                      <a:pt x="248967" y="122182"/>
                      <a:pt x="249137" y="123333"/>
                      <a:pt x="249137" y="124451"/>
                    </a:cubicBezTo>
                    <a:lnTo>
                      <a:pt x="249137" y="152084"/>
                    </a:lnTo>
                    <a:cubicBezTo>
                      <a:pt x="249137" y="153404"/>
                      <a:pt x="248933" y="154691"/>
                      <a:pt x="248256" y="155809"/>
                    </a:cubicBezTo>
                    <a:close/>
                    <a:moveTo>
                      <a:pt x="133017" y="63191"/>
                    </a:moveTo>
                    <a:cubicBezTo>
                      <a:pt x="132577" y="59770"/>
                      <a:pt x="132374" y="56689"/>
                      <a:pt x="132340" y="53912"/>
                    </a:cubicBezTo>
                    <a:lnTo>
                      <a:pt x="132340" y="53709"/>
                    </a:lnTo>
                    <a:cubicBezTo>
                      <a:pt x="132374" y="45717"/>
                      <a:pt x="134101" y="40536"/>
                      <a:pt x="136912" y="37353"/>
                    </a:cubicBezTo>
                    <a:cubicBezTo>
                      <a:pt x="140434" y="33289"/>
                      <a:pt x="147748" y="30173"/>
                      <a:pt x="163190" y="31867"/>
                    </a:cubicBezTo>
                    <a:cubicBezTo>
                      <a:pt x="178801" y="33526"/>
                      <a:pt x="187538" y="37420"/>
                      <a:pt x="192482" y="42466"/>
                    </a:cubicBezTo>
                    <a:cubicBezTo>
                      <a:pt x="197291" y="47376"/>
                      <a:pt x="199797" y="54725"/>
                      <a:pt x="199797" y="66543"/>
                    </a:cubicBezTo>
                    <a:cubicBezTo>
                      <a:pt x="199797" y="79107"/>
                      <a:pt x="198002" y="86523"/>
                      <a:pt x="194006" y="91061"/>
                    </a:cubicBezTo>
                    <a:cubicBezTo>
                      <a:pt x="190213" y="95328"/>
                      <a:pt x="182763" y="98849"/>
                      <a:pt x="166441" y="98849"/>
                    </a:cubicBezTo>
                    <a:cubicBezTo>
                      <a:pt x="153878" y="98849"/>
                      <a:pt x="146698" y="94752"/>
                      <a:pt x="142127" y="89097"/>
                    </a:cubicBezTo>
                    <a:cubicBezTo>
                      <a:pt x="137183" y="83035"/>
                      <a:pt x="134406" y="74163"/>
                      <a:pt x="133017" y="63191"/>
                    </a:cubicBezTo>
                    <a:close/>
                    <a:moveTo>
                      <a:pt x="116119" y="63191"/>
                    </a:moveTo>
                    <a:cubicBezTo>
                      <a:pt x="116560" y="59770"/>
                      <a:pt x="116797" y="56689"/>
                      <a:pt x="116797" y="53912"/>
                    </a:cubicBezTo>
                    <a:lnTo>
                      <a:pt x="116797" y="53709"/>
                    </a:lnTo>
                    <a:cubicBezTo>
                      <a:pt x="116763" y="45717"/>
                      <a:pt x="115036" y="40536"/>
                      <a:pt x="112259" y="37353"/>
                    </a:cubicBezTo>
                    <a:cubicBezTo>
                      <a:pt x="108703" y="33289"/>
                      <a:pt x="101388" y="30173"/>
                      <a:pt x="85980" y="31867"/>
                    </a:cubicBezTo>
                    <a:cubicBezTo>
                      <a:pt x="70335" y="33526"/>
                      <a:pt x="61598" y="37420"/>
                      <a:pt x="56654" y="42466"/>
                    </a:cubicBezTo>
                    <a:cubicBezTo>
                      <a:pt x="51879" y="47376"/>
                      <a:pt x="49340" y="54725"/>
                      <a:pt x="49340" y="66543"/>
                    </a:cubicBezTo>
                    <a:cubicBezTo>
                      <a:pt x="49340" y="79107"/>
                      <a:pt x="51168" y="86523"/>
                      <a:pt x="55130" y="91061"/>
                    </a:cubicBezTo>
                    <a:cubicBezTo>
                      <a:pt x="58923" y="95328"/>
                      <a:pt x="66373" y="98849"/>
                      <a:pt x="82696" y="98849"/>
                    </a:cubicBezTo>
                    <a:cubicBezTo>
                      <a:pt x="95259" y="98849"/>
                      <a:pt x="102438" y="94752"/>
                      <a:pt x="107010" y="89097"/>
                    </a:cubicBezTo>
                    <a:cubicBezTo>
                      <a:pt x="111954" y="83035"/>
                      <a:pt x="114731" y="74163"/>
                      <a:pt x="116119" y="63191"/>
                    </a:cubicBezTo>
                    <a:close/>
                    <a:moveTo>
                      <a:pt x="126346" y="93634"/>
                    </a:moveTo>
                    <a:cubicBezTo>
                      <a:pt x="126956" y="93634"/>
                      <a:pt x="125770" y="93634"/>
                      <a:pt x="126346" y="93634"/>
                    </a:cubicBezTo>
                    <a:cubicBezTo>
                      <a:pt x="125770" y="93634"/>
                      <a:pt x="123366" y="93634"/>
                      <a:pt x="122790" y="93634"/>
                    </a:cubicBezTo>
                    <a:cubicBezTo>
                      <a:pt x="121673" y="95497"/>
                      <a:pt x="120454" y="97258"/>
                      <a:pt x="119099" y="98917"/>
                    </a:cubicBezTo>
                    <a:cubicBezTo>
                      <a:pt x="111107" y="108738"/>
                      <a:pt x="99187" y="114393"/>
                      <a:pt x="82696" y="114393"/>
                    </a:cubicBezTo>
                    <a:cubicBezTo>
                      <a:pt x="64815" y="114393"/>
                      <a:pt x="51676" y="110668"/>
                      <a:pt x="43447" y="101355"/>
                    </a:cubicBezTo>
                    <a:cubicBezTo>
                      <a:pt x="43007" y="100814"/>
                      <a:pt x="42567" y="100272"/>
                      <a:pt x="42567" y="100272"/>
                    </a:cubicBezTo>
                    <a:lnTo>
                      <a:pt x="41551" y="101355"/>
                    </a:lnTo>
                    <a:lnTo>
                      <a:pt x="41551" y="169659"/>
                    </a:lnTo>
                    <a:cubicBezTo>
                      <a:pt x="56451" y="177752"/>
                      <a:pt x="88419" y="192280"/>
                      <a:pt x="124585" y="192280"/>
                    </a:cubicBezTo>
                    <a:cubicBezTo>
                      <a:pt x="160752" y="192280"/>
                      <a:pt x="192686" y="177752"/>
                      <a:pt x="207586" y="169659"/>
                    </a:cubicBezTo>
                    <a:lnTo>
                      <a:pt x="207586" y="101355"/>
                    </a:lnTo>
                    <a:lnTo>
                      <a:pt x="206570" y="100272"/>
                    </a:lnTo>
                    <a:cubicBezTo>
                      <a:pt x="206570" y="100272"/>
                      <a:pt x="206231" y="100712"/>
                      <a:pt x="205689" y="101355"/>
                    </a:cubicBezTo>
                    <a:cubicBezTo>
                      <a:pt x="197460" y="110668"/>
                      <a:pt x="184321" y="114393"/>
                      <a:pt x="166441" y="114393"/>
                    </a:cubicBezTo>
                    <a:cubicBezTo>
                      <a:pt x="149949" y="114393"/>
                      <a:pt x="138029" y="108738"/>
                      <a:pt x="130037" y="98917"/>
                    </a:cubicBezTo>
                    <a:cubicBezTo>
                      <a:pt x="128683" y="97258"/>
                      <a:pt x="127464" y="95497"/>
                      <a:pt x="126346" y="93634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FFFFFE"/>
                  </a:solidFill>
                  <a:effectLst/>
                  <a:uLnTx/>
                  <a:uFillTx/>
                  <a:latin typeface="Mona Sans" pitchFamily="2" charset="77"/>
                  <a:ea typeface="+mn-ea"/>
                  <a:cs typeface="Arial"/>
                  <a:sym typeface="Arial"/>
                </a:endParaRPr>
              </a:p>
            </p:txBody>
          </p:sp>
          <p:sp>
            <p:nvSpPr>
              <p:cNvPr id="32" name="Google Shape;1695;p69">
                <a:extLst>
                  <a:ext uri="{FF2B5EF4-FFF2-40B4-BE49-F238E27FC236}">
                    <a16:creationId xmlns:a16="http://schemas.microsoft.com/office/drawing/2014/main" id="{8A3E8771-27F9-AAB3-969D-538AC3A218C0}"/>
                  </a:ext>
                </a:extLst>
              </p:cNvPr>
              <p:cNvSpPr/>
              <p:nvPr/>
            </p:nvSpPr>
            <p:spPr>
              <a:xfrm>
                <a:off x="2962100" y="3350200"/>
                <a:ext cx="453800" cy="1005800"/>
              </a:xfrm>
              <a:custGeom>
                <a:avLst/>
                <a:gdLst/>
                <a:ahLst/>
                <a:cxnLst/>
                <a:rect l="l" t="t" r="r" b="b"/>
                <a:pathLst>
                  <a:path w="18152" h="40232" extrusionOk="0">
                    <a:moveTo>
                      <a:pt x="9076" y="1"/>
                    </a:moveTo>
                    <a:cubicBezTo>
                      <a:pt x="14088" y="1"/>
                      <a:pt x="18152" y="4064"/>
                      <a:pt x="18152" y="9076"/>
                    </a:cubicBezTo>
                    <a:lnTo>
                      <a:pt x="18152" y="31156"/>
                    </a:lnTo>
                    <a:cubicBezTo>
                      <a:pt x="18152" y="36167"/>
                      <a:pt x="14088" y="40231"/>
                      <a:pt x="9076" y="40231"/>
                    </a:cubicBezTo>
                    <a:cubicBezTo>
                      <a:pt x="4064" y="40231"/>
                      <a:pt x="1" y="36167"/>
                      <a:pt x="1" y="31156"/>
                    </a:cubicBezTo>
                    <a:lnTo>
                      <a:pt x="1" y="9076"/>
                    </a:lnTo>
                    <a:cubicBezTo>
                      <a:pt x="1" y="4064"/>
                      <a:pt x="4064" y="1"/>
                      <a:pt x="9076" y="1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FFFFFE"/>
                  </a:solidFill>
                  <a:effectLst/>
                  <a:uLnTx/>
                  <a:uFillTx/>
                  <a:latin typeface="Mona Sans" pitchFamily="2" charset="77"/>
                  <a:ea typeface="+mn-ea"/>
                  <a:cs typeface="Arial"/>
                  <a:sym typeface="Arial"/>
                </a:endParaRPr>
              </a:p>
            </p:txBody>
          </p:sp>
          <p:sp>
            <p:nvSpPr>
              <p:cNvPr id="33" name="Google Shape;1696;p69">
                <a:extLst>
                  <a:ext uri="{FF2B5EF4-FFF2-40B4-BE49-F238E27FC236}">
                    <a16:creationId xmlns:a16="http://schemas.microsoft.com/office/drawing/2014/main" id="{F070AEAF-4862-ADC4-9218-2EAD9BACB47A}"/>
                  </a:ext>
                </a:extLst>
              </p:cNvPr>
              <p:cNvSpPr/>
              <p:nvPr/>
            </p:nvSpPr>
            <p:spPr>
              <a:xfrm>
                <a:off x="4194750" y="3350200"/>
                <a:ext cx="453800" cy="1005800"/>
              </a:xfrm>
              <a:custGeom>
                <a:avLst/>
                <a:gdLst/>
                <a:ahLst/>
                <a:cxnLst/>
                <a:rect l="l" t="t" r="r" b="b"/>
                <a:pathLst>
                  <a:path w="18152" h="40232" extrusionOk="0">
                    <a:moveTo>
                      <a:pt x="9076" y="1"/>
                    </a:moveTo>
                    <a:cubicBezTo>
                      <a:pt x="14088" y="1"/>
                      <a:pt x="18152" y="4064"/>
                      <a:pt x="18152" y="9076"/>
                    </a:cubicBezTo>
                    <a:lnTo>
                      <a:pt x="18152" y="31156"/>
                    </a:lnTo>
                    <a:cubicBezTo>
                      <a:pt x="18152" y="36167"/>
                      <a:pt x="14088" y="40231"/>
                      <a:pt x="9076" y="40231"/>
                    </a:cubicBezTo>
                    <a:cubicBezTo>
                      <a:pt x="4064" y="40231"/>
                      <a:pt x="1" y="36167"/>
                      <a:pt x="1" y="31156"/>
                    </a:cubicBezTo>
                    <a:lnTo>
                      <a:pt x="1" y="9076"/>
                    </a:lnTo>
                    <a:cubicBezTo>
                      <a:pt x="1" y="4064"/>
                      <a:pt x="4064" y="1"/>
                      <a:pt x="9076" y="1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FFFFFE"/>
                  </a:solidFill>
                  <a:effectLst/>
                  <a:uLnTx/>
                  <a:uFillTx/>
                  <a:latin typeface="Mona Sans" pitchFamily="2" charset="77"/>
                  <a:ea typeface="+mn-ea"/>
                  <a:cs typeface="Arial"/>
                  <a:sym typeface="Arial"/>
                </a:endParaRPr>
              </a:p>
            </p:txBody>
          </p:sp>
        </p:grpSp>
      </p:grp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D8E7C1C3-EF27-FF48-F687-117F6603BE2F}"/>
              </a:ext>
            </a:extLst>
          </p:cNvPr>
          <p:cNvSpPr txBox="1">
            <a:spLocks/>
          </p:cNvSpPr>
          <p:nvPr/>
        </p:nvSpPr>
        <p:spPr>
          <a:xfrm>
            <a:off x="487965" y="2298986"/>
            <a:ext cx="4672220" cy="1206165"/>
          </a:xfrm>
          <a:prstGeom prst="rect">
            <a:avLst/>
          </a:prstGeom>
        </p:spPr>
        <p:txBody>
          <a:bodyPr lIns="91440" tIns="45720" rIns="91440" bIns="4572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200" b="0" i="0" kern="1200">
                <a:solidFill>
                  <a:schemeClr val="tx1"/>
                </a:solidFill>
                <a:latin typeface="Mona-Sans Regular" pitchFamily="2" charset="77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Mona-Sans Regular" pitchFamily="2" charset="77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Mona-Sans Regular" pitchFamily="2" charset="77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Mona-Sans Regular" pitchFamily="2" charset="77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Mona-Sans Regular" pitchFamily="2" charset="77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 w="3175">
                  <a:noFill/>
                </a:ln>
                <a:gradFill flip="none" rotWithShape="1">
                  <a:gsLst>
                    <a:gs pos="0">
                      <a:srgbClr val="FFC6CC"/>
                    </a:gs>
                    <a:gs pos="80000">
                      <a:srgbClr val="A9D5ED"/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effectLst/>
                <a:uLnTx/>
                <a:uFillTx/>
                <a:latin typeface="Segoe UI Variable Display Semibold" pitchFamily="2" charset="0"/>
                <a:ea typeface="+mn-ea"/>
                <a:cs typeface="Segoe UI" pitchFamily="34" charset="0"/>
                <a:sym typeface="Arial"/>
              </a:rPr>
              <a:t>Agentic capability in GitHub to enhance team productivity like an AI teammat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 w="3175">
                  <a:noFill/>
                </a:ln>
                <a:gradFill flip="none" rotWithShape="1">
                  <a:gsLst>
                    <a:gs pos="0">
                      <a:srgbClr val="FFC6CC"/>
                    </a:gs>
                    <a:gs pos="80000">
                      <a:srgbClr val="A9D5ED"/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effectLst/>
                <a:uLnTx/>
                <a:uFillTx/>
                <a:latin typeface="Segoe UI Variable Display Semibold" pitchFamily="2" charset="0"/>
                <a:ea typeface="+mn-ea"/>
                <a:cs typeface="Segoe UI" pitchFamily="34" charset="0"/>
                <a:sym typeface="Arial"/>
              </a:rPr>
              <a:t> </a:t>
            </a: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F1A80A00-C52F-4FC3-92B4-3775F5E9727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601237" y="3691824"/>
            <a:ext cx="4820393" cy="493993"/>
            <a:chOff x="554277" y="3691824"/>
            <a:chExt cx="4820393" cy="493993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92B2AA22-D3C7-13F0-C447-D7B28735C03A}"/>
                </a:ext>
              </a:extLst>
            </p:cNvPr>
            <p:cNvSpPr/>
            <p:nvPr/>
          </p:nvSpPr>
          <p:spPr>
            <a:xfrm>
              <a:off x="809740" y="3691824"/>
              <a:ext cx="4564930" cy="49399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  <a:sym typeface="Arial"/>
                </a:rPr>
                <a:t>Assign issues to GitHub Copilot and get back pull requests, automatically validated with tests and linters</a:t>
              </a:r>
            </a:p>
          </p:txBody>
        </p:sp>
        <p:grpSp>
          <p:nvGrpSpPr>
            <p:cNvPr id="10" name="Google Shape;1276;p65">
              <a:extLst>
                <a:ext uri="{FF2B5EF4-FFF2-40B4-BE49-F238E27FC236}">
                  <a16:creationId xmlns:a16="http://schemas.microsoft.com/office/drawing/2014/main" id="{6C3541A5-6466-81DA-D872-EEE6192C7574}"/>
                </a:ext>
              </a:extLst>
            </p:cNvPr>
            <p:cNvGrpSpPr/>
            <p:nvPr/>
          </p:nvGrpSpPr>
          <p:grpSpPr>
            <a:xfrm>
              <a:off x="554277" y="3829289"/>
              <a:ext cx="202996" cy="202997"/>
              <a:chOff x="4027450" y="4768275"/>
              <a:chExt cx="58000" cy="58000"/>
            </a:xfrm>
            <a:solidFill>
              <a:schemeClr val="tx2"/>
            </a:solidFill>
          </p:grpSpPr>
          <p:sp>
            <p:nvSpPr>
              <p:cNvPr id="11" name="Google Shape;1277;p65">
                <a:extLst>
                  <a:ext uri="{FF2B5EF4-FFF2-40B4-BE49-F238E27FC236}">
                    <a16:creationId xmlns:a16="http://schemas.microsoft.com/office/drawing/2014/main" id="{0067EEDE-E81B-CE1C-C710-E7EB0D14D093}"/>
                  </a:ext>
                </a:extLst>
              </p:cNvPr>
              <p:cNvSpPr/>
              <p:nvPr/>
            </p:nvSpPr>
            <p:spPr>
              <a:xfrm>
                <a:off x="4041775" y="4786625"/>
                <a:ext cx="29350" cy="21100"/>
              </a:xfrm>
              <a:custGeom>
                <a:avLst/>
                <a:gdLst/>
                <a:ahLst/>
                <a:cxnLst/>
                <a:rect l="l" t="t" r="r" b="b"/>
                <a:pathLst>
                  <a:path w="1174" h="844" extrusionOk="0">
                    <a:moveTo>
                      <a:pt x="1089" y="1"/>
                    </a:moveTo>
                    <a:cubicBezTo>
                      <a:pt x="1068" y="1"/>
                      <a:pt x="1047" y="9"/>
                      <a:pt x="1030" y="26"/>
                    </a:cubicBezTo>
                    <a:lnTo>
                      <a:pt x="406" y="650"/>
                    </a:lnTo>
                    <a:lnTo>
                      <a:pt x="144" y="397"/>
                    </a:lnTo>
                    <a:cubicBezTo>
                      <a:pt x="127" y="380"/>
                      <a:pt x="106" y="372"/>
                      <a:pt x="86" y="372"/>
                    </a:cubicBezTo>
                    <a:cubicBezTo>
                      <a:pt x="66" y="372"/>
                      <a:pt x="47" y="380"/>
                      <a:pt x="35" y="397"/>
                    </a:cubicBezTo>
                    <a:cubicBezTo>
                      <a:pt x="1" y="422"/>
                      <a:pt x="1" y="473"/>
                      <a:pt x="35" y="507"/>
                    </a:cubicBezTo>
                    <a:lnTo>
                      <a:pt x="347" y="819"/>
                    </a:lnTo>
                    <a:cubicBezTo>
                      <a:pt x="364" y="835"/>
                      <a:pt x="385" y="844"/>
                      <a:pt x="405" y="844"/>
                    </a:cubicBezTo>
                    <a:cubicBezTo>
                      <a:pt x="425" y="844"/>
                      <a:pt x="444" y="835"/>
                      <a:pt x="456" y="819"/>
                    </a:cubicBezTo>
                    <a:lnTo>
                      <a:pt x="1148" y="136"/>
                    </a:lnTo>
                    <a:cubicBezTo>
                      <a:pt x="1173" y="102"/>
                      <a:pt x="1173" y="51"/>
                      <a:pt x="1148" y="26"/>
                    </a:cubicBezTo>
                    <a:cubicBezTo>
                      <a:pt x="1131" y="9"/>
                      <a:pt x="1110" y="1"/>
                      <a:pt x="1089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0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ona Sans" pitchFamily="2" charset="77"/>
                  <a:ea typeface="+mn-ea"/>
                  <a:cs typeface="Arial"/>
                  <a:sym typeface="Arial"/>
                </a:endParaRPr>
              </a:p>
            </p:txBody>
          </p:sp>
          <p:sp>
            <p:nvSpPr>
              <p:cNvPr id="14" name="Google Shape;1278;p65">
                <a:extLst>
                  <a:ext uri="{FF2B5EF4-FFF2-40B4-BE49-F238E27FC236}">
                    <a16:creationId xmlns:a16="http://schemas.microsoft.com/office/drawing/2014/main" id="{01A3E6EB-FC10-7E0A-472F-758D829F5253}"/>
                  </a:ext>
                </a:extLst>
              </p:cNvPr>
              <p:cNvSpPr/>
              <p:nvPr/>
            </p:nvSpPr>
            <p:spPr>
              <a:xfrm>
                <a:off x="4027450" y="4768275"/>
                <a:ext cx="58000" cy="58000"/>
              </a:xfrm>
              <a:custGeom>
                <a:avLst/>
                <a:gdLst/>
                <a:ahLst/>
                <a:cxnLst/>
                <a:rect l="l" t="t" r="r" b="b"/>
                <a:pathLst>
                  <a:path w="2320" h="2320" extrusionOk="0">
                    <a:moveTo>
                      <a:pt x="1164" y="1"/>
                    </a:moveTo>
                    <a:cubicBezTo>
                      <a:pt x="523" y="1"/>
                      <a:pt x="1" y="515"/>
                      <a:pt x="1" y="1156"/>
                    </a:cubicBezTo>
                    <a:cubicBezTo>
                      <a:pt x="1" y="1797"/>
                      <a:pt x="523" y="2320"/>
                      <a:pt x="1164" y="2320"/>
                    </a:cubicBezTo>
                    <a:cubicBezTo>
                      <a:pt x="1797" y="2320"/>
                      <a:pt x="2320" y="1797"/>
                      <a:pt x="2320" y="1156"/>
                    </a:cubicBezTo>
                    <a:cubicBezTo>
                      <a:pt x="2320" y="515"/>
                      <a:pt x="1797" y="1"/>
                      <a:pt x="1164" y="1"/>
                    </a:cubicBezTo>
                    <a:close/>
                    <a:moveTo>
                      <a:pt x="161" y="1156"/>
                    </a:moveTo>
                    <a:cubicBezTo>
                      <a:pt x="161" y="600"/>
                      <a:pt x="608" y="153"/>
                      <a:pt x="1164" y="153"/>
                    </a:cubicBezTo>
                    <a:cubicBezTo>
                      <a:pt x="1712" y="153"/>
                      <a:pt x="2159" y="600"/>
                      <a:pt x="2159" y="1156"/>
                    </a:cubicBezTo>
                    <a:cubicBezTo>
                      <a:pt x="2159" y="1713"/>
                      <a:pt x="1712" y="2160"/>
                      <a:pt x="1164" y="2160"/>
                    </a:cubicBezTo>
                    <a:cubicBezTo>
                      <a:pt x="608" y="2160"/>
                      <a:pt x="161" y="1713"/>
                      <a:pt x="161" y="115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0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ona Sans" pitchFamily="2" charset="77"/>
                  <a:ea typeface="+mn-ea"/>
                  <a:cs typeface="Arial"/>
                  <a:sym typeface="Arial"/>
                </a:endParaRPr>
              </a:p>
            </p:txBody>
          </p:sp>
        </p:grp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4B74DACD-8BFD-47C0-3F14-0BD112C7B3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601237" y="4417343"/>
            <a:ext cx="4820393" cy="493993"/>
            <a:chOff x="554277" y="4524129"/>
            <a:chExt cx="4820393" cy="493993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A1290F56-A4F9-799A-A80F-33E9C5A45124}"/>
                </a:ext>
              </a:extLst>
            </p:cNvPr>
            <p:cNvSpPr/>
            <p:nvPr/>
          </p:nvSpPr>
          <p:spPr>
            <a:xfrm>
              <a:off x="809740" y="4524129"/>
              <a:ext cx="4564930" cy="49399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  <a:sym typeface="Arial"/>
                </a:rPr>
                <a:t>Stay in control by working with Copilot and iterating through pull request reviews</a:t>
              </a:r>
            </a:p>
          </p:txBody>
        </p:sp>
        <p:grpSp>
          <p:nvGrpSpPr>
            <p:cNvPr id="15" name="Google Shape;1276;p65">
              <a:extLst>
                <a:ext uri="{FF2B5EF4-FFF2-40B4-BE49-F238E27FC236}">
                  <a16:creationId xmlns:a16="http://schemas.microsoft.com/office/drawing/2014/main" id="{0372D1E0-0E38-7B19-2B6D-701897B1D475}"/>
                </a:ext>
              </a:extLst>
            </p:cNvPr>
            <p:cNvGrpSpPr/>
            <p:nvPr/>
          </p:nvGrpSpPr>
          <p:grpSpPr>
            <a:xfrm>
              <a:off x="554277" y="4669627"/>
              <a:ext cx="202996" cy="202997"/>
              <a:chOff x="4027450" y="4768275"/>
              <a:chExt cx="58000" cy="58000"/>
            </a:xfrm>
            <a:solidFill>
              <a:schemeClr val="tx2"/>
            </a:solidFill>
          </p:grpSpPr>
          <p:sp>
            <p:nvSpPr>
              <p:cNvPr id="18" name="Google Shape;1277;p65">
                <a:extLst>
                  <a:ext uri="{FF2B5EF4-FFF2-40B4-BE49-F238E27FC236}">
                    <a16:creationId xmlns:a16="http://schemas.microsoft.com/office/drawing/2014/main" id="{952AD4BA-991E-3E28-5711-365FF2238F97}"/>
                  </a:ext>
                </a:extLst>
              </p:cNvPr>
              <p:cNvSpPr/>
              <p:nvPr/>
            </p:nvSpPr>
            <p:spPr>
              <a:xfrm>
                <a:off x="4041775" y="4786625"/>
                <a:ext cx="29350" cy="21100"/>
              </a:xfrm>
              <a:custGeom>
                <a:avLst/>
                <a:gdLst/>
                <a:ahLst/>
                <a:cxnLst/>
                <a:rect l="l" t="t" r="r" b="b"/>
                <a:pathLst>
                  <a:path w="1174" h="844" extrusionOk="0">
                    <a:moveTo>
                      <a:pt x="1089" y="1"/>
                    </a:moveTo>
                    <a:cubicBezTo>
                      <a:pt x="1068" y="1"/>
                      <a:pt x="1047" y="9"/>
                      <a:pt x="1030" y="26"/>
                    </a:cubicBezTo>
                    <a:lnTo>
                      <a:pt x="406" y="650"/>
                    </a:lnTo>
                    <a:lnTo>
                      <a:pt x="144" y="397"/>
                    </a:lnTo>
                    <a:cubicBezTo>
                      <a:pt x="127" y="380"/>
                      <a:pt x="106" y="372"/>
                      <a:pt x="86" y="372"/>
                    </a:cubicBezTo>
                    <a:cubicBezTo>
                      <a:pt x="66" y="372"/>
                      <a:pt x="47" y="380"/>
                      <a:pt x="35" y="397"/>
                    </a:cubicBezTo>
                    <a:cubicBezTo>
                      <a:pt x="1" y="422"/>
                      <a:pt x="1" y="473"/>
                      <a:pt x="35" y="507"/>
                    </a:cubicBezTo>
                    <a:lnTo>
                      <a:pt x="347" y="819"/>
                    </a:lnTo>
                    <a:cubicBezTo>
                      <a:pt x="364" y="835"/>
                      <a:pt x="385" y="844"/>
                      <a:pt x="405" y="844"/>
                    </a:cubicBezTo>
                    <a:cubicBezTo>
                      <a:pt x="425" y="844"/>
                      <a:pt x="444" y="835"/>
                      <a:pt x="456" y="819"/>
                    </a:cubicBezTo>
                    <a:lnTo>
                      <a:pt x="1148" y="136"/>
                    </a:lnTo>
                    <a:cubicBezTo>
                      <a:pt x="1173" y="102"/>
                      <a:pt x="1173" y="51"/>
                      <a:pt x="1148" y="26"/>
                    </a:cubicBezTo>
                    <a:cubicBezTo>
                      <a:pt x="1131" y="9"/>
                      <a:pt x="1110" y="1"/>
                      <a:pt x="1089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0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ona Sans" pitchFamily="2" charset="77"/>
                  <a:ea typeface="+mn-ea"/>
                  <a:cs typeface="Arial"/>
                  <a:sym typeface="Arial"/>
                </a:endParaRPr>
              </a:p>
            </p:txBody>
          </p:sp>
          <p:sp>
            <p:nvSpPr>
              <p:cNvPr id="19" name="Google Shape;1278;p65">
                <a:extLst>
                  <a:ext uri="{FF2B5EF4-FFF2-40B4-BE49-F238E27FC236}">
                    <a16:creationId xmlns:a16="http://schemas.microsoft.com/office/drawing/2014/main" id="{2C0C36AD-D595-ABA5-7659-B44C7523A212}"/>
                  </a:ext>
                </a:extLst>
              </p:cNvPr>
              <p:cNvSpPr/>
              <p:nvPr/>
            </p:nvSpPr>
            <p:spPr>
              <a:xfrm>
                <a:off x="4027450" y="4768275"/>
                <a:ext cx="58000" cy="58000"/>
              </a:xfrm>
              <a:custGeom>
                <a:avLst/>
                <a:gdLst/>
                <a:ahLst/>
                <a:cxnLst/>
                <a:rect l="l" t="t" r="r" b="b"/>
                <a:pathLst>
                  <a:path w="2320" h="2320" extrusionOk="0">
                    <a:moveTo>
                      <a:pt x="1164" y="1"/>
                    </a:moveTo>
                    <a:cubicBezTo>
                      <a:pt x="523" y="1"/>
                      <a:pt x="1" y="515"/>
                      <a:pt x="1" y="1156"/>
                    </a:cubicBezTo>
                    <a:cubicBezTo>
                      <a:pt x="1" y="1797"/>
                      <a:pt x="523" y="2320"/>
                      <a:pt x="1164" y="2320"/>
                    </a:cubicBezTo>
                    <a:cubicBezTo>
                      <a:pt x="1797" y="2320"/>
                      <a:pt x="2320" y="1797"/>
                      <a:pt x="2320" y="1156"/>
                    </a:cubicBezTo>
                    <a:cubicBezTo>
                      <a:pt x="2320" y="515"/>
                      <a:pt x="1797" y="1"/>
                      <a:pt x="1164" y="1"/>
                    </a:cubicBezTo>
                    <a:close/>
                    <a:moveTo>
                      <a:pt x="161" y="1156"/>
                    </a:moveTo>
                    <a:cubicBezTo>
                      <a:pt x="161" y="600"/>
                      <a:pt x="608" y="153"/>
                      <a:pt x="1164" y="153"/>
                    </a:cubicBezTo>
                    <a:cubicBezTo>
                      <a:pt x="1712" y="153"/>
                      <a:pt x="2159" y="600"/>
                      <a:pt x="2159" y="1156"/>
                    </a:cubicBezTo>
                    <a:cubicBezTo>
                      <a:pt x="2159" y="1713"/>
                      <a:pt x="1712" y="2160"/>
                      <a:pt x="1164" y="2160"/>
                    </a:cubicBezTo>
                    <a:cubicBezTo>
                      <a:pt x="608" y="2160"/>
                      <a:pt x="161" y="1713"/>
                      <a:pt x="161" y="115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0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ona Sans" pitchFamily="2" charset="77"/>
                  <a:ea typeface="+mn-ea"/>
                  <a:cs typeface="Arial"/>
                  <a:sym typeface="Arial"/>
                </a:endParaRPr>
              </a:p>
            </p:txBody>
          </p:sp>
        </p:grp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6BF325DA-DD30-8650-C794-2F19A561BE2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601237" y="5142862"/>
            <a:ext cx="4820393" cy="673227"/>
            <a:chOff x="554277" y="5248211"/>
            <a:chExt cx="4820393" cy="673227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BF8F4A49-8880-DF37-E92F-E4CBE3B13595}"/>
                </a:ext>
              </a:extLst>
            </p:cNvPr>
            <p:cNvSpPr/>
            <p:nvPr/>
          </p:nvSpPr>
          <p:spPr>
            <a:xfrm>
              <a:off x="809740" y="5248211"/>
              <a:ext cx="4564930" cy="67322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  <a:sym typeface="Arial"/>
                </a:rPr>
                <a:t>Tailor to your needs by customizing its dev environment, adding custom instructions, and MCP servers</a:t>
              </a:r>
            </a:p>
          </p:txBody>
        </p:sp>
        <p:grpSp>
          <p:nvGrpSpPr>
            <p:cNvPr id="24" name="Google Shape;1276;p65">
              <a:extLst>
                <a:ext uri="{FF2B5EF4-FFF2-40B4-BE49-F238E27FC236}">
                  <a16:creationId xmlns:a16="http://schemas.microsoft.com/office/drawing/2014/main" id="{5BB902F5-98D8-CB44-D48C-4D5C81179BA2}"/>
                </a:ext>
              </a:extLst>
            </p:cNvPr>
            <p:cNvGrpSpPr/>
            <p:nvPr/>
          </p:nvGrpSpPr>
          <p:grpSpPr>
            <a:xfrm>
              <a:off x="554277" y="5483326"/>
              <a:ext cx="202996" cy="202997"/>
              <a:chOff x="4027450" y="4768275"/>
              <a:chExt cx="58000" cy="58000"/>
            </a:xfrm>
            <a:solidFill>
              <a:schemeClr val="tx2"/>
            </a:solidFill>
          </p:grpSpPr>
          <p:sp>
            <p:nvSpPr>
              <p:cNvPr id="25" name="Google Shape;1277;p65">
                <a:extLst>
                  <a:ext uri="{FF2B5EF4-FFF2-40B4-BE49-F238E27FC236}">
                    <a16:creationId xmlns:a16="http://schemas.microsoft.com/office/drawing/2014/main" id="{5AD9E0E1-3268-1359-9025-644E6C839392}"/>
                  </a:ext>
                </a:extLst>
              </p:cNvPr>
              <p:cNvSpPr/>
              <p:nvPr/>
            </p:nvSpPr>
            <p:spPr>
              <a:xfrm>
                <a:off x="4041775" y="4786625"/>
                <a:ext cx="29350" cy="21100"/>
              </a:xfrm>
              <a:custGeom>
                <a:avLst/>
                <a:gdLst/>
                <a:ahLst/>
                <a:cxnLst/>
                <a:rect l="l" t="t" r="r" b="b"/>
                <a:pathLst>
                  <a:path w="1174" h="844" extrusionOk="0">
                    <a:moveTo>
                      <a:pt x="1089" y="1"/>
                    </a:moveTo>
                    <a:cubicBezTo>
                      <a:pt x="1068" y="1"/>
                      <a:pt x="1047" y="9"/>
                      <a:pt x="1030" y="26"/>
                    </a:cubicBezTo>
                    <a:lnTo>
                      <a:pt x="406" y="650"/>
                    </a:lnTo>
                    <a:lnTo>
                      <a:pt x="144" y="397"/>
                    </a:lnTo>
                    <a:cubicBezTo>
                      <a:pt x="127" y="380"/>
                      <a:pt x="106" y="372"/>
                      <a:pt x="86" y="372"/>
                    </a:cubicBezTo>
                    <a:cubicBezTo>
                      <a:pt x="66" y="372"/>
                      <a:pt x="47" y="380"/>
                      <a:pt x="35" y="397"/>
                    </a:cubicBezTo>
                    <a:cubicBezTo>
                      <a:pt x="1" y="422"/>
                      <a:pt x="1" y="473"/>
                      <a:pt x="35" y="507"/>
                    </a:cubicBezTo>
                    <a:lnTo>
                      <a:pt x="347" y="819"/>
                    </a:lnTo>
                    <a:cubicBezTo>
                      <a:pt x="364" y="835"/>
                      <a:pt x="385" y="844"/>
                      <a:pt x="405" y="844"/>
                    </a:cubicBezTo>
                    <a:cubicBezTo>
                      <a:pt x="425" y="844"/>
                      <a:pt x="444" y="835"/>
                      <a:pt x="456" y="819"/>
                    </a:cubicBezTo>
                    <a:lnTo>
                      <a:pt x="1148" y="136"/>
                    </a:lnTo>
                    <a:cubicBezTo>
                      <a:pt x="1173" y="102"/>
                      <a:pt x="1173" y="51"/>
                      <a:pt x="1148" y="26"/>
                    </a:cubicBezTo>
                    <a:cubicBezTo>
                      <a:pt x="1131" y="9"/>
                      <a:pt x="1110" y="1"/>
                      <a:pt x="1089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0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ona Sans" pitchFamily="2" charset="77"/>
                  <a:ea typeface="+mn-ea"/>
                  <a:cs typeface="Arial"/>
                  <a:sym typeface="Arial"/>
                </a:endParaRPr>
              </a:p>
            </p:txBody>
          </p:sp>
          <p:sp>
            <p:nvSpPr>
              <p:cNvPr id="26" name="Google Shape;1278;p65">
                <a:extLst>
                  <a:ext uri="{FF2B5EF4-FFF2-40B4-BE49-F238E27FC236}">
                    <a16:creationId xmlns:a16="http://schemas.microsoft.com/office/drawing/2014/main" id="{BBD51FAF-8CB9-8C10-D5B7-401E43705DC5}"/>
                  </a:ext>
                </a:extLst>
              </p:cNvPr>
              <p:cNvSpPr/>
              <p:nvPr/>
            </p:nvSpPr>
            <p:spPr>
              <a:xfrm>
                <a:off x="4027450" y="4768275"/>
                <a:ext cx="58000" cy="58000"/>
              </a:xfrm>
              <a:custGeom>
                <a:avLst/>
                <a:gdLst/>
                <a:ahLst/>
                <a:cxnLst/>
                <a:rect l="l" t="t" r="r" b="b"/>
                <a:pathLst>
                  <a:path w="2320" h="2320" extrusionOk="0">
                    <a:moveTo>
                      <a:pt x="1164" y="1"/>
                    </a:moveTo>
                    <a:cubicBezTo>
                      <a:pt x="523" y="1"/>
                      <a:pt x="1" y="515"/>
                      <a:pt x="1" y="1156"/>
                    </a:cubicBezTo>
                    <a:cubicBezTo>
                      <a:pt x="1" y="1797"/>
                      <a:pt x="523" y="2320"/>
                      <a:pt x="1164" y="2320"/>
                    </a:cubicBezTo>
                    <a:cubicBezTo>
                      <a:pt x="1797" y="2320"/>
                      <a:pt x="2320" y="1797"/>
                      <a:pt x="2320" y="1156"/>
                    </a:cubicBezTo>
                    <a:cubicBezTo>
                      <a:pt x="2320" y="515"/>
                      <a:pt x="1797" y="1"/>
                      <a:pt x="1164" y="1"/>
                    </a:cubicBezTo>
                    <a:close/>
                    <a:moveTo>
                      <a:pt x="161" y="1156"/>
                    </a:moveTo>
                    <a:cubicBezTo>
                      <a:pt x="161" y="600"/>
                      <a:pt x="608" y="153"/>
                      <a:pt x="1164" y="153"/>
                    </a:cubicBezTo>
                    <a:cubicBezTo>
                      <a:pt x="1712" y="153"/>
                      <a:pt x="2159" y="600"/>
                      <a:pt x="2159" y="1156"/>
                    </a:cubicBezTo>
                    <a:cubicBezTo>
                      <a:pt x="2159" y="1713"/>
                      <a:pt x="1712" y="2160"/>
                      <a:pt x="1164" y="2160"/>
                    </a:cubicBezTo>
                    <a:cubicBezTo>
                      <a:pt x="608" y="2160"/>
                      <a:pt x="161" y="1713"/>
                      <a:pt x="161" y="115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0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ona Sans" pitchFamily="2" charset="77"/>
                  <a:ea typeface="+mn-ea"/>
                  <a:cs typeface="Arial"/>
                  <a:sym typeface="Arial"/>
                </a:endParaRPr>
              </a:p>
            </p:txBody>
          </p:sp>
        </p:grp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AD85305C-8091-C494-EA6D-566F1F2E55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5471222" y="713941"/>
            <a:ext cx="9309652" cy="5711688"/>
            <a:chOff x="5158408" y="583095"/>
            <a:chExt cx="9309652" cy="5711688"/>
          </a:xfrm>
        </p:grpSpPr>
        <p:sp>
          <p:nvSpPr>
            <p:cNvPr id="12" name="Rounded Rectangle 5">
              <a:extLst>
                <a:ext uri="{FF2B5EF4-FFF2-40B4-BE49-F238E27FC236}">
                  <a16:creationId xmlns:a16="http://schemas.microsoft.com/office/drawing/2014/main" id="{182BD2F8-4093-A7BE-40EE-13B6487A03A1}"/>
                </a:ext>
              </a:extLst>
            </p:cNvPr>
            <p:cNvSpPr/>
            <p:nvPr/>
          </p:nvSpPr>
          <p:spPr>
            <a:xfrm>
              <a:off x="5158408" y="583095"/>
              <a:ext cx="9309652" cy="5711688"/>
            </a:xfrm>
            <a:prstGeom prst="roundRect">
              <a:avLst>
                <a:gd name="adj" fmla="val 3808"/>
              </a:avLst>
            </a:prstGeom>
            <a:solidFill>
              <a:schemeClr val="tx1">
                <a:alpha val="25000"/>
              </a:schemeClr>
            </a:solidFill>
            <a:ln>
              <a:gradFill flip="none" rotWithShape="1">
                <a:gsLst>
                  <a:gs pos="0">
                    <a:schemeClr val="tx1">
                      <a:alpha val="75000"/>
                    </a:schemeClr>
                  </a:gs>
                  <a:gs pos="29000">
                    <a:schemeClr val="tx1">
                      <a:alpha val="0"/>
                    </a:schemeClr>
                  </a:gs>
                </a:gsLst>
                <a:lin ang="8100000" scaled="1"/>
                <a:tileRect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  <a:sym typeface="Arial"/>
              </a:endParaRPr>
            </a:p>
          </p:txBody>
        </p:sp>
        <p:pic>
          <p:nvPicPr>
            <p:cNvPr id="13" name="Picture 12" descr="A screenshot of a computer&#10;&#10;AI-generated content may be incorrect.">
              <a:extLst>
                <a:ext uri="{FF2B5EF4-FFF2-40B4-BE49-F238E27FC236}">
                  <a16:creationId xmlns:a16="http://schemas.microsoft.com/office/drawing/2014/main" id="{9ACEADBE-72BC-8615-B879-2BFAB19A48C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84841" y="717856"/>
              <a:ext cx="7330548" cy="5442165"/>
            </a:xfrm>
            <a:prstGeom prst="roundRect">
              <a:avLst>
                <a:gd name="adj" fmla="val 1965"/>
              </a:avLst>
            </a:prstGeom>
          </p:spPr>
        </p:pic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id="{1106FC5F-5DED-93DB-8C3C-E10B91227C3F}"/>
              </a:ext>
            </a:extLst>
          </p:cNvPr>
          <p:cNvSpPr/>
          <p:nvPr/>
        </p:nvSpPr>
        <p:spPr bwMode="auto">
          <a:xfrm>
            <a:off x="10601864" y="3234906"/>
            <a:ext cx="2191110" cy="379562"/>
          </a:xfrm>
          <a:prstGeom prst="rect">
            <a:avLst/>
          </a:prstGeom>
          <a:noFill/>
          <a:ln w="28575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HK" sz="2000" b="0" i="0" u="none" strike="noStrike" kern="1200" cap="none" spc="0" normalizeH="0" baseline="0" noProof="0" err="1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  <a:sym typeface="Arial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4D21708-6D4B-A330-E507-7A7C2078F6BB}"/>
              </a:ext>
            </a:extLst>
          </p:cNvPr>
          <p:cNvSpPr/>
          <p:nvPr/>
        </p:nvSpPr>
        <p:spPr bwMode="auto">
          <a:xfrm>
            <a:off x="5712156" y="3050876"/>
            <a:ext cx="3216184" cy="379562"/>
          </a:xfrm>
          <a:prstGeom prst="rect">
            <a:avLst/>
          </a:prstGeom>
          <a:noFill/>
          <a:ln w="28575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HK" sz="2000" b="0" i="0" u="none" strike="noStrike" kern="1200" cap="none" spc="0" normalizeH="0" baseline="0" noProof="0" err="1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58418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27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77238C6-4770-D15F-616A-E6670585E4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8170" y="0"/>
            <a:ext cx="1145565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7188913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59420DA-1F79-598D-D252-5BB7D2726F8C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3422"/>
          <a:stretch>
            <a:fillRect/>
          </a:stretch>
        </p:blipFill>
        <p:spPr>
          <a:xfrm>
            <a:off x="420700" y="0"/>
            <a:ext cx="11480788" cy="68546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2493041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01F42E1-8233-0529-1BDD-1308F58F7FB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4207" y="0"/>
            <a:ext cx="1138358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3781160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5951CAB-0274-628B-9FD0-5DEA5D5D49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3150414"/>
            <a:ext cx="3182027" cy="553998"/>
          </a:xfrm>
        </p:spPr>
        <p:txBody>
          <a:bodyPr/>
          <a:lstStyle/>
          <a:p>
            <a:r>
              <a:rPr lang="en-HK" dirty="0"/>
              <a:t>Agend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BBB7E23-BF66-082E-AC78-D290EE42C03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941888" y="2187072"/>
            <a:ext cx="6667500" cy="2480679"/>
          </a:xfrm>
        </p:spPr>
        <p:txBody>
          <a:bodyPr/>
          <a:lstStyle/>
          <a:p>
            <a:r>
              <a:rPr lang="en-HK" dirty="0"/>
              <a:t>What’s new in Microsoft AI</a:t>
            </a:r>
          </a:p>
          <a:p>
            <a:r>
              <a:rPr lang="en-HK" dirty="0"/>
              <a:t>Tools for building agents in different scenarios</a:t>
            </a:r>
          </a:p>
          <a:p>
            <a:r>
              <a:rPr lang="en-HK" dirty="0"/>
              <a:t>Working with A2A &amp; MCP with Azure AI Foundry Agent Service</a:t>
            </a:r>
          </a:p>
        </p:txBody>
      </p:sp>
    </p:spTree>
    <p:extLst>
      <p:ext uri="{BB962C8B-B14F-4D97-AF65-F5344CB8AC3E}">
        <p14:creationId xmlns:p14="http://schemas.microsoft.com/office/powerpoint/2010/main" val="3892334803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9C3937E-08C4-D250-315D-1B69D01C14A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7018" y="0"/>
            <a:ext cx="1145796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3789408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EFB557-B9D5-132E-FB7B-6BC151690C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1F59427B-FCE8-43B0-139C-5F1FF7FA88BF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1173163" y="-461963"/>
            <a:ext cx="11018837" cy="246063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50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600" b="0" i="0" u="none" strike="noStrike" kern="1200" cap="none" spc="-50" normalizeH="0" baseline="0" noProof="0">
                <a:ln w="3175"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Segoe UI" pitchFamily="34" charset="0"/>
              </a:rPr>
              <a:t>Open source Copilot extension for VS Cod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E4F6CA8-704E-A3FE-1A54-308FC6BFA820}"/>
              </a:ext>
            </a:extLst>
          </p:cNvPr>
          <p:cNvSpPr txBox="1"/>
          <p:nvPr/>
        </p:nvSpPr>
        <p:spPr>
          <a:xfrm>
            <a:off x="5169071" y="1077795"/>
            <a:ext cx="1853876" cy="500127"/>
          </a:xfrm>
          <a:prstGeom prst="roundRect">
            <a:avLst>
              <a:gd name="adj" fmla="val 28094"/>
            </a:avLst>
          </a:prstGeom>
          <a:gradFill flip="none" rotWithShape="1">
            <a:gsLst>
              <a:gs pos="0">
                <a:srgbClr val="AC35AF"/>
              </a:gs>
              <a:gs pos="80000">
                <a:srgbClr val="0A6BBA"/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 wrap="none" lIns="183697" tIns="36738" rIns="183697" bIns="73478" rtlCol="0" anchor="ctr" anchorCtr="0">
            <a:spAutoFit/>
          </a:bodyPr>
          <a:lstStyle/>
          <a:p>
            <a:pPr marL="0" marR="0" lvl="0" indent="0" algn="ctr" defTabSz="91434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487009" algn="l"/>
              </a:tabLst>
              <a:defRPr/>
            </a:pPr>
            <a:r>
              <a:rPr kumimoji="0" lang="en-US" sz="2000" b="1" i="0" u="none" strike="noStrike" kern="1200" cap="none" spc="0" normalizeH="0" baseline="0" noProof="0">
                <a:ln w="3175">
                  <a:noFill/>
                </a:ln>
                <a:gradFill>
                  <a:gsLst>
                    <a:gs pos="53147">
                      <a:srgbClr val="FFFFFF"/>
                    </a:gs>
                    <a:gs pos="28000">
                      <a:srgbClr val="FFFFFF"/>
                    </a:gs>
                  </a:gsLst>
                  <a:path path="circle">
                    <a:fillToRect l="100000" b="100000"/>
                  </a:path>
                </a:gradFill>
                <a:effectLst/>
                <a:uLnTx/>
                <a:uFillTx/>
                <a:latin typeface="Segoe UI Variable Display Semibold" pitchFamily="2" charset="0"/>
                <a:ea typeface="+mn-ea"/>
                <a:cs typeface="Segoe UI" pitchFamily="34" charset="0"/>
                <a:sym typeface="Arial"/>
              </a:rPr>
              <a:t>Announcing</a:t>
            </a:r>
          </a:p>
        </p:txBody>
      </p:sp>
      <p:pic>
        <p:nvPicPr>
          <p:cNvPr id="6" name="Graphic 5" descr="GitHub Copilot logo">
            <a:extLst>
              <a:ext uri="{FF2B5EF4-FFF2-40B4-BE49-F238E27FC236}">
                <a16:creationId xmlns:a16="http://schemas.microsoft.com/office/drawing/2014/main" id="{9DFC58CC-44C6-6772-FDE8-7D2F7422C31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r="85763"/>
          <a:stretch>
            <a:fillRect/>
          </a:stretch>
        </p:blipFill>
        <p:spPr>
          <a:xfrm>
            <a:off x="4829527" y="2161145"/>
            <a:ext cx="970391" cy="861980"/>
          </a:xfrm>
          <a:prstGeom prst="rect">
            <a:avLst/>
          </a:prstGeom>
        </p:spPr>
      </p:pic>
      <p:pic>
        <p:nvPicPr>
          <p:cNvPr id="3" name="Picture 2" descr="Visual Studio logo">
            <a:extLst>
              <a:ext uri="{FF2B5EF4-FFF2-40B4-BE49-F238E27FC236}">
                <a16:creationId xmlns:a16="http://schemas.microsoft.com/office/drawing/2014/main" id="{FF92E913-223E-6041-287D-4B070B1F53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5417" y="2211627"/>
            <a:ext cx="761013" cy="7610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AACF167D-5E6A-D910-8142-52B21A94D155}"/>
              </a:ext>
            </a:extLst>
          </p:cNvPr>
          <p:cNvSpPr/>
          <p:nvPr/>
        </p:nvSpPr>
        <p:spPr bwMode="auto">
          <a:xfrm>
            <a:off x="1676404" y="3220154"/>
            <a:ext cx="8839199" cy="2046458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3238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799" b="0" i="0" u="none" strike="noStrike" kern="1200" cap="none" spc="0" normalizeH="0" baseline="0" noProof="0">
                <a:ln>
                  <a:noFill/>
                </a:ln>
                <a:gradFill>
                  <a:gsLst>
                    <a:gs pos="39451">
                      <a:srgbClr val="020506"/>
                    </a:gs>
                    <a:gs pos="37000">
                      <a:srgbClr val="000000"/>
                    </a:gs>
                  </a:gsLst>
                  <a:path path="circle">
                    <a:fillToRect l="100000" t="100000"/>
                  </a:path>
                </a:gradFill>
                <a:effectLst/>
                <a:uLnTx/>
                <a:uFillTx/>
                <a:latin typeface="Segoe UI Variable Display Semib" pitchFamily="2" charset="0"/>
                <a:ea typeface="+mn-ea"/>
                <a:cs typeface="Segoe UI" pitchFamily="34" charset="0"/>
                <a:sym typeface="Arial"/>
              </a:rPr>
              <a:t>Open source Copilot extension </a:t>
            </a:r>
            <a:br>
              <a:rPr kumimoji="0" lang="en-US" sz="4799" b="0" i="0" u="none" strike="noStrike" kern="1200" cap="none" spc="0" normalizeH="0" baseline="0" noProof="0">
                <a:ln>
                  <a:noFill/>
                </a:ln>
                <a:gradFill>
                  <a:gsLst>
                    <a:gs pos="39451">
                      <a:srgbClr val="020506"/>
                    </a:gs>
                    <a:gs pos="37000">
                      <a:srgbClr val="000000"/>
                    </a:gs>
                  </a:gsLst>
                  <a:path path="circle">
                    <a:fillToRect l="100000" t="100000"/>
                  </a:path>
                </a:gradFill>
                <a:effectLst/>
                <a:uLnTx/>
                <a:uFillTx/>
                <a:latin typeface="Segoe UI Variable Display Semib" pitchFamily="2" charset="0"/>
                <a:ea typeface="+mn-ea"/>
                <a:cs typeface="Segoe UI" pitchFamily="34" charset="0"/>
                <a:sym typeface="Arial"/>
              </a:rPr>
            </a:br>
            <a:r>
              <a:rPr kumimoji="0" lang="en-US" sz="4799" b="0" i="0" u="none" strike="noStrike" kern="1200" cap="none" spc="0" normalizeH="0" baseline="0" noProof="0">
                <a:ln>
                  <a:noFill/>
                </a:ln>
                <a:gradFill>
                  <a:gsLst>
                    <a:gs pos="39451">
                      <a:srgbClr val="020506"/>
                    </a:gs>
                    <a:gs pos="37000">
                      <a:srgbClr val="000000"/>
                    </a:gs>
                  </a:gsLst>
                  <a:path path="circle">
                    <a:fillToRect l="100000" t="100000"/>
                  </a:path>
                </a:gradFill>
                <a:effectLst/>
                <a:uLnTx/>
                <a:uFillTx/>
                <a:latin typeface="Segoe UI Variable Display Semib" pitchFamily="2" charset="0"/>
                <a:ea typeface="+mn-ea"/>
                <a:cs typeface="Segoe UI" pitchFamily="34" charset="0"/>
                <a:sym typeface="Arial"/>
              </a:rPr>
              <a:t>for VS Code</a:t>
            </a:r>
          </a:p>
          <a:p>
            <a:pPr marL="0" marR="0" lvl="0" indent="0" algn="ctr" defTabSz="932380" rtl="0" eaLnBrk="1" fontAlgn="base" latinLnBrk="0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80000">
                      <a:srgbClr val="2A446F"/>
                    </a:gs>
                    <a:gs pos="0">
                      <a:srgbClr val="463668"/>
                    </a:gs>
                  </a:gsLst>
                  <a:path path="circle">
                    <a:fillToRect l="100000" t="100000"/>
                  </a:path>
                </a:gradFill>
                <a:effectLst/>
                <a:uLnTx/>
                <a:uFillTx/>
                <a:latin typeface="Segoe UI Variable Display Semib" pitchFamily="2" charset="0"/>
                <a:ea typeface="+mn-ea"/>
                <a:cs typeface="Segoe UI" pitchFamily="34" charset="0"/>
                <a:sym typeface="Arial"/>
              </a:rPr>
              <a:t>Frame the future of Copilo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7404A80-F279-191D-5818-BBB8AB600FAD}"/>
              </a:ext>
            </a:extLst>
          </p:cNvPr>
          <p:cNvSpPr txBox="1"/>
          <p:nvPr/>
        </p:nvSpPr>
        <p:spPr>
          <a:xfrm>
            <a:off x="1702594" y="6000252"/>
            <a:ext cx="878681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HK" dirty="0">
                <a:hlinkClick r:id="rId6"/>
              </a:rPr>
              <a:t>https://code.visualstudio.com/blogs/2025/06/30/openSourceAIEditorFirstMilestone</a:t>
            </a:r>
            <a:endParaRPr lang="en-HK" dirty="0"/>
          </a:p>
        </p:txBody>
      </p:sp>
    </p:spTree>
    <p:extLst>
      <p:ext uri="{BB962C8B-B14F-4D97-AF65-F5344CB8AC3E}">
        <p14:creationId xmlns:p14="http://schemas.microsoft.com/office/powerpoint/2010/main" val="394579784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1.48148E-6 L 0 0.03542 " pathEditMode="relative" rAng="0" ptsTypes="AA">
                                      <p:cBhvr>
                                        <p:cTn id="9" dur="700" spd="-100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2.34568E-6 7.40741E-7 L 2.34568E-6 0.03542 " pathEditMode="relative" rAng="0" ptsTypes="AA">
                                      <p:cBhvr>
                                        <p:cTn id="14" dur="700" spd="-100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1.23457E-7 2.22222E-6 L 1.23457E-7 0.03541 " pathEditMode="relative" rAng="0" ptsTypes="AA">
                                      <p:cBhvr>
                                        <p:cTn id="19" dur="700" spd="-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decel="10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1.23457E-7 5.55112E-17 L 1.23457E-7 0.03542 " pathEditMode="relative" rAng="0" ptsTypes="AA">
                                      <p:cBhvr>
                                        <p:cTn id="24" dur="70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2" grpId="1" animBg="1"/>
      <p:bldP spid="13" grpId="0"/>
      <p:bldP spid="13" grpId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AA1CA0-7D26-D942-FEFE-07DD27AA19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0AE2CA9-D2E5-F663-2048-EA0336A7C5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HK" dirty="0"/>
              <a:t>Tools for Building Agents</a:t>
            </a:r>
          </a:p>
        </p:txBody>
      </p:sp>
    </p:spTree>
    <p:extLst>
      <p:ext uri="{BB962C8B-B14F-4D97-AF65-F5344CB8AC3E}">
        <p14:creationId xmlns:p14="http://schemas.microsoft.com/office/powerpoint/2010/main" val="1636796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5DAC79F-9720-B5D6-E2BC-64E6751D73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0A6C08CF-12EF-106A-9A9D-1E3B0AEDCE50}"/>
              </a:ext>
            </a:extLst>
          </p:cNvPr>
          <p:cNvSpPr/>
          <p:nvPr/>
        </p:nvSpPr>
        <p:spPr bwMode="auto">
          <a:xfrm>
            <a:off x="575220" y="1726759"/>
            <a:ext cx="11372940" cy="523220"/>
          </a:xfrm>
          <a:prstGeom prst="roundRect">
            <a:avLst>
              <a:gd name="adj" fmla="val 50000"/>
            </a:avLst>
          </a:prstGeom>
          <a:solidFill>
            <a:srgbClr val="FFFFFF">
              <a:alpha val="12000"/>
            </a:srgbClr>
          </a:solidFill>
          <a:ln w="6350" cap="flat" cmpd="sng" algn="ctr">
            <a:solidFill>
              <a:schemeClr val="tx1">
                <a:alpha val="30000"/>
              </a:schemeClr>
            </a:solidFill>
            <a:prstDash val="solid"/>
            <a:headEnd type="none" w="med" len="med"/>
            <a:tailEnd type="none" w="med" len="med"/>
          </a:ln>
          <a:effectLst>
            <a:outerShdw blurRad="127000" dist="63500" dir="2700000" algn="tl" rotWithShape="0">
              <a:prstClr val="black">
                <a:alpha val="20000"/>
              </a:prstClr>
            </a:outerShdw>
          </a:effectLst>
        </p:spPr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bold"/>
              <a:ea typeface="+mn-ea"/>
              <a:cs typeface="Arial"/>
              <a:sym typeface="Arial"/>
            </a:endParaRP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E786E798-FDD0-EF97-CB8C-66BD7DB1DA38}"/>
              </a:ext>
            </a:extLst>
          </p:cNvPr>
          <p:cNvSpPr/>
          <p:nvPr/>
        </p:nvSpPr>
        <p:spPr bwMode="auto">
          <a:xfrm>
            <a:off x="9941519" y="1597141"/>
            <a:ext cx="796686" cy="796680"/>
          </a:xfrm>
          <a:prstGeom prst="ellipse">
            <a:avLst/>
          </a:prstGeom>
          <a:solidFill>
            <a:schemeClr val="tx1"/>
          </a:solidFill>
          <a:ln w="15875">
            <a:noFill/>
            <a:headEnd type="none" w="med" len="med"/>
            <a:tailEnd type="none" w="med" len="med"/>
          </a:ln>
          <a:effectLst>
            <a:outerShdw blurRad="279400" algn="ctr" rotWithShape="0">
              <a:prstClr val="black">
                <a:alpha val="15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Segoe UI" pitchFamily="34" charset="0"/>
              <a:sym typeface="Arial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E1DCAE00-E479-6B82-FD0A-F23E57C9EB92}"/>
              </a:ext>
            </a:extLst>
          </p:cNvPr>
          <p:cNvSpPr/>
          <p:nvPr/>
        </p:nvSpPr>
        <p:spPr bwMode="auto">
          <a:xfrm>
            <a:off x="9842774" y="1509739"/>
            <a:ext cx="991344" cy="991341"/>
          </a:xfrm>
          <a:prstGeom prst="ellipse">
            <a:avLst/>
          </a:prstGeom>
          <a:solidFill>
            <a:schemeClr val="tx1">
              <a:alpha val="12000"/>
            </a:schemeClr>
          </a:solidFill>
          <a:ln w="63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  <a:sym typeface="Arial"/>
            </a:endParaRPr>
          </a:p>
        </p:txBody>
      </p:sp>
      <p:sp>
        <p:nvSpPr>
          <p:cNvPr id="8" name="Rectangle: Rounded Corners 26">
            <a:extLst>
              <a:ext uri="{FF2B5EF4-FFF2-40B4-BE49-F238E27FC236}">
                <a16:creationId xmlns:a16="http://schemas.microsoft.com/office/drawing/2014/main" id="{C9217D08-A54D-B6ED-B06C-7E203EA6E1C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4494783" y="2823321"/>
            <a:ext cx="3200380" cy="3120278"/>
          </a:xfrm>
          <a:prstGeom prst="roundRect">
            <a:avLst>
              <a:gd name="adj" fmla="val 4624"/>
            </a:avLst>
          </a:prstGeom>
          <a:solidFill>
            <a:schemeClr val="tx1">
              <a:alpha val="12000"/>
            </a:schemeClr>
          </a:solidFill>
          <a:ln w="6350">
            <a:solidFill>
              <a:schemeClr val="tx1">
                <a:alpha val="30000"/>
              </a:schemeClr>
            </a:solidFill>
            <a:headEnd type="none" w="med" len="med"/>
            <a:tailEnd type="none" w="med" len="med"/>
          </a:ln>
          <a:effectLst>
            <a:outerShdw blurRad="127000" dist="63500" dir="2700000" algn="tl" rotWithShape="0">
              <a:prstClr val="black">
                <a:alpha val="2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Display Semibold"/>
              <a:ea typeface="+mn-ea"/>
              <a:cs typeface="Segoe UI" pitchFamily="34" charset="0"/>
              <a:sym typeface="Arial"/>
            </a:endParaRPr>
          </a:p>
        </p:txBody>
      </p:sp>
      <p:sp>
        <p:nvSpPr>
          <p:cNvPr id="14" name="Rectangle: Rounded Corners 26">
            <a:extLst>
              <a:ext uri="{FF2B5EF4-FFF2-40B4-BE49-F238E27FC236}">
                <a16:creationId xmlns:a16="http://schemas.microsoft.com/office/drawing/2014/main" id="{44675EEA-5939-B69C-40B3-758636507E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8059698" y="2823320"/>
            <a:ext cx="3200380" cy="3120279"/>
          </a:xfrm>
          <a:prstGeom prst="roundRect">
            <a:avLst>
              <a:gd name="adj" fmla="val 4624"/>
            </a:avLst>
          </a:prstGeom>
          <a:solidFill>
            <a:schemeClr val="tx1">
              <a:alpha val="12000"/>
            </a:schemeClr>
          </a:solidFill>
          <a:ln w="6350">
            <a:solidFill>
              <a:schemeClr val="tx1">
                <a:alpha val="30000"/>
              </a:schemeClr>
            </a:solidFill>
            <a:headEnd type="none" w="med" len="med"/>
            <a:tailEnd type="none" w="med" len="med"/>
          </a:ln>
          <a:effectLst>
            <a:outerShdw blurRad="127000" dist="63500" dir="2700000" algn="tl" rotWithShape="0">
              <a:prstClr val="black">
                <a:alpha val="2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Display Semibold"/>
              <a:ea typeface="+mn-ea"/>
              <a:cs typeface="Segoe UI" pitchFamily="34" charset="0"/>
              <a:sym typeface="Arial"/>
            </a:endParaRPr>
          </a:p>
        </p:txBody>
      </p:sp>
      <p:sp>
        <p:nvSpPr>
          <p:cNvPr id="7" name="Rectangle: Rounded Corners 26">
            <a:extLst>
              <a:ext uri="{FF2B5EF4-FFF2-40B4-BE49-F238E27FC236}">
                <a16:creationId xmlns:a16="http://schemas.microsoft.com/office/drawing/2014/main" id="{0EB94EAC-13D6-0A6C-D42F-0CD4270989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931923" y="2797723"/>
            <a:ext cx="3200380" cy="3145876"/>
          </a:xfrm>
          <a:prstGeom prst="roundRect">
            <a:avLst>
              <a:gd name="adj" fmla="val 4624"/>
            </a:avLst>
          </a:prstGeom>
          <a:solidFill>
            <a:schemeClr val="tx1">
              <a:alpha val="12000"/>
            </a:schemeClr>
          </a:solidFill>
          <a:ln w="6350">
            <a:solidFill>
              <a:schemeClr val="tx1">
                <a:alpha val="30000"/>
              </a:schemeClr>
            </a:solidFill>
            <a:headEnd type="none" w="med" len="med"/>
            <a:tailEnd type="none" w="med" len="med"/>
          </a:ln>
          <a:effectLst>
            <a:outerShdw blurRad="127000" dist="63500" dir="2700000" algn="tl" rotWithShape="0">
              <a:prstClr val="black">
                <a:alpha val="2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Display Semibold"/>
              <a:ea typeface="Segoe UI" pitchFamily="34" charset="0"/>
              <a:cs typeface="Segoe UI" pitchFamily="34" charset="0"/>
              <a:sym typeface="Arial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9BAAE52-A44D-AC83-7D30-43E20F6318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/>
              <a:t>Building Agents with your Preferred Ways</a:t>
            </a: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797D4FA4-B029-AB2E-1A3D-BB06867FC1E1}"/>
              </a:ext>
            </a:extLst>
          </p:cNvPr>
          <p:cNvSpPr/>
          <p:nvPr/>
        </p:nvSpPr>
        <p:spPr bwMode="auto">
          <a:xfrm>
            <a:off x="9190369" y="1492699"/>
            <a:ext cx="991344" cy="991341"/>
          </a:xfrm>
          <a:prstGeom prst="ellipse">
            <a:avLst/>
          </a:prstGeom>
          <a:solidFill>
            <a:schemeClr val="tx1">
              <a:alpha val="12000"/>
            </a:schemeClr>
          </a:solidFill>
          <a:ln w="63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  <a:sym typeface="Arial"/>
            </a:endParaRP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95EA1632-1712-6D1A-4D95-2B4D04018525}"/>
              </a:ext>
            </a:extLst>
          </p:cNvPr>
          <p:cNvSpPr/>
          <p:nvPr/>
        </p:nvSpPr>
        <p:spPr bwMode="auto">
          <a:xfrm>
            <a:off x="9287698" y="1590029"/>
            <a:ext cx="796686" cy="796680"/>
          </a:xfrm>
          <a:prstGeom prst="ellipse">
            <a:avLst/>
          </a:prstGeom>
          <a:solidFill>
            <a:schemeClr val="tx1"/>
          </a:solidFill>
          <a:ln w="15875">
            <a:noFill/>
            <a:headEnd type="none" w="med" len="med"/>
            <a:tailEnd type="none" w="med" len="med"/>
          </a:ln>
          <a:effectLst>
            <a:outerShdw blurRad="279400" algn="ctr" rotWithShape="0">
              <a:prstClr val="black">
                <a:alpha val="15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Segoe UI" pitchFamily="34" charset="0"/>
              <a:sym typeface="Arial"/>
            </a:endParaRP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AC19A352-37DA-9BAA-EC9C-AB6F949DD0FC}"/>
              </a:ext>
            </a:extLst>
          </p:cNvPr>
          <p:cNvGrpSpPr/>
          <p:nvPr/>
        </p:nvGrpSpPr>
        <p:grpSpPr>
          <a:xfrm>
            <a:off x="2037467" y="1492699"/>
            <a:ext cx="991346" cy="991341"/>
            <a:chOff x="3031083" y="2734209"/>
            <a:chExt cx="752625" cy="752623"/>
          </a:xfrm>
        </p:grpSpPr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F50DD327-1B65-5DFE-5183-C2147001526E}"/>
                </a:ext>
              </a:extLst>
            </p:cNvPr>
            <p:cNvSpPr/>
            <p:nvPr/>
          </p:nvSpPr>
          <p:spPr bwMode="auto">
            <a:xfrm>
              <a:off x="3031083" y="2734209"/>
              <a:ext cx="752625" cy="752623"/>
            </a:xfrm>
            <a:prstGeom prst="ellipse">
              <a:avLst/>
            </a:prstGeom>
            <a:solidFill>
              <a:schemeClr val="tx1">
                <a:alpha val="12000"/>
              </a:schemeClr>
            </a:solidFill>
            <a:ln w="635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  <a:sym typeface="Arial"/>
              </a:endParaRP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5A7A30E1-8D0B-EDDD-D949-C99D14E58199}"/>
                </a:ext>
              </a:extLst>
            </p:cNvPr>
            <p:cNvSpPr/>
            <p:nvPr/>
          </p:nvSpPr>
          <p:spPr bwMode="auto">
            <a:xfrm>
              <a:off x="3104982" y="2808102"/>
              <a:ext cx="604841" cy="604837"/>
            </a:xfrm>
            <a:prstGeom prst="ellipse">
              <a:avLst/>
            </a:prstGeom>
            <a:solidFill>
              <a:schemeClr val="tx1"/>
            </a:solidFill>
            <a:ln w="15875">
              <a:noFill/>
              <a:headEnd type="none" w="med" len="med"/>
              <a:tailEnd type="none" w="med" len="med"/>
            </a:ln>
            <a:effectLst>
              <a:outerShdw blurRad="279400" algn="ctr" rotWithShape="0">
                <a:prstClr val="black">
                  <a:alpha val="15000"/>
                </a:prstClr>
              </a:out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Segoe UI" pitchFamily="34" charset="0"/>
                <a:sym typeface="Arial"/>
              </a:endParaRPr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D5BE19EB-B042-E470-68DE-AEB2762B788F}"/>
              </a:ext>
            </a:extLst>
          </p:cNvPr>
          <p:cNvSpPr txBox="1"/>
          <p:nvPr/>
        </p:nvSpPr>
        <p:spPr>
          <a:xfrm>
            <a:off x="754914" y="1880647"/>
            <a:ext cx="1536655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Display Semibold"/>
                <a:ea typeface="+mn-ea"/>
                <a:cs typeface="Arial"/>
                <a:sym typeface="Arial"/>
              </a:rPr>
              <a:t>No cod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71D10C5-7E7A-C1CA-C1C4-1DDBD2EA111F}"/>
              </a:ext>
            </a:extLst>
          </p:cNvPr>
          <p:cNvSpPr txBox="1"/>
          <p:nvPr/>
        </p:nvSpPr>
        <p:spPr>
          <a:xfrm>
            <a:off x="10520325" y="1880647"/>
            <a:ext cx="1229181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Display Semibold"/>
                <a:ea typeface="+mn-ea"/>
                <a:cs typeface="Arial"/>
                <a:sym typeface="Arial"/>
              </a:rPr>
              <a:t>Pro cod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51D2DFD-CB8A-16FA-95AF-7388E6A7E7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23" b="2923"/>
          <a:stretch/>
        </p:blipFill>
        <p:spPr>
          <a:xfrm>
            <a:off x="2263716" y="1734694"/>
            <a:ext cx="538849" cy="507350"/>
          </a:xfrm>
          <a:prstGeom prst="rect">
            <a:avLst/>
          </a:prstGeom>
          <a:ln w="7441" cap="flat">
            <a:noFill/>
            <a:prstDash val="solid"/>
            <a:miter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301D6D98-47F7-F7B5-F9E7-81BEADC7294B}"/>
              </a:ext>
            </a:extLst>
          </p:cNvPr>
          <p:cNvGrpSpPr/>
          <p:nvPr/>
        </p:nvGrpSpPr>
        <p:grpSpPr>
          <a:xfrm>
            <a:off x="5600328" y="1492699"/>
            <a:ext cx="991344" cy="991341"/>
            <a:chOff x="5600328" y="2260733"/>
            <a:chExt cx="991344" cy="991341"/>
          </a:xfrm>
        </p:grpSpPr>
        <p:grpSp>
          <p:nvGrpSpPr>
            <p:cNvPr id="166" name="Group 165">
              <a:extLst>
                <a:ext uri="{FF2B5EF4-FFF2-40B4-BE49-F238E27FC236}">
                  <a16:creationId xmlns:a16="http://schemas.microsoft.com/office/drawing/2014/main" id="{0313E98C-EA3A-1F69-0713-65C1199ACA09}"/>
                </a:ext>
              </a:extLst>
            </p:cNvPr>
            <p:cNvGrpSpPr/>
            <p:nvPr/>
          </p:nvGrpSpPr>
          <p:grpSpPr>
            <a:xfrm>
              <a:off x="5600328" y="2260733"/>
              <a:ext cx="991344" cy="991341"/>
              <a:chOff x="3031090" y="2734209"/>
              <a:chExt cx="752625" cy="752623"/>
            </a:xfrm>
          </p:grpSpPr>
          <p:sp>
            <p:nvSpPr>
              <p:cNvPr id="168" name="Oval 167">
                <a:extLst>
                  <a:ext uri="{FF2B5EF4-FFF2-40B4-BE49-F238E27FC236}">
                    <a16:creationId xmlns:a16="http://schemas.microsoft.com/office/drawing/2014/main" id="{62593827-FD31-A7C3-FB4F-DC2407E2C67B}"/>
                  </a:ext>
                </a:extLst>
              </p:cNvPr>
              <p:cNvSpPr/>
              <p:nvPr/>
            </p:nvSpPr>
            <p:spPr bwMode="auto">
              <a:xfrm>
                <a:off x="3031090" y="2734209"/>
                <a:ext cx="752625" cy="752623"/>
              </a:xfrm>
              <a:prstGeom prst="ellipse">
                <a:avLst/>
              </a:prstGeom>
              <a:solidFill>
                <a:schemeClr val="tx1">
                  <a:alpha val="12000"/>
                </a:schemeClr>
              </a:solidFill>
              <a:ln w="6350"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  <a:sym typeface="Arial"/>
                </a:endParaRPr>
              </a:p>
            </p:txBody>
          </p:sp>
          <p:sp>
            <p:nvSpPr>
              <p:cNvPr id="169" name="Oval 168">
                <a:extLst>
                  <a:ext uri="{FF2B5EF4-FFF2-40B4-BE49-F238E27FC236}">
                    <a16:creationId xmlns:a16="http://schemas.microsoft.com/office/drawing/2014/main" id="{8ACDA504-D1B2-6A5B-3143-252EE4506FC1}"/>
                  </a:ext>
                </a:extLst>
              </p:cNvPr>
              <p:cNvSpPr/>
              <p:nvPr/>
            </p:nvSpPr>
            <p:spPr bwMode="auto">
              <a:xfrm>
                <a:off x="3104982" y="2808102"/>
                <a:ext cx="604841" cy="604837"/>
              </a:xfrm>
              <a:prstGeom prst="ellipse">
                <a:avLst/>
              </a:prstGeom>
              <a:solidFill>
                <a:schemeClr val="tx1"/>
              </a:solidFill>
              <a:ln w="15875">
                <a:noFill/>
                <a:headEnd type="none" w="med" len="med"/>
                <a:tailEnd type="none" w="med" len="med"/>
              </a:ln>
              <a:effectLst>
                <a:outerShdw blurRad="279400" algn="ctr" rotWithShape="0">
                  <a:prstClr val="black">
                    <a:alpha val="15000"/>
                  </a:prstClr>
                </a:outerShdw>
              </a:effectLst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Segoe UI" pitchFamily="34" charset="0"/>
                  <a:sym typeface="Arial"/>
                </a:endParaRPr>
              </a:p>
            </p:txBody>
          </p:sp>
        </p:grpSp>
        <p:pic>
          <p:nvPicPr>
            <p:cNvPr id="167" name="Graphic 166">
              <a:extLst>
                <a:ext uri="{FF2B5EF4-FFF2-40B4-BE49-F238E27FC236}">
                  <a16:creationId xmlns:a16="http://schemas.microsoft.com/office/drawing/2014/main" id="{C53CF405-8569-6585-6B94-1A8B24338BE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5835399" y="2488972"/>
              <a:ext cx="521199" cy="521199"/>
            </a:xfrm>
            <a:prstGeom prst="rect">
              <a:avLst/>
            </a:prstGeom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17590537-C897-24E9-9353-5339C7042CD5}"/>
              </a:ext>
            </a:extLst>
          </p:cNvPr>
          <p:cNvSpPr/>
          <p:nvPr/>
        </p:nvSpPr>
        <p:spPr bwMode="auto">
          <a:xfrm>
            <a:off x="1497798" y="2658311"/>
            <a:ext cx="2070684" cy="329724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solidFill>
              <a:schemeClr val="bg1"/>
            </a:solidFill>
            <a:headEnd type="none" w="med" len="med"/>
            <a:tailEnd type="none" w="med" len="med"/>
          </a:ln>
          <a:effectLst>
            <a:outerShdw blurRad="63500" algn="tl" rotWithShape="0">
              <a:schemeClr val="tx1">
                <a:alpha val="30000"/>
              </a:scheme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Display Semibold"/>
                <a:ea typeface="Segoe UI" pitchFamily="34" charset="0"/>
                <a:cs typeface="Segoe UI" pitchFamily="34" charset="0"/>
                <a:sym typeface="Arial"/>
              </a:rPr>
              <a:t>For end user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FABCC05-A395-3626-8147-D723B8183C59}"/>
              </a:ext>
            </a:extLst>
          </p:cNvPr>
          <p:cNvSpPr txBox="1"/>
          <p:nvPr/>
        </p:nvSpPr>
        <p:spPr>
          <a:xfrm>
            <a:off x="1632363" y="5098694"/>
            <a:ext cx="1801554" cy="33855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 pitchFamily="2" charset="0"/>
                <a:ea typeface="+mn-ea"/>
                <a:cs typeface="Segoe Sans Text" pitchFamily="2" charset="0"/>
                <a:sym typeface="Arial"/>
              </a:rPr>
              <a:t>Agent builder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AF97737A-9CF1-DE04-973A-425B7FDE88D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006" y="2982561"/>
            <a:ext cx="3458214" cy="2150106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B748F9F8-EB9D-C690-E64B-C1970FDB5E4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61343" y="3199601"/>
            <a:ext cx="2667260" cy="1696210"/>
          </a:xfrm>
          <a:prstGeom prst="roundRect">
            <a:avLst>
              <a:gd name="adj" fmla="val 2856"/>
            </a:avLst>
          </a:prstGeom>
          <a:noFill/>
          <a:effectLst>
            <a:outerShdw blurRad="279400" algn="ctr" rotWithShape="0">
              <a:prstClr val="black">
                <a:alpha val="20000"/>
              </a:prstClr>
            </a:outerShdw>
          </a:effectLst>
        </p:spPr>
      </p:pic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D7018D4E-28C5-1CC9-BA63-1C3BF543B08E}"/>
              </a:ext>
            </a:extLst>
          </p:cNvPr>
          <p:cNvSpPr/>
          <p:nvPr/>
        </p:nvSpPr>
        <p:spPr bwMode="auto">
          <a:xfrm>
            <a:off x="5020931" y="2655595"/>
            <a:ext cx="2122428" cy="32696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solidFill>
              <a:schemeClr val="bg1"/>
            </a:solidFill>
            <a:headEnd type="none" w="med" len="med"/>
            <a:tailEnd type="none" w="med" len="med"/>
          </a:ln>
          <a:effectLst>
            <a:outerShdw blurRad="63500" algn="tl" rotWithShape="0">
              <a:schemeClr val="tx1">
                <a:alpha val="30000"/>
              </a:scheme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Display Semibold"/>
                <a:ea typeface="+mn-ea"/>
                <a:cs typeface="Segoe UI" pitchFamily="34" charset="0"/>
                <a:sym typeface="Arial"/>
              </a:rPr>
              <a:t>For maker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1738E0A-3F31-6BDE-1AD7-484A88C964E5}"/>
              </a:ext>
            </a:extLst>
          </p:cNvPr>
          <p:cNvSpPr txBox="1"/>
          <p:nvPr/>
        </p:nvSpPr>
        <p:spPr>
          <a:xfrm>
            <a:off x="5181264" y="5132667"/>
            <a:ext cx="180176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 pitchFamily="2" charset="0"/>
                <a:ea typeface="+mn-ea"/>
                <a:cs typeface="Segoe Sans Text" pitchFamily="2" charset="0"/>
                <a:sym typeface="Arial"/>
              </a:rPr>
              <a:t>Copilot Studio</a:t>
            </a: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7C8EB92C-C165-6D71-19A6-30E2BFD59C00}"/>
              </a:ext>
            </a:extLst>
          </p:cNvPr>
          <p:cNvSpPr/>
          <p:nvPr/>
        </p:nvSpPr>
        <p:spPr bwMode="auto">
          <a:xfrm>
            <a:off x="8611718" y="2652938"/>
            <a:ext cx="2070684" cy="329724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solidFill>
              <a:schemeClr val="bg1"/>
            </a:solidFill>
            <a:headEnd type="none" w="med" len="med"/>
            <a:tailEnd type="none" w="med" len="med"/>
          </a:ln>
          <a:effectLst>
            <a:outerShdw blurRad="63500" algn="tl" rotWithShape="0">
              <a:schemeClr val="tx1">
                <a:alpha val="30000"/>
              </a:scheme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Display Semibold"/>
                <a:ea typeface="+mn-ea"/>
                <a:cs typeface="Segoe UI" pitchFamily="34" charset="0"/>
                <a:sym typeface="Arial"/>
              </a:rPr>
              <a:t>For developer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5CDA089-CA9C-45F1-2DDC-C2AEC92B5478}"/>
              </a:ext>
            </a:extLst>
          </p:cNvPr>
          <p:cNvSpPr txBox="1"/>
          <p:nvPr/>
        </p:nvSpPr>
        <p:spPr>
          <a:xfrm>
            <a:off x="8199824" y="5009556"/>
            <a:ext cx="2920128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 pitchFamily="2" charset="0"/>
                <a:cs typeface="Segoe Sans Text" pitchFamily="2" charset="0"/>
                <a:sym typeface="Arial"/>
              </a:rPr>
              <a:t>Azure AI Foundry, Visual Studio, GitHub, and Microsoft 3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 pitchFamily="2" charset="0"/>
                <a:ea typeface="+mn-ea"/>
                <a:cs typeface="Segoe Sans Text" pitchFamily="2" charset="0"/>
                <a:sym typeface="Arial"/>
              </a:rPr>
              <a:t>65 Agent Toolkit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AC5E9B0D-3782-1BF7-91AD-5DCFBDDD12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83322" y="3072017"/>
            <a:ext cx="3145390" cy="1951377"/>
          </a:xfrm>
          <a:prstGeom prst="rect">
            <a:avLst/>
          </a:prstGeom>
        </p:spPr>
      </p:pic>
      <p:sp>
        <p:nvSpPr>
          <p:cNvPr id="3" name="Oval 2">
            <a:extLst>
              <a:ext uri="{FF2B5EF4-FFF2-40B4-BE49-F238E27FC236}">
                <a16:creationId xmlns:a16="http://schemas.microsoft.com/office/drawing/2014/main" id="{07B45C59-A341-7350-FB38-81E58EB0834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8507164" y="1499811"/>
            <a:ext cx="991344" cy="991341"/>
          </a:xfrm>
          <a:prstGeom prst="ellipse">
            <a:avLst/>
          </a:prstGeom>
          <a:solidFill>
            <a:schemeClr val="tx1">
              <a:alpha val="12000"/>
            </a:schemeClr>
          </a:solidFill>
          <a:ln w="63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  <a:sym typeface="Arial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E71FAEA0-E686-96C3-5151-1E8F462E91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8604493" y="1597141"/>
            <a:ext cx="796686" cy="796680"/>
          </a:xfrm>
          <a:prstGeom prst="ellipse">
            <a:avLst/>
          </a:prstGeom>
          <a:solidFill>
            <a:schemeClr val="tx1"/>
          </a:solidFill>
          <a:ln w="15875">
            <a:noFill/>
            <a:headEnd type="none" w="med" len="med"/>
            <a:tailEnd type="none" w="med" len="med"/>
          </a:ln>
          <a:effectLst>
            <a:outerShdw blurRad="279400" algn="ctr" rotWithShape="0">
              <a:prstClr val="black">
                <a:alpha val="15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Segoe UI" pitchFamily="34" charset="0"/>
              <a:sym typeface="Arial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50E28C49-7A81-C9B7-F045-396F9B821D0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3877" y="1779066"/>
            <a:ext cx="737917" cy="418363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6F728CD8-139F-7EC6-8FD0-0A2FC46ADD1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482422" y="1787867"/>
            <a:ext cx="440297" cy="391218"/>
          </a:xfrm>
          <a:prstGeom prst="rect">
            <a:avLst/>
          </a:prstGeom>
        </p:spPr>
      </p:pic>
      <p:pic>
        <p:nvPicPr>
          <p:cNvPr id="19" name="!! business central" descr="Icon of Azure">
            <a:extLst>
              <a:ext uri="{FF2B5EF4-FFF2-40B4-BE49-F238E27FC236}">
                <a16:creationId xmlns:a16="http://schemas.microsoft.com/office/drawing/2014/main" id="{30322834-1341-0D3C-1C53-6B0A0AACF7BB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rcRect l="3" r="3"/>
          <a:stretch/>
        </p:blipFill>
        <p:spPr>
          <a:xfrm>
            <a:off x="10154533" y="1760450"/>
            <a:ext cx="432793" cy="489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8424573"/>
      </p:ext>
    </p:extLst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516B9F-6772-832F-05E4-91E24C00B89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: Rounded Corners 34">
            <a:extLst>
              <a:ext uri="{FF2B5EF4-FFF2-40B4-BE49-F238E27FC236}">
                <a16:creationId xmlns:a16="http://schemas.microsoft.com/office/drawing/2014/main" id="{01DAA39A-0086-7462-4F8E-908359C3BD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832529" y="2642440"/>
            <a:ext cx="10526942" cy="3415698"/>
          </a:xfrm>
          <a:prstGeom prst="roundRect">
            <a:avLst>
              <a:gd name="adj" fmla="val 5099"/>
            </a:avLst>
          </a:prstGeom>
          <a:solidFill>
            <a:schemeClr val="bg1">
              <a:lumMod val="95000"/>
              <a:alpha val="50000"/>
            </a:schemeClr>
          </a:solidFill>
          <a:ln w="19050">
            <a:gradFill flip="none" rotWithShape="1">
              <a:gsLst>
                <a:gs pos="10000">
                  <a:srgbClr val="0078D4"/>
                </a:gs>
                <a:gs pos="90000">
                  <a:srgbClr val="C03BC4"/>
                </a:gs>
              </a:gsLst>
              <a:lin ang="2700000" scaled="1"/>
              <a:tileRect/>
            </a:gra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bold (Headings)"/>
              <a:ea typeface="+mn-ea"/>
              <a:cs typeface="Segoe UI" pitchFamily="34" charset="0"/>
            </a:endParaRPr>
          </a:p>
        </p:txBody>
      </p:sp>
      <p:pic>
        <p:nvPicPr>
          <p:cNvPr id="8" name="Picture 4" descr="A logo with a rainbow colored design&#10;&#10;Description automatically generated">
            <a:extLst>
              <a:ext uri="{FF2B5EF4-FFF2-40B4-BE49-F238E27FC236}">
                <a16:creationId xmlns:a16="http://schemas.microsoft.com/office/drawing/2014/main" id="{65B98141-CBA0-EF58-16C8-3DE13A673B4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38887" y="729554"/>
            <a:ext cx="704088" cy="713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: Rounded Corners 18">
            <a:extLst>
              <a:ext uri="{FF2B5EF4-FFF2-40B4-BE49-F238E27FC236}">
                <a16:creationId xmlns:a16="http://schemas.microsoft.com/office/drawing/2014/main" id="{A24A29FA-6974-E00E-0D71-B585958363B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>
            <a:spLocks/>
          </p:cNvSpPr>
          <p:nvPr/>
        </p:nvSpPr>
        <p:spPr bwMode="auto">
          <a:xfrm>
            <a:off x="2032319" y="1567383"/>
            <a:ext cx="8158915" cy="553998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lvl1pPr algn="l" defTabSz="93246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599" b="0" kern="1200" cap="none" spc="-50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ctr" defTabSz="2467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3600" b="0" i="0" u="none" strike="noStrike" kern="1200" cap="none" spc="-50" normalizeH="0" baseline="0" noProof="0">
                <a:ln>
                  <a:noFill/>
                </a:ln>
                <a:gradFill>
                  <a:gsLst>
                    <a:gs pos="12844">
                      <a:srgbClr val="291817"/>
                    </a:gs>
                    <a:gs pos="38000">
                      <a:srgbClr val="291817"/>
                    </a:gs>
                  </a:gsLst>
                  <a:lin ang="13500000" scaled="1"/>
                </a:gradFill>
                <a:effectLst/>
                <a:uLnTx/>
                <a:uFillTx/>
                <a:latin typeface="Segoe UI Semibold (Headings)"/>
                <a:ea typeface="+mn-ea"/>
                <a:cs typeface="Segoe Sans Display Semibold"/>
              </a:rPr>
              <a:t>Copilot Chat</a:t>
            </a:r>
            <a:endParaRPr kumimoji="0" lang="en-US" sz="3599" b="0" i="0" u="none" strike="noStrike" kern="1200" cap="none" spc="-50" normalizeH="0" baseline="0" noProof="0">
              <a:ln w="3175">
                <a:noFill/>
              </a:ln>
              <a:solidFill>
                <a:srgbClr val="000000"/>
              </a:solidFill>
              <a:effectLst/>
              <a:uLnTx/>
              <a:uFillTx/>
              <a:latin typeface="Segoe UI Semibold (Headings)"/>
              <a:ea typeface="+mn-ea"/>
              <a:cs typeface="Segoe UI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2A4D00E-48BF-FB8A-B198-3A5714544512}"/>
              </a:ext>
            </a:extLst>
          </p:cNvPr>
          <p:cNvSpPr txBox="1"/>
          <p:nvPr/>
        </p:nvSpPr>
        <p:spPr>
          <a:xfrm>
            <a:off x="8308169" y="5043471"/>
            <a:ext cx="2468880" cy="24609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8124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50" b="0" i="0" u="none" strike="noStrike" kern="1200" cap="none" spc="0" normalizeH="0" baseline="0" noProof="0">
                <a:ln>
                  <a:noFill/>
                </a:ln>
                <a:gradFill>
                  <a:gsLst>
                    <a:gs pos="12844">
                      <a:srgbClr val="291817"/>
                    </a:gs>
                    <a:gs pos="38000">
                      <a:srgbClr val="291817"/>
                    </a:gs>
                  </a:gsLst>
                </a:gradFill>
                <a:effectLst/>
                <a:uLnTx/>
                <a:uFillTx/>
                <a:latin typeface="Segoe UI Semibold (Headings)"/>
                <a:ea typeface="+mn-ea"/>
                <a:cs typeface="Segoe Sans Display Semibold"/>
              </a:rPr>
              <a:t>IT Controls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UI Semibold (Headings)"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7F1D973-8ECC-A388-E282-AEFE9C25F4A3}"/>
              </a:ext>
            </a:extLst>
          </p:cNvPr>
          <p:cNvSpPr txBox="1">
            <a:spLocks/>
          </p:cNvSpPr>
          <p:nvPr/>
        </p:nvSpPr>
        <p:spPr>
          <a:xfrm>
            <a:off x="1688676" y="5028236"/>
            <a:ext cx="2011680" cy="23852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8124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50" b="1" i="0" u="none" strike="noStrike" kern="1200" cap="none" spc="0" normalizeH="0" baseline="0" noProof="0">
                <a:ln>
                  <a:noFill/>
                </a:ln>
                <a:gradFill>
                  <a:gsLst>
                    <a:gs pos="12844">
                      <a:srgbClr val="291817"/>
                    </a:gs>
                    <a:gs pos="38000">
                      <a:srgbClr val="291817"/>
                    </a:gs>
                  </a:gsLst>
                  <a:lin ang="13500000" scaled="1"/>
                </a:gradFill>
                <a:effectLst/>
                <a:uLnTx/>
                <a:uFillTx/>
                <a:latin typeface="Segoe UI Semibold (Headings)"/>
                <a:ea typeface="+mn-ea"/>
                <a:cs typeface="Segoe Sans Display Semibold"/>
              </a:rPr>
              <a:t>Chat</a:t>
            </a:r>
            <a:endParaRPr kumimoji="0" lang="en-US" sz="1550" b="1" i="0" u="none" strike="noStrike" kern="1200" cap="none" spc="0" normalizeH="0" baseline="0" noProof="0">
              <a:ln>
                <a:noFill/>
              </a:ln>
              <a:gradFill>
                <a:gsLst>
                  <a:gs pos="12844">
                    <a:srgbClr val="291817"/>
                  </a:gs>
                  <a:gs pos="38000">
                    <a:srgbClr val="291817"/>
                  </a:gs>
                </a:gsLst>
                <a:lin ang="13500000" scaled="1"/>
              </a:gradFill>
              <a:effectLst/>
              <a:uLnTx/>
              <a:uFillTx/>
              <a:latin typeface="Segoe UI Semibold (Headings)"/>
              <a:ea typeface="+mn-ea"/>
              <a:cs typeface="Segoe Sans Display Semibold" pitchFamily="2" charset="0"/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E266295A-148B-F0D3-0108-1C8157EBAA4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719907" y="3140966"/>
            <a:ext cx="2761580" cy="1537037"/>
          </a:xfrm>
          <a:prstGeom prst="roundRect">
            <a:avLst>
              <a:gd name="adj" fmla="val 3902"/>
            </a:avLst>
          </a:prstGeom>
          <a:effectLst>
            <a:outerShdw blurRad="127000" dist="63500" dir="2700000" algn="tl" rotWithShape="0">
              <a:srgbClr val="291817">
                <a:alpha val="2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2289B283-4858-560A-0033-4B1170E215EB}"/>
              </a:ext>
            </a:extLst>
          </p:cNvPr>
          <p:cNvSpPr txBox="1"/>
          <p:nvPr/>
        </p:nvSpPr>
        <p:spPr>
          <a:xfrm>
            <a:off x="5094857" y="5055061"/>
            <a:ext cx="2011680" cy="2215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81248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12844">
                      <a:srgbClr val="291817"/>
                    </a:gs>
                    <a:gs pos="38000">
                      <a:srgbClr val="291817"/>
                    </a:gs>
                  </a:gsLst>
                  <a:lin ang="13500000" scaled="1"/>
                </a:gradFill>
                <a:effectLst/>
                <a:uLnTx/>
                <a:uFillTx/>
                <a:latin typeface="Segoe UI Semibold (Headings)"/>
                <a:ea typeface="+mn-ea"/>
                <a:cs typeface="Segoe Sans Display Semibold"/>
              </a:rPr>
              <a:t>Agents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gradFill>
                <a:gsLst>
                  <a:gs pos="12844">
                    <a:srgbClr val="291817"/>
                  </a:gs>
                  <a:gs pos="38000">
                    <a:srgbClr val="291817"/>
                  </a:gs>
                </a:gsLst>
                <a:lin ang="13500000" scaled="1"/>
              </a:gradFill>
              <a:effectLst/>
              <a:uLnTx/>
              <a:uFillTx/>
              <a:latin typeface="Segoe UI Semibold (Headings)"/>
              <a:ea typeface="+mn-ea"/>
              <a:cs typeface="Segoe Sans Display Semibold" pitchFamily="2" charset="0"/>
            </a:endParaRPr>
          </a:p>
        </p:txBody>
      </p:sp>
      <p:sp>
        <p:nvSpPr>
          <p:cNvPr id="30" name="Graphic 9">
            <a:extLst>
              <a:ext uri="{FF2B5EF4-FFF2-40B4-BE49-F238E27FC236}">
                <a16:creationId xmlns:a16="http://schemas.microsoft.com/office/drawing/2014/main" id="{035D7B55-C562-D3FA-FDFF-45C40A4C84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7862052" y="5085504"/>
            <a:ext cx="160713" cy="160713"/>
          </a:xfrm>
          <a:custGeom>
            <a:avLst/>
            <a:gdLst>
              <a:gd name="connsiteX0" fmla="*/ 176213 w 352425"/>
              <a:gd name="connsiteY0" fmla="*/ 0 h 352425"/>
              <a:gd name="connsiteX1" fmla="*/ 190500 w 352425"/>
              <a:gd name="connsiteY1" fmla="*/ 14288 h 352425"/>
              <a:gd name="connsiteX2" fmla="*/ 190500 w 352425"/>
              <a:gd name="connsiteY2" fmla="*/ 161925 h 352425"/>
              <a:gd name="connsiteX3" fmla="*/ 338138 w 352425"/>
              <a:gd name="connsiteY3" fmla="*/ 161925 h 352425"/>
              <a:gd name="connsiteX4" fmla="*/ 352425 w 352425"/>
              <a:gd name="connsiteY4" fmla="*/ 176213 h 352425"/>
              <a:gd name="connsiteX5" fmla="*/ 338138 w 352425"/>
              <a:gd name="connsiteY5" fmla="*/ 190500 h 352425"/>
              <a:gd name="connsiteX6" fmla="*/ 190500 w 352425"/>
              <a:gd name="connsiteY6" fmla="*/ 190500 h 352425"/>
              <a:gd name="connsiteX7" fmla="*/ 190500 w 352425"/>
              <a:gd name="connsiteY7" fmla="*/ 338138 h 352425"/>
              <a:gd name="connsiteX8" fmla="*/ 176213 w 352425"/>
              <a:gd name="connsiteY8" fmla="*/ 352425 h 352425"/>
              <a:gd name="connsiteX9" fmla="*/ 161925 w 352425"/>
              <a:gd name="connsiteY9" fmla="*/ 338138 h 352425"/>
              <a:gd name="connsiteX10" fmla="*/ 161925 w 352425"/>
              <a:gd name="connsiteY10" fmla="*/ 190500 h 352425"/>
              <a:gd name="connsiteX11" fmla="*/ 14288 w 352425"/>
              <a:gd name="connsiteY11" fmla="*/ 190500 h 352425"/>
              <a:gd name="connsiteX12" fmla="*/ 0 w 352425"/>
              <a:gd name="connsiteY12" fmla="*/ 176213 h 352425"/>
              <a:gd name="connsiteX13" fmla="*/ 14288 w 352425"/>
              <a:gd name="connsiteY13" fmla="*/ 161925 h 352425"/>
              <a:gd name="connsiteX14" fmla="*/ 161925 w 352425"/>
              <a:gd name="connsiteY14" fmla="*/ 161925 h 352425"/>
              <a:gd name="connsiteX15" fmla="*/ 161925 w 352425"/>
              <a:gd name="connsiteY15" fmla="*/ 14288 h 352425"/>
              <a:gd name="connsiteX16" fmla="*/ 176213 w 352425"/>
              <a:gd name="connsiteY16" fmla="*/ 0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52425" h="352425">
                <a:moveTo>
                  <a:pt x="176213" y="0"/>
                </a:moveTo>
                <a:cubicBezTo>
                  <a:pt x="184118" y="0"/>
                  <a:pt x="190500" y="6382"/>
                  <a:pt x="190500" y="14288"/>
                </a:cubicBezTo>
                <a:lnTo>
                  <a:pt x="190500" y="161925"/>
                </a:lnTo>
                <a:lnTo>
                  <a:pt x="338138" y="161925"/>
                </a:lnTo>
                <a:cubicBezTo>
                  <a:pt x="346043" y="161925"/>
                  <a:pt x="352425" y="168307"/>
                  <a:pt x="352425" y="176213"/>
                </a:cubicBezTo>
                <a:cubicBezTo>
                  <a:pt x="352425" y="184118"/>
                  <a:pt x="346043" y="190500"/>
                  <a:pt x="338138" y="190500"/>
                </a:cubicBezTo>
                <a:lnTo>
                  <a:pt x="190500" y="190500"/>
                </a:lnTo>
                <a:lnTo>
                  <a:pt x="190500" y="338138"/>
                </a:lnTo>
                <a:cubicBezTo>
                  <a:pt x="190500" y="346043"/>
                  <a:pt x="184118" y="352425"/>
                  <a:pt x="176213" y="352425"/>
                </a:cubicBezTo>
                <a:cubicBezTo>
                  <a:pt x="168307" y="352425"/>
                  <a:pt x="161925" y="346043"/>
                  <a:pt x="161925" y="338138"/>
                </a:cubicBezTo>
                <a:lnTo>
                  <a:pt x="161925" y="190500"/>
                </a:lnTo>
                <a:lnTo>
                  <a:pt x="14288" y="190500"/>
                </a:lnTo>
                <a:cubicBezTo>
                  <a:pt x="6382" y="190500"/>
                  <a:pt x="0" y="184118"/>
                  <a:pt x="0" y="176213"/>
                </a:cubicBezTo>
                <a:cubicBezTo>
                  <a:pt x="0" y="168307"/>
                  <a:pt x="6382" y="161925"/>
                  <a:pt x="14288" y="161925"/>
                </a:cubicBezTo>
                <a:lnTo>
                  <a:pt x="161925" y="161925"/>
                </a:lnTo>
                <a:lnTo>
                  <a:pt x="161925" y="14288"/>
                </a:lnTo>
                <a:cubicBezTo>
                  <a:pt x="161925" y="6382"/>
                  <a:pt x="168307" y="0"/>
                  <a:pt x="176213" y="0"/>
                </a:cubicBezTo>
                <a:close/>
              </a:path>
            </a:pathLst>
          </a:custGeom>
          <a:solidFill>
            <a:srgbClr val="291817"/>
          </a:solidFill>
          <a:ln w="0" cap="flat">
            <a:noFill/>
            <a:prstDash val="solid"/>
            <a:miter/>
          </a:ln>
          <a:effectLst/>
        </p:spPr>
        <p:txBody>
          <a:bodyPr rtlCol="0" anchor="ctr"/>
          <a:lstStyle/>
          <a:p>
            <a:pPr marL="0" marR="0" lvl="0" indent="0" algn="l" defTabSz="6643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349" b="0" i="0" u="none" strike="noStrike" kern="1200" cap="none" spc="0" normalizeH="0" baseline="0" noProof="0">
              <a:ln>
                <a:noFill/>
              </a:ln>
              <a:gradFill>
                <a:gsLst>
                  <a:gs pos="12844">
                    <a:srgbClr val="291817"/>
                  </a:gs>
                  <a:gs pos="58000">
                    <a:srgbClr val="291817"/>
                  </a:gs>
                </a:gsLst>
                <a:path path="circle">
                  <a:fillToRect r="100000" b="100000"/>
                </a:path>
              </a:gradFill>
              <a:effectLst/>
              <a:uLnTx/>
              <a:uFillTx/>
              <a:latin typeface="Segoe UI Semibold (Headings)"/>
              <a:ea typeface="+mn-ea"/>
              <a:cs typeface="Segoe Sans Display Semibold" pitchFamily="2" charset="0"/>
            </a:endParaRPr>
          </a:p>
        </p:txBody>
      </p:sp>
      <p:sp>
        <p:nvSpPr>
          <p:cNvPr id="32" name="Graphic 9">
            <a:extLst>
              <a:ext uri="{FF2B5EF4-FFF2-40B4-BE49-F238E27FC236}">
                <a16:creationId xmlns:a16="http://schemas.microsoft.com/office/drawing/2014/main" id="{F3F8CC45-FD68-DB12-D372-6700312D0D8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4319066" y="5085504"/>
            <a:ext cx="160713" cy="160713"/>
          </a:xfrm>
          <a:custGeom>
            <a:avLst/>
            <a:gdLst>
              <a:gd name="connsiteX0" fmla="*/ 176213 w 352425"/>
              <a:gd name="connsiteY0" fmla="*/ 0 h 352425"/>
              <a:gd name="connsiteX1" fmla="*/ 190500 w 352425"/>
              <a:gd name="connsiteY1" fmla="*/ 14288 h 352425"/>
              <a:gd name="connsiteX2" fmla="*/ 190500 w 352425"/>
              <a:gd name="connsiteY2" fmla="*/ 161925 h 352425"/>
              <a:gd name="connsiteX3" fmla="*/ 338138 w 352425"/>
              <a:gd name="connsiteY3" fmla="*/ 161925 h 352425"/>
              <a:gd name="connsiteX4" fmla="*/ 352425 w 352425"/>
              <a:gd name="connsiteY4" fmla="*/ 176213 h 352425"/>
              <a:gd name="connsiteX5" fmla="*/ 338138 w 352425"/>
              <a:gd name="connsiteY5" fmla="*/ 190500 h 352425"/>
              <a:gd name="connsiteX6" fmla="*/ 190500 w 352425"/>
              <a:gd name="connsiteY6" fmla="*/ 190500 h 352425"/>
              <a:gd name="connsiteX7" fmla="*/ 190500 w 352425"/>
              <a:gd name="connsiteY7" fmla="*/ 338138 h 352425"/>
              <a:gd name="connsiteX8" fmla="*/ 176213 w 352425"/>
              <a:gd name="connsiteY8" fmla="*/ 352425 h 352425"/>
              <a:gd name="connsiteX9" fmla="*/ 161925 w 352425"/>
              <a:gd name="connsiteY9" fmla="*/ 338138 h 352425"/>
              <a:gd name="connsiteX10" fmla="*/ 161925 w 352425"/>
              <a:gd name="connsiteY10" fmla="*/ 190500 h 352425"/>
              <a:gd name="connsiteX11" fmla="*/ 14288 w 352425"/>
              <a:gd name="connsiteY11" fmla="*/ 190500 h 352425"/>
              <a:gd name="connsiteX12" fmla="*/ 0 w 352425"/>
              <a:gd name="connsiteY12" fmla="*/ 176213 h 352425"/>
              <a:gd name="connsiteX13" fmla="*/ 14288 w 352425"/>
              <a:gd name="connsiteY13" fmla="*/ 161925 h 352425"/>
              <a:gd name="connsiteX14" fmla="*/ 161925 w 352425"/>
              <a:gd name="connsiteY14" fmla="*/ 161925 h 352425"/>
              <a:gd name="connsiteX15" fmla="*/ 161925 w 352425"/>
              <a:gd name="connsiteY15" fmla="*/ 14288 h 352425"/>
              <a:gd name="connsiteX16" fmla="*/ 176213 w 352425"/>
              <a:gd name="connsiteY16" fmla="*/ 0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52425" h="352425">
                <a:moveTo>
                  <a:pt x="176213" y="0"/>
                </a:moveTo>
                <a:cubicBezTo>
                  <a:pt x="184118" y="0"/>
                  <a:pt x="190500" y="6382"/>
                  <a:pt x="190500" y="14288"/>
                </a:cubicBezTo>
                <a:lnTo>
                  <a:pt x="190500" y="161925"/>
                </a:lnTo>
                <a:lnTo>
                  <a:pt x="338138" y="161925"/>
                </a:lnTo>
                <a:cubicBezTo>
                  <a:pt x="346043" y="161925"/>
                  <a:pt x="352425" y="168307"/>
                  <a:pt x="352425" y="176213"/>
                </a:cubicBezTo>
                <a:cubicBezTo>
                  <a:pt x="352425" y="184118"/>
                  <a:pt x="346043" y="190500"/>
                  <a:pt x="338138" y="190500"/>
                </a:cubicBezTo>
                <a:lnTo>
                  <a:pt x="190500" y="190500"/>
                </a:lnTo>
                <a:lnTo>
                  <a:pt x="190500" y="338138"/>
                </a:lnTo>
                <a:cubicBezTo>
                  <a:pt x="190500" y="346043"/>
                  <a:pt x="184118" y="352425"/>
                  <a:pt x="176213" y="352425"/>
                </a:cubicBezTo>
                <a:cubicBezTo>
                  <a:pt x="168307" y="352425"/>
                  <a:pt x="161925" y="346043"/>
                  <a:pt x="161925" y="338138"/>
                </a:cubicBezTo>
                <a:lnTo>
                  <a:pt x="161925" y="190500"/>
                </a:lnTo>
                <a:lnTo>
                  <a:pt x="14288" y="190500"/>
                </a:lnTo>
                <a:cubicBezTo>
                  <a:pt x="6382" y="190500"/>
                  <a:pt x="0" y="184118"/>
                  <a:pt x="0" y="176213"/>
                </a:cubicBezTo>
                <a:cubicBezTo>
                  <a:pt x="0" y="168307"/>
                  <a:pt x="6382" y="161925"/>
                  <a:pt x="14288" y="161925"/>
                </a:cubicBezTo>
                <a:lnTo>
                  <a:pt x="161925" y="161925"/>
                </a:lnTo>
                <a:lnTo>
                  <a:pt x="161925" y="14288"/>
                </a:lnTo>
                <a:cubicBezTo>
                  <a:pt x="161925" y="6382"/>
                  <a:pt x="168307" y="0"/>
                  <a:pt x="176213" y="0"/>
                </a:cubicBezTo>
                <a:close/>
              </a:path>
            </a:pathLst>
          </a:custGeom>
          <a:solidFill>
            <a:srgbClr val="291817"/>
          </a:solidFill>
          <a:ln w="0" cap="flat">
            <a:noFill/>
            <a:prstDash val="solid"/>
            <a:miter/>
          </a:ln>
          <a:effectLst/>
        </p:spPr>
        <p:txBody>
          <a:bodyPr rtlCol="0" anchor="ctr"/>
          <a:lstStyle/>
          <a:p>
            <a:pPr marL="0" marR="0" lvl="0" indent="0" algn="l" defTabSz="6643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349" b="0" i="0" u="none" strike="noStrike" kern="1200" cap="none" spc="0" normalizeH="0" baseline="0" noProof="0">
              <a:ln>
                <a:noFill/>
              </a:ln>
              <a:gradFill>
                <a:gsLst>
                  <a:gs pos="12844">
                    <a:srgbClr val="291817"/>
                  </a:gs>
                  <a:gs pos="58000">
                    <a:srgbClr val="291817"/>
                  </a:gs>
                </a:gsLst>
                <a:path path="circle">
                  <a:fillToRect r="100000" b="100000"/>
                </a:path>
              </a:gradFill>
              <a:effectLst/>
              <a:uLnTx/>
              <a:uFillTx/>
              <a:latin typeface="Segoe UI Semibold (Headings)"/>
              <a:ea typeface="+mn-ea"/>
              <a:cs typeface="Segoe Sans Display Semibold" pitchFamily="2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003BAE74-BE87-9739-19B8-977542F0A273}"/>
              </a:ext>
            </a:extLst>
          </p:cNvPr>
          <p:cNvGrpSpPr>
            <a:grpSpLocks noChangeAspect="1"/>
          </p:cNvGrpSpPr>
          <p:nvPr/>
        </p:nvGrpSpPr>
        <p:grpSpPr>
          <a:xfrm>
            <a:off x="1353047" y="3165335"/>
            <a:ext cx="2682936" cy="1557750"/>
            <a:chOff x="879883" y="3216750"/>
            <a:chExt cx="2404402" cy="1398393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E1E62502-3C6A-E108-3C47-7A0FD2FDEDC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rcRect t="722" b="722"/>
            <a:stretch/>
          </p:blipFill>
          <p:spPr>
            <a:xfrm>
              <a:off x="879883" y="3216750"/>
              <a:ext cx="2279162" cy="1266675"/>
            </a:xfrm>
            <a:prstGeom prst="roundRect">
              <a:avLst>
                <a:gd name="adj" fmla="val 4418"/>
              </a:avLst>
            </a:prstGeom>
            <a:effectLst>
              <a:outerShdw blurRad="127000" dist="63500" dir="2700000" algn="tl" rotWithShape="0">
                <a:srgbClr val="291817">
                  <a:alpha val="20000"/>
                </a:srgbClr>
              </a:outerShdw>
            </a:effectLst>
          </p:spPr>
        </p:pic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3A18C789-04C8-F626-FB51-0E4761BF2AD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rcRect l="970" r="970"/>
            <a:stretch/>
          </p:blipFill>
          <p:spPr>
            <a:xfrm>
              <a:off x="2768601" y="3474499"/>
              <a:ext cx="515684" cy="1140644"/>
            </a:xfrm>
            <a:prstGeom prst="roundRect">
              <a:avLst>
                <a:gd name="adj" fmla="val 9561"/>
              </a:avLst>
            </a:prstGeom>
            <a:ln w="19050">
              <a:solidFill>
                <a:schemeClr val="tx1"/>
              </a:solidFill>
            </a:ln>
            <a:effectLst>
              <a:outerShdw blurRad="50800" dist="38100" dir="2700000" algn="ctr" rotWithShape="0">
                <a:srgbClr val="000000">
                  <a:alpha val="15000"/>
                </a:srgbClr>
              </a:outerShdw>
            </a:effectLst>
          </p:spPr>
        </p:pic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DD99F00E-B9DB-8E75-88C1-BDE244C455B1}"/>
              </a:ext>
            </a:extLst>
          </p:cNvPr>
          <p:cNvSpPr txBox="1"/>
          <p:nvPr/>
        </p:nvSpPr>
        <p:spPr>
          <a:xfrm>
            <a:off x="1322916" y="5293394"/>
            <a:ext cx="2743200" cy="43088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UI Semibold (Headings)"/>
                <a:ea typeface="+mn-ea"/>
                <a:cs typeface="+mn-cs"/>
              </a:rPr>
              <a:t>Free, secure AI chat –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UI Semibold (Headings)"/>
                <a:ea typeface="+mn-ea"/>
                <a:cs typeface="+mn-cs"/>
              </a:rPr>
              <a:t> powered by GPT 4o and web grounded 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UI Semibold (Headings)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6BF2419-3A50-5D1D-7453-28CC6508AFF7}"/>
              </a:ext>
            </a:extLst>
          </p:cNvPr>
          <p:cNvSpPr txBox="1"/>
          <p:nvPr/>
        </p:nvSpPr>
        <p:spPr>
          <a:xfrm>
            <a:off x="4729097" y="5293394"/>
            <a:ext cx="2743200" cy="43088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UI Semibold (Headings)"/>
                <a:ea typeface="+mn-ea"/>
                <a:cs typeface="+mn-cs"/>
              </a:rPr>
              <a:t>Integrated into the chat experience and paid for on a consumption basis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UI Semibold (Headings)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B4DE610-E040-0ACD-C35C-AD871B69D304}"/>
              </a:ext>
            </a:extLst>
          </p:cNvPr>
          <p:cNvSpPr txBox="1"/>
          <p:nvPr/>
        </p:nvSpPr>
        <p:spPr>
          <a:xfrm>
            <a:off x="8087375" y="5293394"/>
            <a:ext cx="2910468" cy="43088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UI Semibold (Headings)"/>
                <a:ea typeface="+mn-ea"/>
                <a:cs typeface="+mn-cs"/>
              </a:rPr>
              <a:t>Enterprise Data Protection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UI Semibold (Headings)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UI Semibold (Headings)"/>
                <a:ea typeface="+mn-ea"/>
                <a:cs typeface="+mn-cs"/>
              </a:rPr>
              <a:t>and agent management</a:t>
            </a:r>
            <a:endParaRPr kumimoji="0" lang="en-US" sz="1750" b="0" i="0" u="none" strike="noStrike" kern="1200" cap="none" spc="0" normalizeH="0" baseline="0" noProof="0" dirty="0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UI Semibold (Headings)"/>
              <a:ea typeface="+mn-ea"/>
              <a:cs typeface="+mn-cs"/>
            </a:endParaRPr>
          </a:p>
        </p:txBody>
      </p:sp>
      <p:pic>
        <p:nvPicPr>
          <p:cNvPr id="10" name="Picture 9" descr="A screenshot of a computer&#10;&#10;Description automatically generated">
            <a:extLst>
              <a:ext uri="{FF2B5EF4-FFF2-40B4-BE49-F238E27FC236}">
                <a16:creationId xmlns:a16="http://schemas.microsoft.com/office/drawing/2014/main" id="{28903B99-F8B2-02C4-ACED-9F5AE1F72AAF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64942" y="3127381"/>
            <a:ext cx="2355335" cy="1564206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ffectLst>
            <a:outerShdw blurRad="254000" dist="254000" dir="2700000" algn="ctr" rotWithShape="0">
              <a:srgbClr val="000000">
                <a:alpha val="15000"/>
              </a:srgbClr>
            </a:outerShdw>
          </a:effectLst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45743591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DC3623-D917-728B-EF3F-DC40FACC9B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3A671C0B-BE90-B7B3-C5A6-01E78687AA7D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584129" y="846181"/>
            <a:ext cx="5583236" cy="646331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50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-50" normalizeH="0" baseline="0" noProof="0" dirty="0">
                <a:ln w="3175"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Segoe UI Semibold"/>
              </a:rPr>
              <a:t>Agent Store</a:t>
            </a:r>
            <a:endParaRPr kumimoji="0" lang="en-US" sz="3600" b="0" i="0" u="none" strike="noStrike" kern="1200" cap="none" spc="-50" normalizeH="0" baseline="0" noProof="0" dirty="0">
              <a:ln w="3175"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n-ea"/>
              <a:cs typeface="Segoe UI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A002EF1-3D99-1626-34A6-2D6B9FFA8309}"/>
              </a:ext>
            </a:extLst>
          </p:cNvPr>
          <p:cNvSpPr txBox="1"/>
          <p:nvPr/>
        </p:nvSpPr>
        <p:spPr>
          <a:xfrm>
            <a:off x="574458" y="1432538"/>
            <a:ext cx="4023590" cy="584775"/>
          </a:xfrm>
          <a:prstGeom prst="rect">
            <a:avLst/>
          </a:prstGeom>
          <a:noFill/>
        </p:spPr>
        <p:txBody>
          <a:bodyPr wrap="square" lIns="0" tIns="45720" rIns="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90A8"/>
                </a:solidFill>
                <a:effectLst/>
                <a:uLnTx/>
                <a:uFillTx/>
                <a:latin typeface="Segoe UI Semibold"/>
                <a:ea typeface="+mn-ea"/>
                <a:cs typeface="Segoe UI Semibold"/>
                <a:sym typeface="Arial"/>
              </a:rPr>
              <a:t>A new marketplace for agents from Microsoft, partners, and customer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B4969B4-28E7-FEAF-524B-C461ECDF8649}"/>
              </a:ext>
            </a:extLst>
          </p:cNvPr>
          <p:cNvSpPr txBox="1"/>
          <p:nvPr/>
        </p:nvSpPr>
        <p:spPr>
          <a:xfrm>
            <a:off x="481587" y="2372227"/>
            <a:ext cx="3526055" cy="4031873"/>
          </a:xfrm>
          <a:prstGeom prst="rect">
            <a:avLst/>
          </a:prstGeom>
          <a:noFill/>
        </p:spPr>
        <p:txBody>
          <a:bodyPr wrap="square" lIns="0" tIns="45720" rIns="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/>
                <a:sym typeface="Arial"/>
              </a:rPr>
              <a:t>The Agent Store offers a personalized experience to discover agents that transform workflows and boost productivity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Segoe UI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lt"/>
              <a:cs typeface="Segoe UI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lt"/>
                <a:cs typeface="Segoe UI"/>
                <a:sym typeface="Arial"/>
              </a:rPr>
              <a:t>Share agents with colleagues via Copilot Chat or other Microsoft 365 Copilot endpoints to enhance collaboration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lt"/>
              <a:cs typeface="Segoe UI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/>
                <a:sym typeface="Arial"/>
              </a:rPr>
              <a:t>All agents undergo rigorous validation for functionality, security, and compliance, with full visibility and control for IT admins.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Segoe UI"/>
              <a:sym typeface="Arial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4629876E-A3F6-B681-A7E0-4E90C3C1E4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810200" y="3647571"/>
            <a:ext cx="3097430" cy="0"/>
          </a:xfrm>
          <a:prstGeom prst="line">
            <a:avLst/>
          </a:prstGeom>
          <a:ln>
            <a:solidFill>
              <a:srgbClr val="EAEAEA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F42CE876-69AA-766B-AE7E-BF2016DE34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07642" y="1296946"/>
            <a:ext cx="8122725" cy="4714873"/>
          </a:xfrm>
          <a:prstGeom prst="rect">
            <a:avLst/>
          </a:prstGeom>
        </p:spPr>
      </p:pic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FA9F243-8E1B-718C-02DC-9DC9B5BF5D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726856" y="5078702"/>
            <a:ext cx="3097430" cy="0"/>
          </a:xfrm>
          <a:prstGeom prst="line">
            <a:avLst/>
          </a:prstGeom>
          <a:ln>
            <a:solidFill>
              <a:srgbClr val="EAEAEA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18" descr="Public Preview">
            <a:extLst>
              <a:ext uri="{FF2B5EF4-FFF2-40B4-BE49-F238E27FC236}">
                <a16:creationId xmlns:a16="http://schemas.microsoft.com/office/drawing/2014/main" id="{83347F71-8CA2-76C6-D3CF-ED5E46D415E0}"/>
              </a:ext>
            </a:extLst>
          </p:cNvPr>
          <p:cNvGrpSpPr/>
          <p:nvPr/>
        </p:nvGrpSpPr>
        <p:grpSpPr>
          <a:xfrm>
            <a:off x="10238446" y="-31898"/>
            <a:ext cx="1712069" cy="719847"/>
            <a:chOff x="10038944" y="-1"/>
            <a:chExt cx="1712069" cy="719847"/>
          </a:xfrm>
        </p:grpSpPr>
        <p:sp>
          <p:nvSpPr>
            <p:cNvPr id="21" name="Rectangle: Top Corners Rounded 21">
              <a:extLst>
                <a:ext uri="{FF2B5EF4-FFF2-40B4-BE49-F238E27FC236}">
                  <a16:creationId xmlns:a16="http://schemas.microsoft.com/office/drawing/2014/main" id="{225AF925-C53C-B649-4B6B-CDEFCB9533EC}"/>
                </a:ext>
              </a:extLst>
            </p:cNvPr>
            <p:cNvSpPr/>
            <p:nvPr/>
          </p:nvSpPr>
          <p:spPr bwMode="auto">
            <a:xfrm flipV="1">
              <a:off x="10038944" y="-1"/>
              <a:ext cx="1712069" cy="719847"/>
            </a:xfrm>
            <a:prstGeom prst="round2SameRect">
              <a:avLst/>
            </a:prstGeom>
            <a:solidFill>
              <a:srgbClr val="0090A8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114300" dist="38100" dir="5400000" algn="t" rotWithShape="0">
                <a:prstClr val="black">
                  <a:alpha val="23000"/>
                </a:prstClr>
              </a:outerShdw>
            </a:effectLst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  <a:sym typeface="Arial"/>
              </a:endParaRPr>
            </a:p>
          </p:txBody>
        </p:sp>
        <p:sp>
          <p:nvSpPr>
            <p:cNvPr id="22" name="Title 13">
              <a:extLst>
                <a:ext uri="{FF2B5EF4-FFF2-40B4-BE49-F238E27FC236}">
                  <a16:creationId xmlns:a16="http://schemas.microsoft.com/office/drawing/2014/main" id="{41170806-79A6-E4E6-ECEC-D1ADFB807649}"/>
                </a:ext>
              </a:extLst>
            </p:cNvPr>
            <p:cNvSpPr txBox="1">
              <a:spLocks/>
            </p:cNvSpPr>
            <p:nvPr/>
          </p:nvSpPr>
          <p:spPr>
            <a:xfrm>
              <a:off x="10135736" y="206033"/>
              <a:ext cx="1518484" cy="307777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algn="l" defTabSz="932742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lang="en-US" sz="3600" b="0" kern="1200" cap="none" spc="-50" baseline="0" dirty="0" smtClean="0">
                  <a:ln w="3175">
                    <a:noFill/>
                  </a:ln>
                  <a:solidFill>
                    <a:schemeClr val="tx1"/>
                  </a:solidFill>
                  <a:effectLst/>
                  <a:latin typeface="+mj-lt"/>
                  <a:ea typeface="+mn-ea"/>
                  <a:cs typeface="Segoe UI" pitchFamily="34" charset="0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/>
                  <a:ea typeface="+mn-ea"/>
                  <a:cs typeface="Segoe UI"/>
                  <a:sym typeface="Arial"/>
                </a:rPr>
                <a:t>GA</a:t>
              </a:r>
              <a:endPara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" pitchFamily="34" charset="0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34267203"/>
      </p:ext>
    </p:extLst>
  </p:cSld>
  <p:clrMapOvr>
    <a:masterClrMapping/>
  </p:clrMapOvr>
  <p:transition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E2A906D-DAF4-AEA4-11FB-D9D7AF4F510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4550735" y="0"/>
            <a:ext cx="7641265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  <a:sym typeface="Arial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9DD9D25E-5AD0-C8C4-6F57-1F3F1CEC70CE}"/>
              </a:ext>
            </a:extLst>
          </p:cNvPr>
          <p:cNvSpPr txBox="1">
            <a:spLocks/>
          </p:cNvSpPr>
          <p:nvPr/>
        </p:nvSpPr>
        <p:spPr>
          <a:xfrm>
            <a:off x="985468" y="304323"/>
            <a:ext cx="3409188" cy="738664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50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Sans Display" pitchFamily="2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HK" sz="2400" b="0" i="0" u="none" strike="noStrike" kern="1200" cap="none" spc="0" normalizeH="0" baseline="0" noProof="0" dirty="0">
                <a:ln w="3175"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Display Semibold"/>
                <a:ea typeface="+mn-ea"/>
                <a:cs typeface="Segoe Sans Display Semibold"/>
                <a:sym typeface="Arial"/>
              </a:rPr>
              <a:t>Researcher agent</a:t>
            </a:r>
            <a:endParaRPr kumimoji="0" lang="en-HK" sz="2400" b="0" i="0" u="none" strike="noStrike" kern="1200" cap="none" spc="0" normalizeH="0" baseline="0" noProof="0" dirty="0">
              <a:ln w="3175">
                <a:noFill/>
              </a:ln>
              <a:solidFill>
                <a:srgbClr val="000000"/>
              </a:solidFill>
              <a:effectLst/>
              <a:uLnTx/>
              <a:uFillTx/>
              <a:latin typeface="Segoe Sans Display Semibold"/>
              <a:ea typeface="+mn-ea"/>
              <a:cs typeface="Segoe Sans Display" pitchFamily="2" charset="0"/>
              <a:sym typeface="Arial"/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13D0BCA3-E522-FD00-CEB7-49AD38A331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515" y="188611"/>
            <a:ext cx="622953" cy="6229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Reseacher agents">
            <a:hlinkClick r:id="" action="ppaction://media"/>
            <a:extLst>
              <a:ext uri="{FF2B5EF4-FFF2-40B4-BE49-F238E27FC236}">
                <a16:creationId xmlns:a16="http://schemas.microsoft.com/office/drawing/2014/main" id="{A2F51843-6214-4FEE-924D-A552E94A7541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rcRect b="4484"/>
          <a:stretch>
            <a:fillRect/>
          </a:stretch>
        </p:blipFill>
        <p:spPr>
          <a:xfrm>
            <a:off x="3407560" y="1074885"/>
            <a:ext cx="9832990" cy="5283053"/>
          </a:xfrm>
          <a:prstGeom prst="rect">
            <a:avLst/>
          </a:prstGeom>
        </p:spPr>
      </p:pic>
      <p:grpSp>
        <p:nvGrpSpPr>
          <p:cNvPr id="10" name="Group 9" descr="Public Preview">
            <a:extLst>
              <a:ext uri="{FF2B5EF4-FFF2-40B4-BE49-F238E27FC236}">
                <a16:creationId xmlns:a16="http://schemas.microsoft.com/office/drawing/2014/main" id="{17F0620F-0DBA-87F7-0377-A328239B6908}"/>
              </a:ext>
            </a:extLst>
          </p:cNvPr>
          <p:cNvGrpSpPr/>
          <p:nvPr/>
        </p:nvGrpSpPr>
        <p:grpSpPr>
          <a:xfrm>
            <a:off x="10238446" y="-31898"/>
            <a:ext cx="1712069" cy="719847"/>
            <a:chOff x="10038944" y="-1"/>
            <a:chExt cx="1712069" cy="719847"/>
          </a:xfrm>
        </p:grpSpPr>
        <p:sp>
          <p:nvSpPr>
            <p:cNvPr id="11" name="Rectangle: Top Corners Rounded 21">
              <a:extLst>
                <a:ext uri="{FF2B5EF4-FFF2-40B4-BE49-F238E27FC236}">
                  <a16:creationId xmlns:a16="http://schemas.microsoft.com/office/drawing/2014/main" id="{079814BE-8274-1558-B379-D2E8D012B65E}"/>
                </a:ext>
              </a:extLst>
            </p:cNvPr>
            <p:cNvSpPr/>
            <p:nvPr/>
          </p:nvSpPr>
          <p:spPr bwMode="auto">
            <a:xfrm flipV="1">
              <a:off x="10038944" y="-1"/>
              <a:ext cx="1712069" cy="719847"/>
            </a:xfrm>
            <a:prstGeom prst="round2SameRect">
              <a:avLst/>
            </a:prstGeom>
            <a:solidFill>
              <a:srgbClr val="0090A8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114300" dist="38100" dir="5400000" algn="t" rotWithShape="0">
                <a:prstClr val="black">
                  <a:alpha val="23000"/>
                </a:prstClr>
              </a:outerShdw>
            </a:effectLst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  <a:sym typeface="Arial"/>
              </a:endParaRPr>
            </a:p>
          </p:txBody>
        </p:sp>
        <p:sp>
          <p:nvSpPr>
            <p:cNvPr id="12" name="Title 13">
              <a:extLst>
                <a:ext uri="{FF2B5EF4-FFF2-40B4-BE49-F238E27FC236}">
                  <a16:creationId xmlns:a16="http://schemas.microsoft.com/office/drawing/2014/main" id="{80A6B1A6-CA8A-C2A7-9904-520DFC1BFE12}"/>
                </a:ext>
              </a:extLst>
            </p:cNvPr>
            <p:cNvSpPr txBox="1">
              <a:spLocks/>
            </p:cNvSpPr>
            <p:nvPr/>
          </p:nvSpPr>
          <p:spPr>
            <a:xfrm>
              <a:off x="10135736" y="206033"/>
              <a:ext cx="1518484" cy="307777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algn="l" defTabSz="932742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lang="en-US" sz="3600" b="0" kern="1200" cap="none" spc="-50" baseline="0" dirty="0" smtClean="0">
                  <a:ln w="3175">
                    <a:noFill/>
                  </a:ln>
                  <a:solidFill>
                    <a:schemeClr val="tx1"/>
                  </a:solidFill>
                  <a:effectLst/>
                  <a:latin typeface="+mj-lt"/>
                  <a:ea typeface="+mn-ea"/>
                  <a:cs typeface="Segoe UI" pitchFamily="34" charset="0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/>
                  <a:ea typeface="+mn-ea"/>
                  <a:cs typeface="Segoe UI"/>
                  <a:sym typeface="Arial"/>
                </a:rPr>
                <a:t>GA</a:t>
              </a:r>
              <a:endPara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" pitchFamily="34" charset="0"/>
                <a:sym typeface="Arial"/>
              </a:endParaRPr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B01FAEE3-F843-7092-8D21-7C57D078C798}"/>
              </a:ext>
            </a:extLst>
          </p:cNvPr>
          <p:cNvSpPr txBox="1"/>
          <p:nvPr/>
        </p:nvSpPr>
        <p:spPr>
          <a:xfrm>
            <a:off x="0" y="6553677"/>
            <a:ext cx="1122334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HK" sz="1200" dirty="0">
                <a:hlinkClick r:id="rId6"/>
              </a:rPr>
              <a:t>https://www.microsoft.com/en-us/microsoft-365/blog/2025/03/25/introducing-researcher-and-analyst-in-microsoft-365-copilot/</a:t>
            </a:r>
            <a:endParaRPr lang="en-HK" sz="1200" dirty="0"/>
          </a:p>
          <a:p>
            <a:endParaRPr lang="en-HK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99CFB73-9E9E-77AC-7CE4-702D03B88A81}"/>
              </a:ext>
            </a:extLst>
          </p:cNvPr>
          <p:cNvSpPr txBox="1"/>
          <p:nvPr/>
        </p:nvSpPr>
        <p:spPr>
          <a:xfrm>
            <a:off x="114264" y="927276"/>
            <a:ext cx="3176481" cy="56374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lvl="0" indent="-285750" defTabSz="914367">
              <a:spcAft>
                <a:spcPts val="1000"/>
              </a:spcAft>
              <a:buClrTx/>
              <a:buFont typeface="Arial" panose="020B0604020202020204" pitchFamily="34" charset="0"/>
              <a:buChar char="•"/>
              <a:defRPr/>
            </a:pPr>
            <a:r>
              <a:rPr lang="en-US" dirty="0"/>
              <a:t>Tackle complex, multi-step research at work</a:t>
            </a:r>
            <a:endParaRPr lang="en-US" kern="1200" dirty="0">
              <a:latin typeface="Segoe UI"/>
              <a:ea typeface="+mj-lt"/>
              <a:cs typeface="Segoe Sans Display"/>
            </a:endParaRPr>
          </a:p>
          <a:p>
            <a:pPr marL="285750" lvl="0" indent="-285750" defTabSz="914367">
              <a:spcAft>
                <a:spcPts val="1000"/>
              </a:spcAft>
              <a:buClrTx/>
              <a:buFont typeface="Arial" panose="020B0604020202020204" pitchFamily="34" charset="0"/>
              <a:buChar char="•"/>
              <a:defRPr/>
            </a:pPr>
            <a:r>
              <a:rPr lang="en-US" kern="1200" dirty="0">
                <a:latin typeface="Segoe UI"/>
                <a:ea typeface="+mj-lt"/>
                <a:cs typeface="Segoe Sans Display"/>
              </a:rPr>
              <a:t>Combines OpenAI’s deep research model with Microsoft 365 Copilot’s advanced orchestration and deep search capabilities</a:t>
            </a:r>
          </a:p>
          <a:p>
            <a:pPr marL="285750" lvl="0" indent="-285750" defTabSz="914367">
              <a:spcAft>
                <a:spcPts val="1000"/>
              </a:spcAft>
              <a:buClrTx/>
              <a:buFont typeface="Arial" panose="020B0604020202020204" pitchFamily="34" charset="0"/>
              <a:buChar char="•"/>
              <a:defRPr/>
            </a:pPr>
            <a:r>
              <a:rPr lang="en-US" kern="1200" dirty="0">
                <a:latin typeface="Segoe UI"/>
                <a:ea typeface="+mj-lt"/>
                <a:cs typeface="Segoe Sans Display"/>
              </a:rPr>
              <a:t>Allow</a:t>
            </a:r>
            <a:r>
              <a:rPr lang="zh-TW" altLang="en-US" kern="1200" dirty="0">
                <a:latin typeface="Segoe UI"/>
                <a:ea typeface="+mj-lt"/>
                <a:cs typeface="Segoe Sans Display"/>
              </a:rPr>
              <a:t> </a:t>
            </a:r>
            <a:r>
              <a:rPr lang="en-US" kern="1200" dirty="0">
                <a:latin typeface="Segoe UI"/>
                <a:ea typeface="+mj-lt"/>
                <a:cs typeface="Segoe Sans Display"/>
              </a:rPr>
              <a:t>integrating data from external sources, such as Salesforce, ServiceNow, Confluence, and more</a:t>
            </a:r>
          </a:p>
          <a:p>
            <a:pPr lvl="0" defTabSz="914367">
              <a:spcAft>
                <a:spcPts val="1000"/>
              </a:spcAft>
              <a:buClrTx/>
              <a:defRPr/>
            </a:pPr>
            <a:endParaRPr lang="en-US" kern="1200" dirty="0">
              <a:latin typeface="Segoe UI"/>
              <a:ea typeface="+mj-lt"/>
              <a:cs typeface="Segoe Sans Display"/>
            </a:endParaRPr>
          </a:p>
          <a:p>
            <a:pPr lvl="0" defTabSz="914367">
              <a:spcAft>
                <a:spcPts val="1000"/>
              </a:spcAft>
              <a:buClrTx/>
              <a:defRPr/>
            </a:pPr>
            <a:r>
              <a:rPr lang="en-US" kern="1200" dirty="0">
                <a:latin typeface="Segoe UI"/>
                <a:ea typeface="+mj-lt"/>
                <a:cs typeface="Segoe Sans Display"/>
              </a:rPr>
              <a:t>Sample scenarios:</a:t>
            </a:r>
          </a:p>
          <a:p>
            <a:pPr marL="285750" lvl="2" indent="-285750" defTabSz="914367">
              <a:spcAft>
                <a:spcPts val="1000"/>
              </a:spcAft>
              <a:buClrTx/>
              <a:buFont typeface="Arial" panose="020B0604020202020204" pitchFamily="34" charset="0"/>
              <a:buChar char="•"/>
              <a:defRPr/>
            </a:pPr>
            <a:r>
              <a:rPr lang="en-US" dirty="0"/>
              <a:t>build a detailed go-to-market strategy based on the context of all your work data and broader competitive data from the web</a:t>
            </a:r>
          </a:p>
          <a:p>
            <a:pPr marL="285750" lvl="2" indent="-285750" defTabSz="914367">
              <a:spcAft>
                <a:spcPts val="1000"/>
              </a:spcAft>
              <a:buClrTx/>
              <a:buFont typeface="Arial" panose="020B0604020202020204" pitchFamily="34" charset="0"/>
              <a:buChar char="•"/>
              <a:defRPr/>
            </a:pPr>
            <a:r>
              <a:rPr lang="en-US" dirty="0"/>
              <a:t>Identify whitespace opportunities for a new product based on emerging trends and internal data</a:t>
            </a:r>
          </a:p>
          <a:p>
            <a:pPr marL="285750" lvl="2" indent="-285750" defTabSz="914367">
              <a:spcAft>
                <a:spcPts val="1000"/>
              </a:spcAft>
              <a:buClrTx/>
              <a:buFont typeface="Arial" panose="020B0604020202020204" pitchFamily="34" charset="0"/>
              <a:buChar char="•"/>
              <a:defRPr/>
            </a:pPr>
            <a:r>
              <a:rPr lang="en-US" dirty="0"/>
              <a:t>create a comprehensive quarterly report for a client review detailing work to date along with the latest market analysis</a:t>
            </a:r>
          </a:p>
        </p:txBody>
      </p:sp>
    </p:spTree>
    <p:extLst>
      <p:ext uri="{BB962C8B-B14F-4D97-AF65-F5344CB8AC3E}">
        <p14:creationId xmlns:p14="http://schemas.microsoft.com/office/powerpoint/2010/main" val="344618512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7010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9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9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9"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55F90B8-C915-BCC0-065F-81551FB706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4550735" y="0"/>
            <a:ext cx="7641265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  <a:sym typeface="Arial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BD32F65A-63FE-BDFA-C736-F31A8526DB46}"/>
              </a:ext>
            </a:extLst>
          </p:cNvPr>
          <p:cNvSpPr txBox="1">
            <a:spLocks/>
          </p:cNvSpPr>
          <p:nvPr/>
        </p:nvSpPr>
        <p:spPr>
          <a:xfrm>
            <a:off x="1141547" y="218317"/>
            <a:ext cx="3409188" cy="738664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50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Sans Display" pitchFamily="2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HK" sz="2400" b="0" i="0" u="none" strike="noStrike" kern="1200" cap="none" spc="-50" normalizeH="0" baseline="0" noProof="0" dirty="0">
                <a:ln w="3175"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Display Semibold"/>
                <a:ea typeface="+mn-ea"/>
                <a:cs typeface="Segoe Sans Display Semibold"/>
                <a:sym typeface="Arial"/>
              </a:rPr>
              <a:t>Analyst agent</a:t>
            </a:r>
            <a:endParaRPr kumimoji="0" lang="en-HK" sz="2400" b="0" i="0" u="none" strike="noStrike" kern="1200" cap="none" spc="-50" normalizeH="0" baseline="0" noProof="0" dirty="0">
              <a:ln w="3175">
                <a:noFill/>
              </a:ln>
              <a:solidFill>
                <a:srgbClr val="091F2C"/>
              </a:solidFill>
              <a:effectLst/>
              <a:uLnTx/>
              <a:uFillTx/>
              <a:latin typeface="Segoe Sans Display Semibold"/>
              <a:ea typeface="+mn-ea"/>
              <a:cs typeface="Segoe Sans Display" pitchFamily="2" charset="0"/>
              <a:sym typeface="Arial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F2195DA-3111-CAD3-B54B-78DF0E03E33A}"/>
              </a:ext>
            </a:extLst>
          </p:cNvPr>
          <p:cNvSpPr/>
          <p:nvPr/>
        </p:nvSpPr>
        <p:spPr>
          <a:xfrm>
            <a:off x="423208" y="1556792"/>
            <a:ext cx="2641461" cy="3054169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285750" lvl="0" indent="-285750" defTabSz="914367">
              <a:lnSpc>
                <a:spcPct val="113999"/>
              </a:lnSpc>
              <a:spcAft>
                <a:spcPts val="1000"/>
              </a:spcAft>
              <a:buClrTx/>
              <a:buFont typeface="Arial" panose="020B0604020202020204" pitchFamily="34" charset="0"/>
              <a:buChar char="•"/>
              <a:defRPr/>
            </a:pPr>
            <a:r>
              <a:rPr lang="en-US" dirty="0"/>
              <a:t>Built on OpenAI’s o3-mini reasoning model and optimized to do advanced data analysis at work</a:t>
            </a:r>
          </a:p>
          <a:p>
            <a:pPr marL="285750" lvl="0" indent="-285750" defTabSz="914367">
              <a:lnSpc>
                <a:spcPct val="113999"/>
              </a:lnSpc>
              <a:spcAft>
                <a:spcPts val="1000"/>
              </a:spcAft>
              <a:buClrTx/>
              <a:buFont typeface="Arial" panose="020B0604020202020204" pitchFamily="34" charset="0"/>
              <a:buChar char="•"/>
              <a:defRPr/>
            </a:pPr>
            <a:r>
              <a:rPr lang="en-US" dirty="0"/>
              <a:t>Uses chain-of-thought reasoning to progress through problems iteratively, taking as many steps as necessary to refine its reasoning and provide a high-quality answer that mirrors human analytical thinking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Sans Display"/>
              <a:ea typeface="+mn-ea"/>
              <a:cs typeface="Arial"/>
              <a:sym typeface="Arial"/>
            </a:endParaRP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461BA297-A8B1-654D-9974-E676DC6486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764" y="174136"/>
            <a:ext cx="699655" cy="6996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Group 8" descr="Public Preview">
            <a:extLst>
              <a:ext uri="{FF2B5EF4-FFF2-40B4-BE49-F238E27FC236}">
                <a16:creationId xmlns:a16="http://schemas.microsoft.com/office/drawing/2014/main" id="{578C7DAB-7961-5584-A670-7E540F08F1D1}"/>
              </a:ext>
            </a:extLst>
          </p:cNvPr>
          <p:cNvGrpSpPr/>
          <p:nvPr/>
        </p:nvGrpSpPr>
        <p:grpSpPr>
          <a:xfrm>
            <a:off x="10238446" y="-31898"/>
            <a:ext cx="1712069" cy="719847"/>
            <a:chOff x="10038944" y="-1"/>
            <a:chExt cx="1712069" cy="719847"/>
          </a:xfrm>
        </p:grpSpPr>
        <p:sp>
          <p:nvSpPr>
            <p:cNvPr id="10" name="Rectangle: Top Corners Rounded 21">
              <a:extLst>
                <a:ext uri="{FF2B5EF4-FFF2-40B4-BE49-F238E27FC236}">
                  <a16:creationId xmlns:a16="http://schemas.microsoft.com/office/drawing/2014/main" id="{506523F5-7CFD-1232-7CE8-5E11CC85D8FF}"/>
                </a:ext>
              </a:extLst>
            </p:cNvPr>
            <p:cNvSpPr/>
            <p:nvPr/>
          </p:nvSpPr>
          <p:spPr bwMode="auto">
            <a:xfrm flipV="1">
              <a:off x="10038944" y="-1"/>
              <a:ext cx="1712069" cy="719847"/>
            </a:xfrm>
            <a:prstGeom prst="round2SameRect">
              <a:avLst/>
            </a:prstGeom>
            <a:solidFill>
              <a:srgbClr val="0090A8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114300" dist="38100" dir="5400000" algn="t" rotWithShape="0">
                <a:prstClr val="black">
                  <a:alpha val="23000"/>
                </a:prstClr>
              </a:outerShdw>
            </a:effectLst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  <a:sym typeface="Arial"/>
              </a:endParaRPr>
            </a:p>
          </p:txBody>
        </p:sp>
        <p:sp>
          <p:nvSpPr>
            <p:cNvPr id="11" name="Title 13">
              <a:extLst>
                <a:ext uri="{FF2B5EF4-FFF2-40B4-BE49-F238E27FC236}">
                  <a16:creationId xmlns:a16="http://schemas.microsoft.com/office/drawing/2014/main" id="{A6E0D2A8-B927-F838-65D1-863906FE4DBD}"/>
                </a:ext>
              </a:extLst>
            </p:cNvPr>
            <p:cNvSpPr txBox="1">
              <a:spLocks/>
            </p:cNvSpPr>
            <p:nvPr/>
          </p:nvSpPr>
          <p:spPr>
            <a:xfrm>
              <a:off x="10135736" y="206033"/>
              <a:ext cx="1518484" cy="307777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algn="l" defTabSz="932742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lang="en-US" sz="3600" b="0" kern="1200" cap="none" spc="-50" baseline="0" dirty="0" smtClean="0">
                  <a:ln w="3175">
                    <a:noFill/>
                  </a:ln>
                  <a:solidFill>
                    <a:schemeClr val="tx1"/>
                  </a:solidFill>
                  <a:effectLst/>
                  <a:latin typeface="+mj-lt"/>
                  <a:ea typeface="+mn-ea"/>
                  <a:cs typeface="Segoe UI" pitchFamily="34" charset="0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/>
                  <a:ea typeface="+mn-ea"/>
                  <a:cs typeface="Segoe UI"/>
                  <a:sym typeface="Arial"/>
                </a:rPr>
                <a:t>GA</a:t>
              </a:r>
              <a:endPara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" pitchFamily="34" charset="0"/>
                <a:sym typeface="Arial"/>
              </a:endParaRPr>
            </a:p>
          </p:txBody>
        </p:sp>
      </p:grpSp>
      <p:pic>
        <p:nvPicPr>
          <p:cNvPr id="13" name="Analyst Agent">
            <a:hlinkClick r:id="" action="ppaction://media"/>
            <a:extLst>
              <a:ext uri="{FF2B5EF4-FFF2-40B4-BE49-F238E27FC236}">
                <a16:creationId xmlns:a16="http://schemas.microsoft.com/office/drawing/2014/main" id="{B832B233-56C2-8C98-D673-A15FF11CF2A1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3170238" y="855750"/>
            <a:ext cx="9664700" cy="5436394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93C87924-29F5-A374-5E86-BAE7EEB3BDCA}"/>
              </a:ext>
            </a:extLst>
          </p:cNvPr>
          <p:cNvSpPr txBox="1"/>
          <p:nvPr/>
        </p:nvSpPr>
        <p:spPr>
          <a:xfrm>
            <a:off x="0" y="6545520"/>
            <a:ext cx="1088957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HK" sz="1200" dirty="0">
                <a:hlinkClick r:id="rId6"/>
              </a:rPr>
              <a:t>https://techcommunity.microsoft.com/blog/microsoft365copilotblog/analyst-agent-in-microsoft-365-copilot/4397191</a:t>
            </a:r>
            <a:endParaRPr lang="en-HK" sz="1200" dirty="0"/>
          </a:p>
        </p:txBody>
      </p:sp>
    </p:spTree>
    <p:extLst>
      <p:ext uri="{BB962C8B-B14F-4D97-AF65-F5344CB8AC3E}">
        <p14:creationId xmlns:p14="http://schemas.microsoft.com/office/powerpoint/2010/main" val="353617836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52583" fill="hold"/>
                                        <p:tgtEl>
                                          <p:spTgt spid="1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1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3"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047B37-7C9A-4A75-F5E7-634514B811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6D0F8A7B-D388-A939-EC47-6622A216F9DC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311650" y="832240"/>
            <a:ext cx="9832604" cy="5987747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EFA75C5B-70DC-55FF-E52B-16FC91AD3884}"/>
              </a:ext>
            </a:extLst>
          </p:cNvPr>
          <p:cNvSpPr txBox="1"/>
          <p:nvPr/>
        </p:nvSpPr>
        <p:spPr>
          <a:xfrm>
            <a:off x="9341756" y="3275112"/>
            <a:ext cx="1704910" cy="153888"/>
          </a:xfrm>
          <a:prstGeom prst="rect">
            <a:avLst/>
          </a:prstGeom>
          <a:solidFill>
            <a:srgbClr val="FFE399">
              <a:alpha val="25000"/>
            </a:srgbClr>
          </a:solidFill>
        </p:spPr>
        <p:txBody>
          <a:bodyPr wrap="square" lIns="0" tIns="0" rIns="0" bIns="0" rtlCol="0">
            <a:spAutoFit/>
          </a:bodyPr>
          <a:lstStyle/>
          <a:p>
            <a:pPr defTabSz="914230">
              <a:buClrTx/>
            </a:pPr>
            <a:endParaRPr lang="en-US" sz="1000" kern="1200" err="1">
              <a:latin typeface="Segoe UI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B4B46A0-7CFA-EC21-39D4-8B3DE8BB9E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5" y="121444"/>
            <a:ext cx="11017250" cy="554038"/>
          </a:xfrm>
        </p:spPr>
        <p:txBody>
          <a:bodyPr/>
          <a:lstStyle/>
          <a:p>
            <a:pPr algn="ctr"/>
            <a:r>
              <a:rPr lang="en-HK" dirty="0"/>
              <a:t>Agent Builder</a:t>
            </a:r>
          </a:p>
        </p:txBody>
      </p:sp>
    </p:spTree>
    <p:extLst>
      <p:ext uri="{BB962C8B-B14F-4D97-AF65-F5344CB8AC3E}">
        <p14:creationId xmlns:p14="http://schemas.microsoft.com/office/powerpoint/2010/main" val="237229716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D4FCC3-D64C-D4ED-A4CE-9859930683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31E225F2-8BEC-41AC-E629-EA6889FF25A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050107" y="287723"/>
            <a:ext cx="10171661" cy="6212223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F1716010-3F8E-C109-329E-9A2B08998384}"/>
              </a:ext>
            </a:extLst>
          </p:cNvPr>
          <p:cNvSpPr txBox="1"/>
          <p:nvPr/>
        </p:nvSpPr>
        <p:spPr>
          <a:xfrm>
            <a:off x="2308185" y="1888241"/>
            <a:ext cx="3787815" cy="153888"/>
          </a:xfrm>
          <a:prstGeom prst="rect">
            <a:avLst/>
          </a:prstGeom>
          <a:solidFill>
            <a:srgbClr val="FFE399">
              <a:alpha val="25000"/>
            </a:srgbClr>
          </a:solidFill>
        </p:spPr>
        <p:txBody>
          <a:bodyPr wrap="square" lIns="0" tIns="0" rIns="0" bIns="0" rtlCol="0">
            <a:spAutoFit/>
          </a:bodyPr>
          <a:lstStyle/>
          <a:p>
            <a:pPr defTabSz="914230">
              <a:buClrTx/>
            </a:pPr>
            <a:endParaRPr lang="en-US" sz="1000" kern="1200" err="1">
              <a:latin typeface="Segoe UI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B4A7377-7447-EC21-54AE-C153C39A9CBE}"/>
              </a:ext>
            </a:extLst>
          </p:cNvPr>
          <p:cNvSpPr txBox="1"/>
          <p:nvPr/>
        </p:nvSpPr>
        <p:spPr>
          <a:xfrm>
            <a:off x="2308184" y="3734287"/>
            <a:ext cx="3679607" cy="153888"/>
          </a:xfrm>
          <a:prstGeom prst="rect">
            <a:avLst/>
          </a:prstGeom>
          <a:solidFill>
            <a:srgbClr val="FFE399">
              <a:alpha val="25000"/>
            </a:srgbClr>
          </a:solidFill>
        </p:spPr>
        <p:txBody>
          <a:bodyPr wrap="square" lIns="0" tIns="0" rIns="0" bIns="0" rtlCol="0">
            <a:spAutoFit/>
          </a:bodyPr>
          <a:lstStyle/>
          <a:p>
            <a:pPr defTabSz="914230">
              <a:buClrTx/>
            </a:pPr>
            <a:endParaRPr lang="en-US" sz="1000" kern="1200" err="1">
              <a:latin typeface="Segoe UI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6391763-D56D-CAC4-C081-871F5FA7DE9F}"/>
              </a:ext>
            </a:extLst>
          </p:cNvPr>
          <p:cNvSpPr txBox="1"/>
          <p:nvPr/>
        </p:nvSpPr>
        <p:spPr>
          <a:xfrm>
            <a:off x="2338161" y="4571657"/>
            <a:ext cx="3757838" cy="153888"/>
          </a:xfrm>
          <a:prstGeom prst="rect">
            <a:avLst/>
          </a:prstGeom>
          <a:solidFill>
            <a:srgbClr val="FFE399">
              <a:alpha val="25000"/>
            </a:srgbClr>
          </a:solidFill>
        </p:spPr>
        <p:txBody>
          <a:bodyPr wrap="square" lIns="0" tIns="0" rIns="0" bIns="0" rtlCol="0">
            <a:spAutoFit/>
          </a:bodyPr>
          <a:lstStyle/>
          <a:p>
            <a:pPr defTabSz="914230">
              <a:buClrTx/>
            </a:pPr>
            <a:endParaRPr lang="en-US" sz="1000" kern="1200" err="1"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4399099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2" grpId="0" animBg="1"/>
      <p:bldP spid="3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5B6E9F1-06FF-206B-13F9-C6DEA4505B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HK" dirty="0"/>
              <a:t>Latest Updates</a:t>
            </a:r>
          </a:p>
        </p:txBody>
      </p:sp>
    </p:spTree>
    <p:extLst>
      <p:ext uri="{BB962C8B-B14F-4D97-AF65-F5344CB8AC3E}">
        <p14:creationId xmlns:p14="http://schemas.microsoft.com/office/powerpoint/2010/main" val="261507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183255-CCA9-48A7-F8BC-413E09DC80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84743CC8-BAA6-99E4-12D1-A26155F1BD6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074295" y="287723"/>
            <a:ext cx="10123285" cy="621222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8B314B66-8B8F-315C-A162-58726ADCFE7C}"/>
              </a:ext>
            </a:extLst>
          </p:cNvPr>
          <p:cNvSpPr txBox="1"/>
          <p:nvPr/>
        </p:nvSpPr>
        <p:spPr>
          <a:xfrm>
            <a:off x="2311931" y="3872928"/>
            <a:ext cx="3630895" cy="153888"/>
          </a:xfrm>
          <a:prstGeom prst="rect">
            <a:avLst/>
          </a:prstGeom>
          <a:solidFill>
            <a:srgbClr val="FFE399">
              <a:alpha val="25000"/>
            </a:srgbClr>
          </a:solidFill>
        </p:spPr>
        <p:txBody>
          <a:bodyPr wrap="square" lIns="0" tIns="0" rIns="0" bIns="0" rtlCol="0">
            <a:spAutoFit/>
          </a:bodyPr>
          <a:lstStyle/>
          <a:p>
            <a:pPr defTabSz="914230">
              <a:buClrTx/>
            </a:pPr>
            <a:endParaRPr lang="en-US" sz="1000" kern="1200" err="1">
              <a:latin typeface="Segoe UI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7CEDCDD-28D3-CBDA-7150-BF798DA90CC4}"/>
              </a:ext>
            </a:extLst>
          </p:cNvPr>
          <p:cNvSpPr txBox="1"/>
          <p:nvPr/>
        </p:nvSpPr>
        <p:spPr>
          <a:xfrm>
            <a:off x="6535238" y="3306154"/>
            <a:ext cx="3945648" cy="153888"/>
          </a:xfrm>
          <a:prstGeom prst="rect">
            <a:avLst/>
          </a:prstGeom>
          <a:solidFill>
            <a:srgbClr val="FFE399">
              <a:alpha val="25000"/>
            </a:srgbClr>
          </a:solidFill>
        </p:spPr>
        <p:txBody>
          <a:bodyPr wrap="square" lIns="0" tIns="0" rIns="0" bIns="0" rtlCol="0">
            <a:spAutoFit/>
          </a:bodyPr>
          <a:lstStyle/>
          <a:p>
            <a:pPr defTabSz="914230">
              <a:buClrTx/>
            </a:pPr>
            <a:endParaRPr lang="en-US" sz="1000" kern="1200" err="1"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1274215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3" grpId="0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background">
            <a:extLst>
              <a:ext uri="{FF2B5EF4-FFF2-40B4-BE49-F238E27FC236}">
                <a16:creationId xmlns:a16="http://schemas.microsoft.com/office/drawing/2014/main" id="{B1981D83-89B8-51DD-3C1C-20F8A4F3A3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/>
          </p:cNvGrpSpPr>
          <p:nvPr/>
        </p:nvGrpSpPr>
        <p:grpSpPr>
          <a:xfrm>
            <a:off x="794" y="14299"/>
            <a:ext cx="12190413" cy="6857107"/>
            <a:chOff x="0" y="0"/>
            <a:chExt cx="12192000" cy="6858000"/>
          </a:xfrm>
        </p:grpSpPr>
        <p:sp>
          <p:nvSpPr>
            <p:cNvPr id="12" name="Rectangle 11" descr="Light Pattern: Square dots">
              <a:extLst>
                <a:ext uri="{FF2B5EF4-FFF2-40B4-BE49-F238E27FC236}">
                  <a16:creationId xmlns:a16="http://schemas.microsoft.com/office/drawing/2014/main" id="{79B7C5F5-7581-79DA-71DD-6F936785045B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0"/>
              <a:ext cx="12192000" cy="6858000"/>
            </a:xfrm>
            <a:prstGeom prst="rect">
              <a:avLst/>
            </a:prstGeom>
            <a:blipFill dpi="0" rotWithShape="1">
              <a:blip r:embed="rId3">
                <a:alphaModFix amt="10000"/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tile tx="0" ty="0" sx="100000" sy="100000" flip="none" algn="tl"/>
            </a:blip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6" tIns="146285" rIns="182856" bIns="146285" numCol="1" spcCol="0" rtlCol="0" fromWordArt="0" anchor="t" anchorCtr="0" forceAA="0" compatLnSpc="1">
              <a:prstTxWarp prst="textNoShape">
                <a:avLst/>
              </a:prstTxWarp>
              <a:normAutofit/>
            </a:bodyPr>
            <a:lstStyle/>
            <a:p>
              <a:pPr defTabSz="932286" fontAlgn="base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endParaRPr lang="en-US" sz="2000" kern="1200">
                <a:solidFill>
                  <a:srgbClr val="000000"/>
                </a:soli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3" name="Rectangle: Rounded Corners 24" descr="Light: small container">
              <a:extLst>
                <a:ext uri="{FF2B5EF4-FFF2-40B4-BE49-F238E27FC236}">
                  <a16:creationId xmlns:a16="http://schemas.microsoft.com/office/drawing/2014/main" id="{4D99CF0A-7A99-703B-59C6-108C7A1217DB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0"/>
              <a:ext cx="12192000" cy="6858000"/>
            </a:xfrm>
            <a:prstGeom prst="rect">
              <a:avLst/>
            </a:prstGeom>
            <a:gradFill flip="none" rotWithShape="1">
              <a:gsLst>
                <a:gs pos="82000">
                  <a:srgbClr val="FFFFFF"/>
                </a:gs>
                <a:gs pos="100000">
                  <a:srgbClr val="FFFFFF">
                    <a:alpha val="0"/>
                  </a:srgbClr>
                </a:gs>
                <a:gs pos="40000">
                  <a:srgbClr val="FFFFFF"/>
                </a:gs>
                <a:gs pos="24000">
                  <a:srgbClr val="FFFFFF">
                    <a:alpha val="79225"/>
                  </a:srgbClr>
                </a:gs>
                <a:gs pos="3000">
                  <a:srgbClr val="FFFFFF">
                    <a:alpha val="1500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 w="12700" cap="flat" cmpd="sng" algn="ctr">
              <a:noFill/>
              <a:prstDash val="solid"/>
              <a:headEnd type="none" w="med" len="med"/>
              <a:tailEnd type="none" w="med" len="med"/>
            </a:ln>
            <a:effectLst/>
            <a:scene3d>
              <a:camera prst="perspectiveRight" fov="2700000">
                <a:rot lat="0" lon="21594000" rev="0"/>
              </a:camera>
              <a:lightRig rig="flat" dir="t"/>
            </a:scene3d>
            <a:sp3d>
              <a:bevelT w="0" h="38100"/>
              <a:bevelB w="0" h="0"/>
              <a:contourClr>
                <a:srgbClr val="000000"/>
              </a:contourClr>
            </a:sp3d>
          </p:spPr>
          <p:txBody>
            <a:bodyPr rot="0" spcFirstLastPara="0" vertOverflow="overflow" horzOverflow="overflow" vert="horz" wrap="square" lIns="182856" tIns="146285" rIns="182856" bIns="14628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286" fontAlgn="base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endParaRPr lang="en-US" sz="2000">
                <a:latin typeface="Segoe UI"/>
                <a:ea typeface="+mn-ea"/>
                <a:cs typeface="Segoe UI" pitchFamily="34" charset="0"/>
              </a:endParaRPr>
            </a:p>
          </p:txBody>
        </p:sp>
      </p:grp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60F87835-14F6-CF4B-7D52-F4596B61EF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 bwMode="auto">
          <a:xfrm>
            <a:off x="587458" y="705204"/>
            <a:ext cx="11017085" cy="5695207"/>
          </a:xfrm>
          <a:prstGeom prst="roundRect">
            <a:avLst>
              <a:gd name="adj" fmla="val 2140"/>
            </a:avLst>
          </a:prstGeom>
          <a:noFill/>
          <a:ln w="12700">
            <a:gradFill flip="none" rotWithShape="1">
              <a:gsLst>
                <a:gs pos="25000">
                  <a:srgbClr val="F4364C"/>
                </a:gs>
                <a:gs pos="0">
                  <a:srgbClr val="FF5C39"/>
                </a:gs>
                <a:gs pos="50000">
                  <a:srgbClr val="C03BC4"/>
                </a:gs>
                <a:gs pos="75000">
                  <a:srgbClr val="0078D4"/>
                </a:gs>
                <a:gs pos="100000">
                  <a:srgbClr val="14938C"/>
                </a:gs>
              </a:gsLst>
              <a:lin ang="0" scaled="1"/>
              <a:tileRect/>
            </a:gra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6" tIns="146285" rIns="182856" bIns="14628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286" fontAlgn="base">
              <a:spcBef>
                <a:spcPct val="0"/>
              </a:spcBef>
              <a:spcAft>
                <a:spcPct val="0"/>
              </a:spcAft>
              <a:buClrTx/>
              <a:defRPr/>
            </a:pPr>
            <a:endParaRPr lang="en-US" sz="2000" kern="1200" err="1">
              <a:solidFill>
                <a:srgbClr val="000000"/>
              </a:soli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5" name="Rectangle: Rounded Corners 54">
            <a:extLst>
              <a:ext uri="{FF2B5EF4-FFF2-40B4-BE49-F238E27FC236}">
                <a16:creationId xmlns:a16="http://schemas.microsoft.com/office/drawing/2014/main" id="{212B7C9B-44FC-29E1-A7C6-D4681645CE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737298" y="2305920"/>
            <a:ext cx="5296863" cy="3939671"/>
          </a:xfrm>
          <a:prstGeom prst="roundRect">
            <a:avLst>
              <a:gd name="adj" fmla="val 2726"/>
            </a:avLst>
          </a:prstGeom>
          <a:solidFill>
            <a:schemeClr val="bg1">
              <a:lumMod val="85000"/>
              <a:alpha val="5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6" tIns="146285" rIns="182856" bIns="14628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286" fontAlgn="base">
              <a:spcBef>
                <a:spcPct val="0"/>
              </a:spcBef>
              <a:spcAft>
                <a:spcPct val="0"/>
              </a:spcAft>
              <a:buClrTx/>
              <a:defRPr/>
            </a:pPr>
            <a:endParaRPr lang="en-US" sz="2000" kern="1200" err="1">
              <a:solidFill>
                <a:srgbClr val="000000"/>
              </a:soli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7" name="Rectangle: Rounded Corners 56">
            <a:extLst>
              <a:ext uri="{FF2B5EF4-FFF2-40B4-BE49-F238E27FC236}">
                <a16:creationId xmlns:a16="http://schemas.microsoft.com/office/drawing/2014/main" id="{35D8C96A-74DE-16CA-F904-71A1BD6584C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 bwMode="auto">
          <a:xfrm>
            <a:off x="1046884" y="1802380"/>
            <a:ext cx="4677689" cy="379732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75000">
                <a:srgbClr val="0078D4"/>
              </a:gs>
              <a:gs pos="50000">
                <a:srgbClr val="C03BC4"/>
              </a:gs>
              <a:gs pos="100000">
                <a:srgbClr val="14938C"/>
              </a:gs>
              <a:gs pos="25000">
                <a:srgbClr val="F4364C"/>
              </a:gs>
              <a:gs pos="0">
                <a:srgbClr val="FF5C39"/>
              </a:gs>
            </a:gsLst>
            <a:path path="circle">
              <a:fillToRect r="100000" b="100000"/>
            </a:path>
            <a:tileRect l="-100000" t="-100000"/>
          </a:gradFill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43981" tIns="0" rIns="143981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90921" fontAlgn="base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en-US" sz="1800" kern="1200">
                <a:ln w="3175">
                  <a:noFill/>
                </a:ln>
                <a:solidFill>
                  <a:srgbClr val="FFFFFF"/>
                </a:solidFill>
                <a:latin typeface="Segoe UI Semibold"/>
                <a:ea typeface="+mn-ea"/>
                <a:cs typeface="+mn-cs"/>
              </a:rPr>
              <a:t>For end users</a:t>
            </a:r>
          </a:p>
        </p:txBody>
      </p:sp>
      <p:sp>
        <p:nvSpPr>
          <p:cNvPr id="15" name="Rectangle: Top Corners Rounded 14">
            <a:extLst>
              <a:ext uri="{FF2B5EF4-FFF2-40B4-BE49-F238E27FC236}">
                <a16:creationId xmlns:a16="http://schemas.microsoft.com/office/drawing/2014/main" id="{396A4849-6392-FE1D-2225-90C072FCB8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 bwMode="auto">
          <a:xfrm>
            <a:off x="4010297" y="362350"/>
            <a:ext cx="3609505" cy="629535"/>
          </a:xfrm>
          <a:prstGeom prst="round2Same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8" tIns="45714" rIns="91428" bIns="4571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286" fontAlgn="base">
              <a:spcBef>
                <a:spcPct val="0"/>
              </a:spcBef>
              <a:spcAft>
                <a:spcPct val="0"/>
              </a:spcAft>
              <a:buClrTx/>
              <a:defRPr/>
            </a:pPr>
            <a:endParaRPr lang="en-US" sz="1100" kern="1200">
              <a:solidFill>
                <a:srgbClr val="000000"/>
              </a:soli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6" name="Rectangle: Rounded Corners 75">
            <a:extLst>
              <a:ext uri="{FF2B5EF4-FFF2-40B4-BE49-F238E27FC236}">
                <a16:creationId xmlns:a16="http://schemas.microsoft.com/office/drawing/2014/main" id="{E4F924A0-719C-FD05-329E-2FD437BBE11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6157840" y="2305918"/>
            <a:ext cx="5296863" cy="3939673"/>
          </a:xfrm>
          <a:prstGeom prst="roundRect">
            <a:avLst>
              <a:gd name="adj" fmla="val 2726"/>
            </a:avLst>
          </a:prstGeom>
          <a:solidFill>
            <a:schemeClr val="bg1">
              <a:lumMod val="85000"/>
              <a:alpha val="5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6" tIns="146285" rIns="182856" bIns="14628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286" fontAlgn="base">
              <a:spcBef>
                <a:spcPct val="0"/>
              </a:spcBef>
              <a:spcAft>
                <a:spcPct val="0"/>
              </a:spcAft>
              <a:buClrTx/>
              <a:defRPr/>
            </a:pPr>
            <a:endParaRPr lang="en-US" sz="2000" kern="1200" err="1">
              <a:solidFill>
                <a:srgbClr val="000000"/>
              </a:soli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90" name="Graphic 89">
            <a:extLst>
              <a:ext uri="{FF2B5EF4-FFF2-40B4-BE49-F238E27FC236}">
                <a16:creationId xmlns:a16="http://schemas.microsoft.com/office/drawing/2014/main" id="{6571DC0A-A1B8-C8E3-906B-13B43A196D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232079" y="421944"/>
            <a:ext cx="472011" cy="472011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33" name="Title 32">
            <a:extLst>
              <a:ext uri="{FF2B5EF4-FFF2-40B4-BE49-F238E27FC236}">
                <a16:creationId xmlns:a16="http://schemas.microsoft.com/office/drawing/2014/main" id="{1832DE2F-EFAD-A936-B1DA-E777F43891CB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4763762" y="446136"/>
            <a:ext cx="2724150" cy="461962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defTabSz="932742">
              <a:lnSpc>
                <a:spcPct val="100000"/>
              </a:lnSpc>
              <a:spcBef>
                <a:spcPct val="0"/>
              </a:spcBef>
              <a:buNone/>
              <a:defRPr sz="2000" b="0" cap="none" spc="-50" baseline="0">
                <a:ln w="3175">
                  <a:noFill/>
                </a:ln>
                <a:effectLst/>
                <a:latin typeface="+mj-lt"/>
                <a:cs typeface="Segoe UI" pitchFamily="34" charset="0"/>
              </a:defRPr>
            </a:lvl1pPr>
          </a:lstStyle>
          <a:p>
            <a:pPr algn="ctr" defTabSz="932555">
              <a:defRPr/>
            </a:pPr>
            <a:r>
              <a:rPr lang="en-US" sz="2999" spc="0" dirty="0"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Copilot Studio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6A29530A-4862-DCDB-6A89-CD81D5070E06}"/>
              </a:ext>
            </a:extLst>
          </p:cNvPr>
          <p:cNvSpPr txBox="1">
            <a:spLocks/>
          </p:cNvSpPr>
          <p:nvPr/>
        </p:nvSpPr>
        <p:spPr>
          <a:xfrm>
            <a:off x="892353" y="1225152"/>
            <a:ext cx="10407295" cy="3077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914217">
              <a:buClrTx/>
              <a:defRPr/>
            </a:pPr>
            <a:r>
              <a:rPr lang="en-US" sz="2000" kern="1200">
                <a:ln w="3175">
                  <a:noFill/>
                </a:ln>
                <a:latin typeface="Segoe UI Semibold"/>
                <a:ea typeface="+mn-ea"/>
                <a:cs typeface="Segoe Sans Display"/>
              </a:rPr>
              <a:t>Copilot Studio is</a:t>
            </a:r>
            <a:r>
              <a:rPr lang="en-US" sz="2000" kern="1200">
                <a:ln w="3175">
                  <a:noFill/>
                </a:ln>
                <a:latin typeface="Segoe UI Semibold"/>
                <a:ea typeface="+mn-lt"/>
                <a:cs typeface="Segoe UI"/>
              </a:rPr>
              <a:t> a low code tool for creating agents and extending Microsoft 365 Copilot. </a:t>
            </a:r>
            <a:endParaRPr lang="en-US" sz="2000" kern="1200">
              <a:latin typeface="Segoe UI Semibold"/>
              <a:ea typeface="+mn-lt"/>
              <a:cs typeface="Segoe UI"/>
            </a:endParaRPr>
          </a:p>
        </p:txBody>
      </p:sp>
      <p:pic>
        <p:nvPicPr>
          <p:cNvPr id="56" name="Picture 55" descr="A screen showing the user experience in Microsoft Copilot Studio agent builder: the left side of the screen shows a chat between an agent and the user building it. The right side of the screen shows the features of the agent being built based on information from the chat.">
            <a:extLst>
              <a:ext uri="{FF2B5EF4-FFF2-40B4-BE49-F238E27FC236}">
                <a16:creationId xmlns:a16="http://schemas.microsoft.com/office/drawing/2014/main" id="{F8697611-E321-4A39-2276-0358E1378A8B}"/>
              </a:ext>
            </a:extLst>
          </p:cNvPr>
          <p:cNvPicPr>
            <a:picLocks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37704" y="2391987"/>
            <a:ext cx="5058641" cy="2979518"/>
          </a:xfrm>
          <a:prstGeom prst="roundRect">
            <a:avLst>
              <a:gd name="adj" fmla="val 2100"/>
            </a:avLst>
          </a:prstGeom>
          <a:solidFill>
            <a:schemeClr val="bg1"/>
          </a:solidFill>
          <a:ln w="12700">
            <a:noFill/>
          </a:ln>
          <a:effectLst/>
        </p:spPr>
      </p:pic>
      <p:sp>
        <p:nvSpPr>
          <p:cNvPr id="58" name="TextBox 57">
            <a:extLst>
              <a:ext uri="{FF2B5EF4-FFF2-40B4-BE49-F238E27FC236}">
                <a16:creationId xmlns:a16="http://schemas.microsoft.com/office/drawing/2014/main" id="{F0428C4B-437C-3568-3E67-EA0BCB63188A}"/>
              </a:ext>
            </a:extLst>
          </p:cNvPr>
          <p:cNvSpPr txBox="1">
            <a:spLocks/>
          </p:cNvSpPr>
          <p:nvPr/>
        </p:nvSpPr>
        <p:spPr>
          <a:xfrm>
            <a:off x="1156800" y="5595473"/>
            <a:ext cx="4457859" cy="461665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algn="ctr" defTabSz="914217">
              <a:spcAft>
                <a:spcPts val="600"/>
              </a:spcAft>
              <a:buClrTx/>
              <a:defRPr/>
            </a:pPr>
            <a:r>
              <a:rPr lang="en-US" sz="1800" kern="1200">
                <a:ln w="3175">
                  <a:noFill/>
                </a:ln>
                <a:solidFill>
                  <a:srgbClr val="C03BC4"/>
                </a:solidFill>
                <a:latin typeface="Segoe UI Semibold"/>
                <a:ea typeface="+mn-ea"/>
                <a:cs typeface="+mn-cs"/>
              </a:rPr>
              <a:t>Copilot Studio agent builder</a:t>
            </a:r>
            <a:br>
              <a:rPr lang="en-US" sz="1800" kern="1200">
                <a:ln w="3175">
                  <a:noFill/>
                </a:ln>
                <a:latin typeface="Segoe UI"/>
                <a:ea typeface="+mn-ea"/>
                <a:cs typeface="+mn-cs"/>
              </a:rPr>
            </a:br>
            <a:r>
              <a:rPr lang="en-US" sz="1200" kern="1200">
                <a:ln w="3175">
                  <a:noFill/>
                </a:ln>
                <a:latin typeface="Segoe UI"/>
                <a:ea typeface="+mn-ea"/>
                <a:cs typeface="+mn-cs"/>
              </a:rPr>
              <a:t>in Copilot Chat and SharePoint</a:t>
            </a:r>
            <a:endParaRPr lang="en-US" sz="1800" kern="1200">
              <a:ln w="3175">
                <a:noFill/>
              </a:ln>
              <a:latin typeface="Segoe UI"/>
              <a:ea typeface="+mn-ea"/>
              <a:cs typeface="+mn-cs"/>
            </a:endParaRPr>
          </a:p>
        </p:txBody>
      </p:sp>
      <p:pic>
        <p:nvPicPr>
          <p:cNvPr id="88" name="Picture 87" descr="A screenshot showing the in product experience of copilot studio">
            <a:extLst>
              <a:ext uri="{FF2B5EF4-FFF2-40B4-BE49-F238E27FC236}">
                <a16:creationId xmlns:a16="http://schemas.microsoft.com/office/drawing/2014/main" id="{0936632B-F884-7EF0-D1A1-236F243FCE23}"/>
              </a:ext>
            </a:extLst>
          </p:cNvPr>
          <p:cNvPicPr>
            <a:picLocks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276949" y="2426445"/>
            <a:ext cx="5058641" cy="2979518"/>
          </a:xfrm>
          <a:prstGeom prst="roundRect">
            <a:avLst>
              <a:gd name="adj" fmla="val 2100"/>
            </a:avLst>
          </a:prstGeom>
          <a:solidFill>
            <a:schemeClr val="bg1"/>
          </a:solidFill>
          <a:ln w="12700">
            <a:noFill/>
          </a:ln>
          <a:effectLst/>
        </p:spPr>
      </p:pic>
      <p:sp>
        <p:nvSpPr>
          <p:cNvPr id="79" name="TextBox 78">
            <a:extLst>
              <a:ext uri="{FF2B5EF4-FFF2-40B4-BE49-F238E27FC236}">
                <a16:creationId xmlns:a16="http://schemas.microsoft.com/office/drawing/2014/main" id="{CB113655-C1C9-9C3B-93F9-D3B7622CC350}"/>
              </a:ext>
            </a:extLst>
          </p:cNvPr>
          <p:cNvSpPr txBox="1">
            <a:spLocks/>
          </p:cNvSpPr>
          <p:nvPr/>
        </p:nvSpPr>
        <p:spPr>
          <a:xfrm>
            <a:off x="6577342" y="5595472"/>
            <a:ext cx="4457859" cy="461665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algn="ctr" defTabSz="914217">
              <a:spcAft>
                <a:spcPts val="600"/>
              </a:spcAft>
              <a:buClrTx/>
              <a:defRPr/>
            </a:pPr>
            <a:r>
              <a:rPr lang="en-US" sz="1800" kern="1200">
                <a:ln w="3175">
                  <a:noFill/>
                </a:ln>
                <a:solidFill>
                  <a:srgbClr val="C03BC4"/>
                </a:solidFill>
                <a:latin typeface="Segoe UI Semibold"/>
                <a:ea typeface="+mn-ea"/>
                <a:cs typeface="+mn-cs"/>
              </a:rPr>
              <a:t>Copilot Studio</a:t>
            </a:r>
            <a:br>
              <a:rPr lang="en-US" sz="1800" kern="1200">
                <a:ln w="3175">
                  <a:noFill/>
                </a:ln>
                <a:latin typeface="Segoe UI"/>
                <a:ea typeface="+mn-ea"/>
                <a:cs typeface="+mn-cs"/>
              </a:rPr>
            </a:br>
            <a:r>
              <a:rPr lang="en-US" sz="1200" kern="1200">
                <a:ln w="3175">
                  <a:noFill/>
                </a:ln>
                <a:latin typeface="Segoe UI"/>
                <a:ea typeface="+mn-ea"/>
                <a:cs typeface="+mn-cs"/>
              </a:rPr>
              <a:t>Full featured graphical authoring environment</a:t>
            </a:r>
            <a:endParaRPr lang="en-US" sz="1800" kern="1200">
              <a:ln w="3175">
                <a:noFill/>
              </a:ln>
              <a:latin typeface="Segoe UI"/>
              <a:ea typeface="+mn-ea"/>
              <a:cs typeface="+mn-cs"/>
            </a:endParaRP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BD9982B0-F5CC-431C-2DD2-18044A781F80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>
            <a:spLocks/>
          </p:cNvSpPr>
          <p:nvPr/>
        </p:nvSpPr>
        <p:spPr>
          <a:xfrm>
            <a:off x="11737500" y="6578539"/>
            <a:ext cx="247618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217">
              <a:buClrTx/>
              <a:defRPr/>
            </a:pPr>
            <a:fld id="{CC0151E6-08A3-4246-B91A-F3551DAD1FF4}" type="slidenum">
              <a:rPr lang="en-IN">
                <a:solidFill>
                  <a:srgbClr val="000000"/>
                </a:solidFill>
                <a:latin typeface="Segoe UI"/>
              </a:rPr>
              <a:pPr defTabSz="914217">
                <a:buClrTx/>
                <a:defRPr/>
              </a:pPr>
              <a:t>31</a:t>
            </a:fld>
            <a:endParaRPr lang="en-IN">
              <a:solidFill>
                <a:srgbClr val="000000"/>
              </a:solidFill>
              <a:latin typeface="Segoe UI"/>
            </a:endParaRP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EE3B8E39-9B44-E10B-B246-82C46A2EB4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 bwMode="auto">
          <a:xfrm>
            <a:off x="6467427" y="1802380"/>
            <a:ext cx="4677689" cy="379732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75000">
                <a:srgbClr val="0078D4"/>
              </a:gs>
              <a:gs pos="50000">
                <a:srgbClr val="C03BC4"/>
              </a:gs>
              <a:gs pos="100000">
                <a:srgbClr val="14938C"/>
              </a:gs>
              <a:gs pos="25000">
                <a:srgbClr val="F4364C"/>
              </a:gs>
              <a:gs pos="0">
                <a:srgbClr val="FF5C39"/>
              </a:gs>
            </a:gsLst>
            <a:path path="circle">
              <a:fillToRect r="100000" b="100000"/>
            </a:path>
            <a:tileRect l="-100000" t="-100000"/>
          </a:gradFill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43981" tIns="0" rIns="143981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90921" fontAlgn="base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en-US" sz="1800" kern="1200">
                <a:ln w="3175">
                  <a:noFill/>
                </a:ln>
                <a:solidFill>
                  <a:srgbClr val="FFFFFF"/>
                </a:solidFill>
                <a:latin typeface="Segoe UI Semibold"/>
                <a:ea typeface="+mn-ea"/>
                <a:cs typeface="+mn-cs"/>
              </a:rPr>
              <a:t>For IT &amp; developers</a:t>
            </a:r>
          </a:p>
        </p:txBody>
      </p:sp>
    </p:spTree>
    <p:extLst>
      <p:ext uri="{BB962C8B-B14F-4D97-AF65-F5344CB8AC3E}">
        <p14:creationId xmlns:p14="http://schemas.microsoft.com/office/powerpoint/2010/main" val="1457962141"/>
      </p:ext>
    </p:extLst>
  </p:cSld>
  <p:clrMapOvr>
    <a:masterClrMapping/>
  </p:clrMapOvr>
  <p:transition>
    <p:fade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772725-97E0-B413-ED2F-BAB3154596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: Top Corners Rounded 21">
            <a:extLst>
              <a:ext uri="{FF2B5EF4-FFF2-40B4-BE49-F238E27FC236}">
                <a16:creationId xmlns:a16="http://schemas.microsoft.com/office/drawing/2014/main" id="{346B2602-1586-E61A-C982-2BB3720710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 flipV="1">
            <a:off x="10433652" y="-1"/>
            <a:ext cx="1712069" cy="719847"/>
          </a:xfrm>
          <a:prstGeom prst="round2Same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>
            <a:outerShdw blurRad="114300" dist="38100" dir="5400000" algn="t" rotWithShape="0">
              <a:prstClr val="black">
                <a:alpha val="23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CA9A0748-CAB2-199A-C158-EF0200AC57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 bwMode="auto">
          <a:xfrm>
            <a:off x="5420262" y="2332854"/>
            <a:ext cx="6403155" cy="3778792"/>
          </a:xfrm>
          <a:prstGeom prst="roundRect">
            <a:avLst>
              <a:gd name="adj" fmla="val 4612"/>
            </a:avLst>
          </a:prstGeom>
          <a:solidFill>
            <a:srgbClr val="091F2C"/>
          </a:solidFill>
          <a:ln w="12700">
            <a:solidFill>
              <a:schemeClr val="tx1">
                <a:lumMod val="95000"/>
                <a:alpha val="10000"/>
              </a:schemeClr>
            </a:solidFill>
            <a:headEnd type="none" w="med" len="med"/>
            <a:tailEnd type="none" w="med" len="med"/>
          </a:ln>
          <a:effectLst>
            <a:outerShdw blurRad="317500" dist="63500" dir="8100000" algn="tr" rotWithShape="0">
              <a:prstClr val="black">
                <a:alpha val="35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bold"/>
              <a:ea typeface="+mn-ea"/>
              <a:cs typeface="Segoe UI" pitchFamily="34" charset="0"/>
            </a:endParaRPr>
          </a:p>
        </p:txBody>
      </p:sp>
      <p:sp>
        <p:nvSpPr>
          <p:cNvPr id="14" name="Rectangle: Rounded Corners 6">
            <a:extLst>
              <a:ext uri="{FF2B5EF4-FFF2-40B4-BE49-F238E27FC236}">
                <a16:creationId xmlns:a16="http://schemas.microsoft.com/office/drawing/2014/main" id="{0FE3D82A-346A-4D30-F19B-1278187EC12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 bwMode="auto">
          <a:xfrm>
            <a:off x="588263" y="2350425"/>
            <a:ext cx="548640" cy="4572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70000">
                <a:srgbClr val="4284D5"/>
              </a:gs>
              <a:gs pos="0">
                <a:srgbClr val="F1B046"/>
              </a:gs>
              <a:gs pos="35000">
                <a:srgbClr val="D59ED7"/>
              </a:gs>
            </a:gsLst>
            <a:path path="circle">
              <a:fillToRect l="100000" t="100000"/>
            </a:path>
            <a:tileRect r="-100000" b="-100000"/>
          </a:gradFill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>
            <a:outerShdw blurRad="63500" sx="103000" sy="103000" algn="ctr" rotWithShape="0">
              <a:prstClr val="black">
                <a:alpha val="5000"/>
              </a:prstClr>
            </a:outerShdw>
          </a:effectLst>
        </p:spPr>
        <p:txBody>
          <a:bodyPr rot="0" spcFirstLastPara="0" vertOverflow="overflow" horzOverflow="overflow" vert="horz" wrap="square" lIns="182880" tIns="146304" rIns="182880" bIns="146304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bold" panose="020B0502040204020203" pitchFamily="34" charset="0"/>
              <a:ea typeface="+mn-ea"/>
              <a:cs typeface="Segoe UI Semibold" panose="020B0502040204020203" pitchFamily="34" charset="0"/>
            </a:endParaRP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B74ED667-941C-0BC1-6C1D-AD78FB466D8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88263" y="272409"/>
            <a:ext cx="923588" cy="92358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9750C01-3469-FF54-9540-672F8DC695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5845" y="492313"/>
            <a:ext cx="11018520" cy="553998"/>
          </a:xfrm>
        </p:spPr>
        <p:txBody>
          <a:bodyPr/>
          <a:lstStyle/>
          <a:p>
            <a:r>
              <a:rPr lang="en-US" dirty="0">
                <a:cs typeface="Segoe UI Semibold"/>
              </a:rPr>
              <a:t>Multi-agent orchestration in Copilot Studio</a:t>
            </a:r>
          </a:p>
        </p:txBody>
      </p:sp>
      <p:sp>
        <p:nvSpPr>
          <p:cNvPr id="23" name="Title 13">
            <a:extLst>
              <a:ext uri="{FF2B5EF4-FFF2-40B4-BE49-F238E27FC236}">
                <a16:creationId xmlns:a16="http://schemas.microsoft.com/office/drawing/2014/main" id="{79299FFC-618C-EE41-C8A3-CB4A5B533991}"/>
              </a:ext>
            </a:extLst>
          </p:cNvPr>
          <p:cNvSpPr txBox="1">
            <a:spLocks/>
          </p:cNvSpPr>
          <p:nvPr/>
        </p:nvSpPr>
        <p:spPr>
          <a:xfrm>
            <a:off x="10520170" y="52145"/>
            <a:ext cx="1518484" cy="615553"/>
          </a:xfrm>
          <a:prstGeom prst="rect">
            <a:avLst/>
          </a:prstGeom>
          <a:solidFill>
            <a:schemeClr val="accent3"/>
          </a:solidFill>
        </p:spPr>
        <p:txBody>
          <a:bodyPr vert="horz" wrap="square" lIns="0" tIns="0" rIns="0" bIns="0" rtlCol="0" anchor="ctr"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50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UI Semibold"/>
                <a:ea typeface="+mn-ea"/>
                <a:cs typeface="Segoe UI"/>
              </a:rPr>
              <a:t>Public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UI Semibold"/>
                <a:ea typeface="+mn-ea"/>
                <a:cs typeface="Segoe UI"/>
              </a:rPr>
              <a:t>Preview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UI Semibold"/>
              <a:ea typeface="+mn-ea"/>
              <a:cs typeface="Segoe UI" pitchFamily="34" charset="0"/>
            </a:endParaRPr>
          </a:p>
        </p:txBody>
      </p:sp>
      <p:sp>
        <p:nvSpPr>
          <p:cNvPr id="9" name="Title 13">
            <a:extLst>
              <a:ext uri="{FF2B5EF4-FFF2-40B4-BE49-F238E27FC236}">
                <a16:creationId xmlns:a16="http://schemas.microsoft.com/office/drawing/2014/main" id="{F47C23F4-1ED1-3D1B-3016-31251123069E}"/>
              </a:ext>
            </a:extLst>
          </p:cNvPr>
          <p:cNvSpPr txBox="1">
            <a:spLocks/>
          </p:cNvSpPr>
          <p:nvPr/>
        </p:nvSpPr>
        <p:spPr>
          <a:xfrm>
            <a:off x="588263" y="1421761"/>
            <a:ext cx="10590020" cy="3077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50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 Semibold"/>
              </a:rPr>
              <a:t>Build multi-agent scenarios, connecting to agents from other services, in Copilot Studio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9836994-3928-D24D-E37A-E20A4ECFDF49}"/>
              </a:ext>
            </a:extLst>
          </p:cNvPr>
          <p:cNvSpPr txBox="1"/>
          <p:nvPr/>
        </p:nvSpPr>
        <p:spPr>
          <a:xfrm>
            <a:off x="580257" y="2586145"/>
            <a:ext cx="4549504" cy="357020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Semibold"/>
                <a:ea typeface="+mn-ea"/>
                <a:cs typeface="Segoe UI"/>
              </a:rPr>
              <a:t>Effective end-to-end transformation: 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Enable agents to talk to each other in Copilot Studio, exchanging data, collaborating on tasks, and distributing work</a:t>
            </a: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Semibold"/>
                <a:ea typeface="+mn-lt"/>
                <a:cs typeface="Segoe UI"/>
              </a:rPr>
              <a:t>Cross-platform orchestration: 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lt"/>
                <a:cs typeface="Segoe UI"/>
              </a:rPr>
              <a:t>Connect your agents with other agents in your tenant, whether they were built using Copilot Studio, Azure AI Foundry Agents, M365 Copilot SDK or Fabric</a:t>
            </a: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Semibold"/>
                <a:ea typeface="+mn-lt"/>
                <a:cs typeface="Segoe UI"/>
              </a:rPr>
              <a:t>Agent specialization: 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lt"/>
                <a:cs typeface="Segoe UI"/>
              </a:rPr>
              <a:t>An agent can call on connected agents where specialized knowledge or actions are required and complete tasks in minutes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E455F80-9F65-88BF-83F4-E6DB095556D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83062" y="2176955"/>
            <a:ext cx="6890228" cy="41887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443060"/>
      </p:ext>
    </p:extLst>
  </p:cSld>
  <p:clrMapOvr>
    <a:masterClrMapping/>
  </p:clrMapOvr>
  <p:transition>
    <p:fade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26E9E1-32C8-E194-CD88-EB47D7F6C2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box 1">
            <a:extLst>
              <a:ext uri="{FF2B5EF4-FFF2-40B4-BE49-F238E27FC236}">
                <a16:creationId xmlns:a16="http://schemas.microsoft.com/office/drawing/2014/main" id="{BEA1777D-A985-96C4-FD7B-59F7229165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8915400" y="1463040"/>
            <a:ext cx="2691383" cy="4809172"/>
          </a:xfrm>
          <a:prstGeom prst="roundRect">
            <a:avLst>
              <a:gd name="adj" fmla="val 5331"/>
            </a:avLst>
          </a:prstGeom>
          <a:solidFill>
            <a:srgbClr val="091F2C"/>
          </a:solidFill>
          <a:ln w="12700">
            <a:solidFill>
              <a:schemeClr val="tx1">
                <a:lumMod val="95000"/>
                <a:alpha val="10000"/>
              </a:schemeClr>
            </a:solidFill>
            <a:headEnd type="none" w="med" len="med"/>
            <a:tailEnd type="none" w="med" len="med"/>
          </a:ln>
          <a:effectLst>
            <a:outerShdw blurRad="317500" dist="63500" dir="8100000" algn="tr" rotWithShape="0">
              <a:prstClr val="black">
                <a:alpha val="35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932472" fontAlgn="base">
              <a:spcBef>
                <a:spcPct val="0"/>
              </a:spcBef>
              <a:spcAft>
                <a:spcPct val="0"/>
              </a:spcAft>
              <a:defRPr sz="2400">
                <a:latin typeface="+mj-lt"/>
                <a:cs typeface="Segoe UI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UI Semibold"/>
              <a:ea typeface="+mn-ea"/>
              <a:cs typeface="Segoe UI" pitchFamily="34" charset="0"/>
            </a:endParaRPr>
          </a:p>
        </p:txBody>
      </p:sp>
      <p:sp>
        <p:nvSpPr>
          <p:cNvPr id="51" name="Rectangle: Rounded Corners 50">
            <a:extLst>
              <a:ext uri="{FF2B5EF4-FFF2-40B4-BE49-F238E27FC236}">
                <a16:creationId xmlns:a16="http://schemas.microsoft.com/office/drawing/2014/main" id="{4FAB07F1-6DE6-3166-2A98-03CC80F10DB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9046654" y="1613376"/>
            <a:ext cx="2428875" cy="1025544"/>
          </a:xfrm>
          <a:prstGeom prst="roundRect">
            <a:avLst>
              <a:gd name="adj" fmla="val 6905"/>
            </a:avLst>
          </a:prstGeom>
          <a:solidFill>
            <a:schemeClr val="tx1">
              <a:alpha val="2000"/>
            </a:schemeClr>
          </a:solidFill>
          <a:ln w="3175" cap="flat" cmpd="sng" algn="ctr">
            <a:solidFill>
              <a:schemeClr val="tx1">
                <a:alpha val="46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52" name="Rectangle: Rounded Corners 51">
            <a:extLst>
              <a:ext uri="{FF2B5EF4-FFF2-40B4-BE49-F238E27FC236}">
                <a16:creationId xmlns:a16="http://schemas.microsoft.com/office/drawing/2014/main" id="{6E81062A-0090-17C0-095B-2E0B824AD0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9046654" y="2782466"/>
            <a:ext cx="2428875" cy="1025544"/>
          </a:xfrm>
          <a:prstGeom prst="roundRect">
            <a:avLst>
              <a:gd name="adj" fmla="val 6905"/>
            </a:avLst>
          </a:prstGeom>
          <a:solidFill>
            <a:schemeClr val="tx1">
              <a:alpha val="2000"/>
            </a:schemeClr>
          </a:solidFill>
          <a:ln w="3175" cap="flat" cmpd="sng" algn="ctr">
            <a:solidFill>
              <a:schemeClr val="tx1">
                <a:alpha val="46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53" name="Rectangle: Rounded Corners 52">
            <a:extLst>
              <a:ext uri="{FF2B5EF4-FFF2-40B4-BE49-F238E27FC236}">
                <a16:creationId xmlns:a16="http://schemas.microsoft.com/office/drawing/2014/main" id="{FB1852D7-B17D-E8CE-AA4E-8A4C5F4B129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9046654" y="3939399"/>
            <a:ext cx="2428875" cy="1025544"/>
          </a:xfrm>
          <a:prstGeom prst="roundRect">
            <a:avLst>
              <a:gd name="adj" fmla="val 6905"/>
            </a:avLst>
          </a:prstGeom>
          <a:solidFill>
            <a:schemeClr val="tx1">
              <a:alpha val="2000"/>
            </a:schemeClr>
          </a:solidFill>
          <a:ln w="3175" cap="flat" cmpd="sng" algn="ctr">
            <a:solidFill>
              <a:schemeClr val="tx1">
                <a:alpha val="46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54" name="Rectangle: Rounded Corners 53">
            <a:extLst>
              <a:ext uri="{FF2B5EF4-FFF2-40B4-BE49-F238E27FC236}">
                <a16:creationId xmlns:a16="http://schemas.microsoft.com/office/drawing/2014/main" id="{86571698-2857-620A-26AA-5F11BDF9A4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9046654" y="5096332"/>
            <a:ext cx="2428875" cy="1025544"/>
          </a:xfrm>
          <a:prstGeom prst="roundRect">
            <a:avLst>
              <a:gd name="adj" fmla="val 6905"/>
            </a:avLst>
          </a:prstGeom>
          <a:solidFill>
            <a:schemeClr val="tx1">
              <a:alpha val="2000"/>
            </a:schemeClr>
          </a:solidFill>
          <a:ln w="3175" cap="flat" cmpd="sng" algn="ctr">
            <a:solidFill>
              <a:schemeClr val="tx1">
                <a:alpha val="46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pic>
        <p:nvPicPr>
          <p:cNvPr id="67" name="Picture 66">
            <a:extLst>
              <a:ext uri="{FF2B5EF4-FFF2-40B4-BE49-F238E27FC236}">
                <a16:creationId xmlns:a16="http://schemas.microsoft.com/office/drawing/2014/main" id="{4EBB61C2-C2C3-A741-CA11-D362601998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22327" y="1853637"/>
            <a:ext cx="545022" cy="545022"/>
          </a:xfrm>
          <a:prstGeom prst="rect">
            <a:avLst/>
          </a:prstGeom>
        </p:spPr>
      </p:pic>
      <p:pic>
        <p:nvPicPr>
          <p:cNvPr id="73" name="Picture 72">
            <a:extLst>
              <a:ext uri="{FF2B5EF4-FFF2-40B4-BE49-F238E27FC236}">
                <a16:creationId xmlns:a16="http://schemas.microsoft.com/office/drawing/2014/main" id="{6310B5A4-30D0-3D51-9F95-AA0ACA3F3E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21788" y="3022188"/>
            <a:ext cx="546100" cy="546100"/>
          </a:xfrm>
          <a:prstGeom prst="rect">
            <a:avLst/>
          </a:prstGeom>
        </p:spPr>
      </p:pic>
      <p:pic>
        <p:nvPicPr>
          <p:cNvPr id="2050" name="Picture 2">
            <a:extLst>
              <a:ext uri="{FF2B5EF4-FFF2-40B4-BE49-F238E27FC236}">
                <a16:creationId xmlns:a16="http://schemas.microsoft.com/office/drawing/2014/main" id="{620E6C21-F7BD-CF35-39A5-EC116C68FE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07488" y="4066047"/>
            <a:ext cx="774700" cy="772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7" name="Graphic 76">
            <a:extLst>
              <a:ext uri="{FF2B5EF4-FFF2-40B4-BE49-F238E27FC236}">
                <a16:creationId xmlns:a16="http://schemas.microsoft.com/office/drawing/2014/main" id="{551D5CD5-5554-30CC-F60B-AFC9F9F42C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221787" y="5342043"/>
            <a:ext cx="534123" cy="534123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2B8D61FA-A388-E0E2-682E-82611F7B9D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962" y="622197"/>
            <a:ext cx="11018520" cy="553998"/>
          </a:xfrm>
        </p:spPr>
        <p:txBody>
          <a:bodyPr vert="horz" wrap="square" lIns="1097280" tIns="0" rIns="0" bIns="0" rtlCol="0" anchor="ctr">
            <a:spAutoFit/>
          </a:bodyPr>
          <a:lstStyle/>
          <a:p>
            <a:r>
              <a:rPr lang="en-US" sz="2800" dirty="0"/>
              <a:t>Copilot Studio agent   </a:t>
            </a:r>
          </a:p>
        </p:txBody>
      </p:sp>
      <p:sp>
        <p:nvSpPr>
          <p:cNvPr id="83" name="box 1">
            <a:extLst>
              <a:ext uri="{FF2B5EF4-FFF2-40B4-BE49-F238E27FC236}">
                <a16:creationId xmlns:a16="http://schemas.microsoft.com/office/drawing/2014/main" id="{A1003C71-CD69-8CAD-F45F-51D464ADC70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88962" y="1463040"/>
            <a:ext cx="7653338" cy="4809172"/>
          </a:xfrm>
          <a:prstGeom prst="roundRect">
            <a:avLst>
              <a:gd name="adj" fmla="val 3444"/>
            </a:avLst>
          </a:prstGeom>
          <a:solidFill>
            <a:srgbClr val="091F2C"/>
          </a:solidFill>
          <a:ln w="12700">
            <a:solidFill>
              <a:schemeClr val="tx1">
                <a:lumMod val="95000"/>
                <a:alpha val="10000"/>
              </a:schemeClr>
            </a:solidFill>
            <a:headEnd type="none" w="med" len="med"/>
            <a:tailEnd type="none" w="med" len="med"/>
          </a:ln>
          <a:effectLst>
            <a:outerShdw blurRad="317500" dist="63500" dir="8100000" algn="tr" rotWithShape="0">
              <a:prstClr val="black">
                <a:alpha val="35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932472" fontAlgn="base">
              <a:spcBef>
                <a:spcPct val="0"/>
              </a:spcBef>
              <a:spcAft>
                <a:spcPct val="0"/>
              </a:spcAft>
              <a:defRPr sz="2400">
                <a:latin typeface="+mj-lt"/>
                <a:cs typeface="Segoe UI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UI Semibold"/>
              <a:ea typeface="+mn-ea"/>
              <a:cs typeface="Segoe UI" pitchFamily="34" charset="0"/>
            </a:endParaRPr>
          </a:p>
        </p:txBody>
      </p:sp>
      <p:sp>
        <p:nvSpPr>
          <p:cNvPr id="84" name="Rectangle: Rounded Corners 83">
            <a:extLst>
              <a:ext uri="{FF2B5EF4-FFF2-40B4-BE49-F238E27FC236}">
                <a16:creationId xmlns:a16="http://schemas.microsoft.com/office/drawing/2014/main" id="{2E0E5932-5CCE-62D0-CF73-DB2609FC6CFE}"/>
              </a:ext>
            </a:extLst>
          </p:cNvPr>
          <p:cNvSpPr/>
          <p:nvPr/>
        </p:nvSpPr>
        <p:spPr bwMode="auto">
          <a:xfrm rot="16200000">
            <a:off x="-1205208" y="3556961"/>
            <a:ext cx="4515399" cy="621329"/>
          </a:xfrm>
          <a:prstGeom prst="roundRect">
            <a:avLst>
              <a:gd name="adj" fmla="val 7102"/>
            </a:avLst>
          </a:prstGeom>
          <a:solidFill>
            <a:schemeClr val="tx1">
              <a:alpha val="8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Orchestrator</a:t>
            </a:r>
          </a:p>
        </p:txBody>
      </p:sp>
      <p:sp>
        <p:nvSpPr>
          <p:cNvPr id="85" name="Rectangle: Rounded Corners 84">
            <a:extLst>
              <a:ext uri="{FF2B5EF4-FFF2-40B4-BE49-F238E27FC236}">
                <a16:creationId xmlns:a16="http://schemas.microsoft.com/office/drawing/2014/main" id="{0CB1EB50-D0B5-A7D2-C014-789A6FF77378}"/>
              </a:ext>
            </a:extLst>
          </p:cNvPr>
          <p:cNvSpPr/>
          <p:nvPr/>
        </p:nvSpPr>
        <p:spPr bwMode="auto">
          <a:xfrm>
            <a:off x="1515970" y="1609926"/>
            <a:ext cx="1522513" cy="816757"/>
          </a:xfrm>
          <a:prstGeom prst="roundRect">
            <a:avLst>
              <a:gd name="adj" fmla="val 7102"/>
            </a:avLst>
          </a:prstGeom>
          <a:solidFill>
            <a:schemeClr val="accent2">
              <a:alpha val="13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Topic</a:t>
            </a:r>
          </a:p>
        </p:txBody>
      </p:sp>
      <p:sp>
        <p:nvSpPr>
          <p:cNvPr id="86" name="Rectangle: Rounded Corners 85">
            <a:extLst>
              <a:ext uri="{FF2B5EF4-FFF2-40B4-BE49-F238E27FC236}">
                <a16:creationId xmlns:a16="http://schemas.microsoft.com/office/drawing/2014/main" id="{0A0C967F-E052-379B-7661-27A149306C1C}"/>
              </a:ext>
            </a:extLst>
          </p:cNvPr>
          <p:cNvSpPr/>
          <p:nvPr/>
        </p:nvSpPr>
        <p:spPr bwMode="auto">
          <a:xfrm>
            <a:off x="3199622" y="1609926"/>
            <a:ext cx="1522513" cy="816757"/>
          </a:xfrm>
          <a:prstGeom prst="roundRect">
            <a:avLst>
              <a:gd name="adj" fmla="val 7102"/>
            </a:avLst>
          </a:prstGeom>
          <a:solidFill>
            <a:schemeClr val="accent2">
              <a:alpha val="13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Topic</a:t>
            </a:r>
          </a:p>
        </p:txBody>
      </p:sp>
      <p:sp>
        <p:nvSpPr>
          <p:cNvPr id="87" name="Rectangle: Rounded Corners 86">
            <a:extLst>
              <a:ext uri="{FF2B5EF4-FFF2-40B4-BE49-F238E27FC236}">
                <a16:creationId xmlns:a16="http://schemas.microsoft.com/office/drawing/2014/main" id="{844C3FAA-7605-3107-DFB7-523BD9B7654E}"/>
              </a:ext>
            </a:extLst>
          </p:cNvPr>
          <p:cNvSpPr/>
          <p:nvPr/>
        </p:nvSpPr>
        <p:spPr bwMode="auto">
          <a:xfrm>
            <a:off x="4883274" y="1609926"/>
            <a:ext cx="1522513" cy="816757"/>
          </a:xfrm>
          <a:prstGeom prst="roundRect">
            <a:avLst>
              <a:gd name="adj" fmla="val 7102"/>
            </a:avLst>
          </a:prstGeom>
          <a:solidFill>
            <a:schemeClr val="accent5">
              <a:alpha val="13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Agent</a:t>
            </a:r>
          </a:p>
        </p:txBody>
      </p:sp>
      <p:sp>
        <p:nvSpPr>
          <p:cNvPr id="88" name="Rectangle: Rounded Corners 87">
            <a:extLst>
              <a:ext uri="{FF2B5EF4-FFF2-40B4-BE49-F238E27FC236}">
                <a16:creationId xmlns:a16="http://schemas.microsoft.com/office/drawing/2014/main" id="{306A6C97-6F6A-9224-80DB-6B5F59A6B11F}"/>
              </a:ext>
            </a:extLst>
          </p:cNvPr>
          <p:cNvSpPr/>
          <p:nvPr/>
        </p:nvSpPr>
        <p:spPr bwMode="auto">
          <a:xfrm>
            <a:off x="6566924" y="1609926"/>
            <a:ext cx="1522513" cy="816757"/>
          </a:xfrm>
          <a:prstGeom prst="roundRect">
            <a:avLst>
              <a:gd name="adj" fmla="val 7102"/>
            </a:avLst>
          </a:prstGeom>
          <a:solidFill>
            <a:schemeClr val="accent5">
              <a:alpha val="13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Agent</a:t>
            </a:r>
          </a:p>
        </p:txBody>
      </p:sp>
      <p:sp>
        <p:nvSpPr>
          <p:cNvPr id="89" name="Rectangle: Rounded Corners 88">
            <a:extLst>
              <a:ext uri="{FF2B5EF4-FFF2-40B4-BE49-F238E27FC236}">
                <a16:creationId xmlns:a16="http://schemas.microsoft.com/office/drawing/2014/main" id="{49EF9AD6-6CAD-E28C-E8F1-1C1EBC705708}"/>
              </a:ext>
            </a:extLst>
          </p:cNvPr>
          <p:cNvSpPr/>
          <p:nvPr/>
        </p:nvSpPr>
        <p:spPr bwMode="auto">
          <a:xfrm>
            <a:off x="1515970" y="2548839"/>
            <a:ext cx="2039637" cy="529168"/>
          </a:xfrm>
          <a:prstGeom prst="roundRect">
            <a:avLst>
              <a:gd name="adj" fmla="val 7102"/>
            </a:avLst>
          </a:prstGeom>
          <a:solidFill>
            <a:schemeClr val="tx1">
              <a:alpha val="8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Knowledge</a:t>
            </a:r>
          </a:p>
        </p:txBody>
      </p:sp>
      <p:sp>
        <p:nvSpPr>
          <p:cNvPr id="90" name="Rectangle: Rounded Corners 89">
            <a:extLst>
              <a:ext uri="{FF2B5EF4-FFF2-40B4-BE49-F238E27FC236}">
                <a16:creationId xmlns:a16="http://schemas.microsoft.com/office/drawing/2014/main" id="{D78AB48A-2079-0C8E-AC2D-1EB33376B64A}"/>
              </a:ext>
            </a:extLst>
          </p:cNvPr>
          <p:cNvSpPr/>
          <p:nvPr/>
        </p:nvSpPr>
        <p:spPr bwMode="auto">
          <a:xfrm>
            <a:off x="1523769" y="3177645"/>
            <a:ext cx="2039637" cy="662191"/>
          </a:xfrm>
          <a:prstGeom prst="roundRect">
            <a:avLst>
              <a:gd name="adj" fmla="val 6628"/>
            </a:avLst>
          </a:prstGeom>
          <a:solidFill>
            <a:schemeClr val="tx1">
              <a:alpha val="2000"/>
            </a:schemeClr>
          </a:solidFill>
          <a:ln w="3175" cap="flat" cmpd="sng" algn="ctr">
            <a:solidFill>
              <a:schemeClr val="tx1">
                <a:alpha val="46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Public websites</a:t>
            </a:r>
          </a:p>
        </p:txBody>
      </p:sp>
      <p:sp>
        <p:nvSpPr>
          <p:cNvPr id="91" name="Rectangle: Rounded Corners 90">
            <a:extLst>
              <a:ext uri="{FF2B5EF4-FFF2-40B4-BE49-F238E27FC236}">
                <a16:creationId xmlns:a16="http://schemas.microsoft.com/office/drawing/2014/main" id="{0D69B1AB-CBF9-DF05-099C-00C173724432}"/>
              </a:ext>
            </a:extLst>
          </p:cNvPr>
          <p:cNvSpPr/>
          <p:nvPr/>
        </p:nvSpPr>
        <p:spPr bwMode="auto">
          <a:xfrm>
            <a:off x="1515970" y="3939475"/>
            <a:ext cx="2039637" cy="662191"/>
          </a:xfrm>
          <a:prstGeom prst="roundRect">
            <a:avLst>
              <a:gd name="adj" fmla="val 6628"/>
            </a:avLst>
          </a:prstGeom>
          <a:solidFill>
            <a:schemeClr val="tx1">
              <a:alpha val="2000"/>
            </a:schemeClr>
          </a:solidFill>
          <a:ln w="3175" cap="flat" cmpd="sng" algn="ctr">
            <a:solidFill>
              <a:schemeClr val="tx1">
                <a:alpha val="46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SharePoint</a:t>
            </a:r>
          </a:p>
        </p:txBody>
      </p:sp>
      <p:sp>
        <p:nvSpPr>
          <p:cNvPr id="92" name="Rectangle: Rounded Corners 91">
            <a:extLst>
              <a:ext uri="{FF2B5EF4-FFF2-40B4-BE49-F238E27FC236}">
                <a16:creationId xmlns:a16="http://schemas.microsoft.com/office/drawing/2014/main" id="{832BBC7A-DAA3-3C11-9D6A-ECF730B58003}"/>
              </a:ext>
            </a:extLst>
          </p:cNvPr>
          <p:cNvSpPr/>
          <p:nvPr/>
        </p:nvSpPr>
        <p:spPr bwMode="auto">
          <a:xfrm>
            <a:off x="1515969" y="4701305"/>
            <a:ext cx="2039637" cy="662191"/>
          </a:xfrm>
          <a:prstGeom prst="roundRect">
            <a:avLst>
              <a:gd name="adj" fmla="val 6628"/>
            </a:avLst>
          </a:prstGeom>
          <a:solidFill>
            <a:schemeClr val="tx1">
              <a:alpha val="2000"/>
            </a:schemeClr>
          </a:solidFill>
          <a:ln w="3175" cap="flat" cmpd="sng" algn="ctr">
            <a:solidFill>
              <a:schemeClr val="tx1">
                <a:alpha val="46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Dataverse</a:t>
            </a:r>
          </a:p>
        </p:txBody>
      </p:sp>
      <p:sp>
        <p:nvSpPr>
          <p:cNvPr id="93" name="Rectangle: Rounded Corners 92">
            <a:extLst>
              <a:ext uri="{FF2B5EF4-FFF2-40B4-BE49-F238E27FC236}">
                <a16:creationId xmlns:a16="http://schemas.microsoft.com/office/drawing/2014/main" id="{EF11CB40-91B8-2893-8A09-15A5A690794F}"/>
              </a:ext>
            </a:extLst>
          </p:cNvPr>
          <p:cNvSpPr/>
          <p:nvPr/>
        </p:nvSpPr>
        <p:spPr bwMode="auto">
          <a:xfrm>
            <a:off x="1523767" y="5463135"/>
            <a:ext cx="2039637" cy="662191"/>
          </a:xfrm>
          <a:prstGeom prst="roundRect">
            <a:avLst>
              <a:gd name="adj" fmla="val 6628"/>
            </a:avLst>
          </a:prstGeom>
          <a:solidFill>
            <a:schemeClr val="tx1">
              <a:alpha val="2000"/>
            </a:schemeClr>
          </a:solidFill>
          <a:ln w="3175" cap="flat" cmpd="sng" algn="ctr">
            <a:solidFill>
              <a:schemeClr val="tx1">
                <a:alpha val="46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Files</a:t>
            </a:r>
          </a:p>
        </p:txBody>
      </p:sp>
      <p:sp>
        <p:nvSpPr>
          <p:cNvPr id="94" name="Rectangle: Rounded Corners 93">
            <a:extLst>
              <a:ext uri="{FF2B5EF4-FFF2-40B4-BE49-F238E27FC236}">
                <a16:creationId xmlns:a16="http://schemas.microsoft.com/office/drawing/2014/main" id="{650AF0DF-9467-043E-6217-95C2F3D610FE}"/>
              </a:ext>
            </a:extLst>
          </p:cNvPr>
          <p:cNvSpPr/>
          <p:nvPr/>
        </p:nvSpPr>
        <p:spPr bwMode="auto">
          <a:xfrm>
            <a:off x="3692050" y="2548839"/>
            <a:ext cx="4397387" cy="529168"/>
          </a:xfrm>
          <a:prstGeom prst="roundRect">
            <a:avLst>
              <a:gd name="adj" fmla="val 7102"/>
            </a:avLst>
          </a:prstGeom>
          <a:solidFill>
            <a:schemeClr val="tx1">
              <a:alpha val="8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Tools</a:t>
            </a:r>
          </a:p>
        </p:txBody>
      </p:sp>
      <p:sp>
        <p:nvSpPr>
          <p:cNvPr id="95" name="Rectangle: Rounded Corners 94">
            <a:extLst>
              <a:ext uri="{FF2B5EF4-FFF2-40B4-BE49-F238E27FC236}">
                <a16:creationId xmlns:a16="http://schemas.microsoft.com/office/drawing/2014/main" id="{5B508263-E6B7-401A-24B6-D783D171A974}"/>
              </a:ext>
            </a:extLst>
          </p:cNvPr>
          <p:cNvSpPr/>
          <p:nvPr/>
        </p:nvSpPr>
        <p:spPr bwMode="auto">
          <a:xfrm>
            <a:off x="3692050" y="3177645"/>
            <a:ext cx="1411119" cy="1434665"/>
          </a:xfrm>
          <a:prstGeom prst="roundRect">
            <a:avLst>
              <a:gd name="adj" fmla="val 7102"/>
            </a:avLst>
          </a:prstGeom>
          <a:solidFill>
            <a:schemeClr val="accent3">
              <a:alpha val="5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Connector</a:t>
            </a:r>
          </a:p>
        </p:txBody>
      </p:sp>
      <p:sp>
        <p:nvSpPr>
          <p:cNvPr id="96" name="Rectangle: Rounded Corners 95">
            <a:extLst>
              <a:ext uri="{FF2B5EF4-FFF2-40B4-BE49-F238E27FC236}">
                <a16:creationId xmlns:a16="http://schemas.microsoft.com/office/drawing/2014/main" id="{E727014C-B1BD-4140-B842-11F56AFA3595}"/>
              </a:ext>
            </a:extLst>
          </p:cNvPr>
          <p:cNvSpPr/>
          <p:nvPr/>
        </p:nvSpPr>
        <p:spPr bwMode="auto">
          <a:xfrm>
            <a:off x="5178603" y="3177645"/>
            <a:ext cx="1411119" cy="1434665"/>
          </a:xfrm>
          <a:prstGeom prst="roundRect">
            <a:avLst>
              <a:gd name="adj" fmla="val 7102"/>
            </a:avLst>
          </a:prstGeom>
          <a:solidFill>
            <a:schemeClr val="accent3">
              <a:alpha val="5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Flow</a:t>
            </a:r>
          </a:p>
        </p:txBody>
      </p:sp>
      <p:sp>
        <p:nvSpPr>
          <p:cNvPr id="99" name="Rectangle: Rounded Corners 98">
            <a:extLst>
              <a:ext uri="{FF2B5EF4-FFF2-40B4-BE49-F238E27FC236}">
                <a16:creationId xmlns:a16="http://schemas.microsoft.com/office/drawing/2014/main" id="{2FAD7F67-DC01-F674-93A7-5E4AC02D2EF9}"/>
              </a:ext>
            </a:extLst>
          </p:cNvPr>
          <p:cNvSpPr/>
          <p:nvPr/>
        </p:nvSpPr>
        <p:spPr bwMode="auto">
          <a:xfrm>
            <a:off x="6678317" y="3177645"/>
            <a:ext cx="1411119" cy="1434665"/>
          </a:xfrm>
          <a:prstGeom prst="roundRect">
            <a:avLst>
              <a:gd name="adj" fmla="val 7102"/>
            </a:avLst>
          </a:prstGeom>
          <a:solidFill>
            <a:schemeClr val="accent3">
              <a:alpha val="5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Prompt</a:t>
            </a:r>
          </a:p>
        </p:txBody>
      </p:sp>
      <p:sp>
        <p:nvSpPr>
          <p:cNvPr id="101" name="Rectangle: Rounded Corners 100">
            <a:extLst>
              <a:ext uri="{FF2B5EF4-FFF2-40B4-BE49-F238E27FC236}">
                <a16:creationId xmlns:a16="http://schemas.microsoft.com/office/drawing/2014/main" id="{B758C225-6DC0-45E4-5E33-205962CF0A68}"/>
              </a:ext>
            </a:extLst>
          </p:cNvPr>
          <p:cNvSpPr/>
          <p:nvPr/>
        </p:nvSpPr>
        <p:spPr bwMode="auto">
          <a:xfrm>
            <a:off x="3692051" y="4690661"/>
            <a:ext cx="1411119" cy="1434665"/>
          </a:xfrm>
          <a:prstGeom prst="roundRect">
            <a:avLst>
              <a:gd name="adj" fmla="val 7102"/>
            </a:avLst>
          </a:prstGeom>
          <a:solidFill>
            <a:schemeClr val="accent3">
              <a:alpha val="5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MCP</a:t>
            </a:r>
          </a:p>
        </p:txBody>
      </p:sp>
      <p:sp>
        <p:nvSpPr>
          <p:cNvPr id="102" name="Rectangle: Rounded Corners 101">
            <a:extLst>
              <a:ext uri="{FF2B5EF4-FFF2-40B4-BE49-F238E27FC236}">
                <a16:creationId xmlns:a16="http://schemas.microsoft.com/office/drawing/2014/main" id="{93AA525B-78F7-7DDF-23F8-9402C0379D9C}"/>
              </a:ext>
            </a:extLst>
          </p:cNvPr>
          <p:cNvSpPr/>
          <p:nvPr/>
        </p:nvSpPr>
        <p:spPr bwMode="auto">
          <a:xfrm>
            <a:off x="5178603" y="4690661"/>
            <a:ext cx="1411119" cy="1434665"/>
          </a:xfrm>
          <a:prstGeom prst="roundRect">
            <a:avLst>
              <a:gd name="adj" fmla="val 7102"/>
            </a:avLst>
          </a:prstGeom>
          <a:solidFill>
            <a:schemeClr val="accent3">
              <a:alpha val="5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Computer use</a:t>
            </a:r>
          </a:p>
        </p:txBody>
      </p:sp>
      <p:sp>
        <p:nvSpPr>
          <p:cNvPr id="104" name="Rectangle: Rounded Corners 103">
            <a:extLst>
              <a:ext uri="{FF2B5EF4-FFF2-40B4-BE49-F238E27FC236}">
                <a16:creationId xmlns:a16="http://schemas.microsoft.com/office/drawing/2014/main" id="{4885F491-6537-38B0-9B74-197716AE8455}"/>
              </a:ext>
            </a:extLst>
          </p:cNvPr>
          <p:cNvSpPr/>
          <p:nvPr/>
        </p:nvSpPr>
        <p:spPr bwMode="auto">
          <a:xfrm>
            <a:off x="6678319" y="4690661"/>
            <a:ext cx="1411119" cy="1434665"/>
          </a:xfrm>
          <a:prstGeom prst="roundRect">
            <a:avLst>
              <a:gd name="adj" fmla="val 7102"/>
            </a:avLst>
          </a:prstGeom>
          <a:solidFill>
            <a:schemeClr val="accent3">
              <a:alpha val="5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Rest API</a:t>
            </a:r>
          </a:p>
        </p:txBody>
      </p:sp>
      <p:pic>
        <p:nvPicPr>
          <p:cNvPr id="47" name="Picture 46">
            <a:extLst>
              <a:ext uri="{FF2B5EF4-FFF2-40B4-BE49-F238E27FC236}">
                <a16:creationId xmlns:a16="http://schemas.microsoft.com/office/drawing/2014/main" id="{A53FBC07-8579-B505-AB32-00C75C1AF0F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8963" y="498714"/>
            <a:ext cx="817560" cy="817560"/>
          </a:xfrm>
          <a:prstGeom prst="rect">
            <a:avLst/>
          </a:prstGeom>
        </p:spPr>
      </p:pic>
      <p:cxnSp>
        <p:nvCxnSpPr>
          <p:cNvPr id="78" name="Straight Arrow Connector 77" descr="An arrow pointing right">
            <a:extLst>
              <a:ext uri="{FF2B5EF4-FFF2-40B4-BE49-F238E27FC236}">
                <a16:creationId xmlns:a16="http://schemas.microsoft.com/office/drawing/2014/main" id="{7BCE813F-0A93-6CC5-D3E8-CEA5B7268DB8}"/>
              </a:ext>
            </a:extLst>
          </p:cNvPr>
          <p:cNvCxnSpPr/>
          <p:nvPr/>
        </p:nvCxnSpPr>
        <p:spPr>
          <a:xfrm>
            <a:off x="8367440" y="3714750"/>
            <a:ext cx="482080" cy="0"/>
          </a:xfrm>
          <a:prstGeom prst="straightConnector1">
            <a:avLst/>
          </a:prstGeom>
          <a:ln w="38100" cap="rnd" cmpd="sng" algn="ctr">
            <a:solidFill>
              <a:schemeClr val="tx1"/>
            </a:solidFill>
            <a:prstDash val="solid"/>
            <a:round/>
            <a:headEnd type="none" w="lg" len="med"/>
            <a:tailEnd type="arrow" w="lg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79" name="Straight Arrow Connector 78" descr="An arrow pointing left">
            <a:extLst>
              <a:ext uri="{FF2B5EF4-FFF2-40B4-BE49-F238E27FC236}">
                <a16:creationId xmlns:a16="http://schemas.microsoft.com/office/drawing/2014/main" id="{C1415497-D77E-BB74-2A85-25D3A6A21273}"/>
              </a:ext>
            </a:extLst>
          </p:cNvPr>
          <p:cNvCxnSpPr/>
          <p:nvPr/>
        </p:nvCxnSpPr>
        <p:spPr>
          <a:xfrm flipH="1">
            <a:off x="8308182" y="4020502"/>
            <a:ext cx="535600" cy="0"/>
          </a:xfrm>
          <a:prstGeom prst="straightConnector1">
            <a:avLst/>
          </a:prstGeom>
          <a:ln w="38100" cap="rnd" cmpd="sng" algn="ctr">
            <a:solidFill>
              <a:schemeClr val="tx1"/>
            </a:solidFill>
            <a:prstDash val="solid"/>
            <a:round/>
            <a:headEnd type="none" w="lg" len="med"/>
            <a:tailEnd type="arrow" w="lg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50" name="TextBox 49">
            <a:extLst>
              <a:ext uri="{FF2B5EF4-FFF2-40B4-BE49-F238E27FC236}">
                <a16:creationId xmlns:a16="http://schemas.microsoft.com/office/drawing/2014/main" id="{CF9C6ABA-403C-0B98-5F81-C742E6B2DB0F}"/>
              </a:ext>
            </a:extLst>
          </p:cNvPr>
          <p:cNvSpPr txBox="1"/>
          <p:nvPr/>
        </p:nvSpPr>
        <p:spPr>
          <a:xfrm>
            <a:off x="8779762" y="753586"/>
            <a:ext cx="2962658" cy="43088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defTabSz="932742">
              <a:lnSpc>
                <a:spcPct val="100000"/>
              </a:lnSpc>
              <a:spcBef>
                <a:spcPct val="0"/>
              </a:spcBef>
              <a:buNone/>
              <a:defRPr lang="en-US" sz="2800" b="0" cap="none" spc="-50" baseline="0" dirty="0" smtClean="0">
                <a:ln w="3175">
                  <a:noFill/>
                </a:ln>
                <a:effectLst/>
                <a:latin typeface="+mj-lt"/>
                <a:cs typeface="Segoe UI" pitchFamily="34" charset="0"/>
              </a:defRPr>
            </a:lvl1pPr>
          </a:lstStyle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-50" normalizeH="0" baseline="0" noProof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Connected agents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857627FA-D37E-4F0C-2323-BD64D29A16FC}"/>
              </a:ext>
            </a:extLst>
          </p:cNvPr>
          <p:cNvSpPr txBox="1"/>
          <p:nvPr/>
        </p:nvSpPr>
        <p:spPr>
          <a:xfrm>
            <a:off x="9944100" y="1767466"/>
            <a:ext cx="1442985" cy="71736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opilot Studi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gents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23878C50-6C3B-1D5B-97D0-D1A7AE7C53B6}"/>
              </a:ext>
            </a:extLst>
          </p:cNvPr>
          <p:cNvSpPr txBox="1"/>
          <p:nvPr/>
        </p:nvSpPr>
        <p:spPr>
          <a:xfrm>
            <a:off x="9944100" y="2936556"/>
            <a:ext cx="1442985" cy="71736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365 Agents SDK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5292C1B4-67C3-9980-3797-87CFD6EB9595}"/>
              </a:ext>
            </a:extLst>
          </p:cNvPr>
          <p:cNvSpPr txBox="1"/>
          <p:nvPr/>
        </p:nvSpPr>
        <p:spPr>
          <a:xfrm>
            <a:off x="9944100" y="4093489"/>
            <a:ext cx="1442985" cy="71736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zure Foundry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EA580F06-4848-BCDF-DE26-6619D8E4BF0F}"/>
              </a:ext>
            </a:extLst>
          </p:cNvPr>
          <p:cNvSpPr txBox="1"/>
          <p:nvPr/>
        </p:nvSpPr>
        <p:spPr>
          <a:xfrm>
            <a:off x="9944100" y="5250422"/>
            <a:ext cx="1442985" cy="71736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Fabric Data agents</a:t>
            </a:r>
          </a:p>
        </p:txBody>
      </p:sp>
    </p:spTree>
    <p:extLst>
      <p:ext uri="{BB962C8B-B14F-4D97-AF65-F5344CB8AC3E}">
        <p14:creationId xmlns:p14="http://schemas.microsoft.com/office/powerpoint/2010/main" val="2101221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" name="Group 28">
            <a:extLst>
              <a:ext uri="{FF2B5EF4-FFF2-40B4-BE49-F238E27FC236}">
                <a16:creationId xmlns:a16="http://schemas.microsoft.com/office/drawing/2014/main" id="{FC86EC9E-92FB-6247-E204-03CA6C3D0A0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1010702" y="1107433"/>
            <a:ext cx="10199304" cy="5576982"/>
            <a:chOff x="1122214" y="1201853"/>
            <a:chExt cx="10199304" cy="5816156"/>
          </a:xfrm>
        </p:grpSpPr>
        <p:grpSp>
          <p:nvGrpSpPr>
            <p:cNvPr id="93" name="Group 92">
              <a:extLst>
                <a:ext uri="{FF2B5EF4-FFF2-40B4-BE49-F238E27FC236}">
                  <a16:creationId xmlns:a16="http://schemas.microsoft.com/office/drawing/2014/main" id="{45C633B6-DA18-B7AE-54E4-60D542C7E0E5}"/>
                </a:ext>
              </a:extLst>
            </p:cNvPr>
            <p:cNvGrpSpPr/>
            <p:nvPr/>
          </p:nvGrpSpPr>
          <p:grpSpPr>
            <a:xfrm>
              <a:off x="4542277" y="1773131"/>
              <a:ext cx="3332321" cy="5244878"/>
              <a:chOff x="5690983" y="159715"/>
              <a:chExt cx="4105026" cy="6461071"/>
            </a:xfrm>
          </p:grpSpPr>
          <p:sp>
            <p:nvSpPr>
              <p:cNvPr id="98" name="Rectangle: Rounded Corners 19">
                <a:extLst>
                  <a:ext uri="{FF2B5EF4-FFF2-40B4-BE49-F238E27FC236}">
                    <a16:creationId xmlns:a16="http://schemas.microsoft.com/office/drawing/2014/main" id="{2027725B-02BA-DFD2-5539-DC86F6F53E46}"/>
                  </a:ext>
                </a:extLst>
              </p:cNvPr>
              <p:cNvSpPr/>
              <p:nvPr/>
            </p:nvSpPr>
            <p:spPr bwMode="auto">
              <a:xfrm>
                <a:off x="5690983" y="469901"/>
                <a:ext cx="4105026" cy="6150885"/>
              </a:xfrm>
              <a:prstGeom prst="roundRect">
                <a:avLst>
                  <a:gd name="adj" fmla="val 6526"/>
                </a:avLst>
              </a:prstGeom>
              <a:solidFill>
                <a:schemeClr val="bg1"/>
              </a:solidFill>
              <a:ln w="25400" cap="rnd">
                <a:gradFill flip="none" rotWithShape="1">
                  <a:gsLst>
                    <a:gs pos="0">
                      <a:srgbClr val="C03BC4"/>
                    </a:gs>
                    <a:gs pos="100000">
                      <a:srgbClr val="0078D4"/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headEnd type="none" w="lg" len="sm"/>
                <a:tailEnd type="none" w="lg" len="sm"/>
              </a:ln>
              <a:effectLst>
                <a:outerShdw blurRad="63500" dist="63500" dir="2700000" algn="tl" rotWithShape="0">
                  <a:srgbClr val="000000">
                    <a:alpha val="50000"/>
                  </a:srgb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ot="0" spcFirstLastPara="0" vertOverflow="overflow" horzOverflow="overflow" vert="horz" wrap="square" lIns="13716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/>
                  <a:ea typeface="+mn-ea"/>
                  <a:cs typeface="Segoe UI" pitchFamily="34" charset="0"/>
                </a:endParaRPr>
              </a:p>
            </p:txBody>
          </p:sp>
          <p:sp>
            <p:nvSpPr>
              <p:cNvPr id="99" name="Rectangle: Rounded Corners 98">
                <a:extLst>
                  <a:ext uri="{FF2B5EF4-FFF2-40B4-BE49-F238E27FC236}">
                    <a16:creationId xmlns:a16="http://schemas.microsoft.com/office/drawing/2014/main" id="{12322662-F8C3-1FD4-F075-7DD576210262}"/>
                  </a:ext>
                </a:extLst>
              </p:cNvPr>
              <p:cNvSpPr/>
              <p:nvPr/>
            </p:nvSpPr>
            <p:spPr bwMode="auto">
              <a:xfrm>
                <a:off x="5873709" y="1786207"/>
                <a:ext cx="3910153" cy="608534"/>
              </a:xfrm>
              <a:prstGeom prst="roundRect">
                <a:avLst/>
              </a:prstGeom>
              <a:ln w="19050" cap="rnd">
                <a:solidFill>
                  <a:schemeClr val="bg1">
                    <a:lumMod val="75000"/>
                  </a:schemeClr>
                </a:solidFill>
                <a:headEnd type="none" w="lg" len="sm"/>
                <a:tailEnd type="none" w="lg" len="sm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ot="0" spcFirstLastPara="0" vertOverflow="overflow" horzOverflow="overflow" vert="horz" wrap="square" lIns="13716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/>
                    <a:ea typeface="+mn-ea"/>
                    <a:cs typeface="Segoe UI" pitchFamily="34" charset="0"/>
                  </a:rPr>
                  <a:t>Multi-Agent Orchestration</a:t>
                </a:r>
              </a:p>
            </p:txBody>
          </p:sp>
          <p:sp>
            <p:nvSpPr>
              <p:cNvPr id="100" name="Rectangle: Rounded Corners 99">
                <a:extLst>
                  <a:ext uri="{FF2B5EF4-FFF2-40B4-BE49-F238E27FC236}">
                    <a16:creationId xmlns:a16="http://schemas.microsoft.com/office/drawing/2014/main" id="{B958D867-15F4-A4F6-7DAB-CA4A69932DCA}"/>
                  </a:ext>
                </a:extLst>
              </p:cNvPr>
              <p:cNvSpPr/>
              <p:nvPr/>
            </p:nvSpPr>
            <p:spPr bwMode="auto">
              <a:xfrm>
                <a:off x="6054299" y="2634553"/>
                <a:ext cx="3424178" cy="608534"/>
              </a:xfrm>
              <a:prstGeom prst="roundRect">
                <a:avLst/>
              </a:prstGeom>
              <a:ln w="19050" cap="rnd">
                <a:solidFill>
                  <a:schemeClr val="bg1">
                    <a:lumMod val="75000"/>
                  </a:schemeClr>
                </a:solidFill>
                <a:headEnd type="none" w="lg" len="sm"/>
                <a:tailEnd type="none" w="lg" len="sm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ot="0" spcFirstLastPara="0" vertOverflow="overflow" horzOverflow="overflow" vert="horz" wrap="square" lIns="13716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/>
                    <a:ea typeface="+mn-ea"/>
                    <a:cs typeface="Segoe UI" pitchFamily="34" charset="0"/>
                  </a:rPr>
                  <a:t>Memory and Threads</a:t>
                </a:r>
              </a:p>
            </p:txBody>
          </p:sp>
          <p:sp>
            <p:nvSpPr>
              <p:cNvPr id="101" name="Rectangle: Rounded Corners 100">
                <a:extLst>
                  <a:ext uri="{FF2B5EF4-FFF2-40B4-BE49-F238E27FC236}">
                    <a16:creationId xmlns:a16="http://schemas.microsoft.com/office/drawing/2014/main" id="{E4617CD2-48AE-D7B8-1A11-10AEE7700A3A}"/>
                  </a:ext>
                </a:extLst>
              </p:cNvPr>
              <p:cNvSpPr/>
              <p:nvPr/>
            </p:nvSpPr>
            <p:spPr bwMode="auto">
              <a:xfrm>
                <a:off x="6147883" y="3398333"/>
                <a:ext cx="3424178" cy="612648"/>
              </a:xfrm>
              <a:prstGeom prst="roundRect">
                <a:avLst/>
              </a:prstGeom>
              <a:ln w="19050" cap="rnd">
                <a:solidFill>
                  <a:schemeClr val="bg1">
                    <a:lumMod val="75000"/>
                  </a:schemeClr>
                </a:solidFill>
                <a:headEnd type="none" w="lg" len="sm"/>
                <a:tailEnd type="none" w="lg" len="sm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ot="0" spcFirstLastPara="0" vertOverflow="overflow" horzOverflow="overflow" vert="horz" wrap="square" lIns="13716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/>
                    <a:ea typeface="+mn-ea"/>
                    <a:cs typeface="Segoe UI" pitchFamily="34" charset="0"/>
                  </a:rPr>
                  <a:t>Actions</a:t>
                </a:r>
              </a:p>
            </p:txBody>
          </p:sp>
          <p:sp>
            <p:nvSpPr>
              <p:cNvPr id="102" name="Rectangle: Rounded Corners 101">
                <a:extLst>
                  <a:ext uri="{FF2B5EF4-FFF2-40B4-BE49-F238E27FC236}">
                    <a16:creationId xmlns:a16="http://schemas.microsoft.com/office/drawing/2014/main" id="{C94E2EFD-F914-3CF4-4CE5-8A9444EE4926}"/>
                  </a:ext>
                </a:extLst>
              </p:cNvPr>
              <p:cNvSpPr/>
              <p:nvPr/>
            </p:nvSpPr>
            <p:spPr bwMode="auto">
              <a:xfrm>
                <a:off x="6124127" y="4243800"/>
                <a:ext cx="3424178" cy="612648"/>
              </a:xfrm>
              <a:prstGeom prst="roundRect">
                <a:avLst>
                  <a:gd name="adj" fmla="val 16696"/>
                </a:avLst>
              </a:prstGeom>
              <a:ln w="19050" cap="rnd">
                <a:solidFill>
                  <a:schemeClr val="bg1">
                    <a:lumMod val="75000"/>
                  </a:schemeClr>
                </a:solidFill>
                <a:headEnd type="none" w="lg" len="sm"/>
                <a:tailEnd type="none" w="lg" len="sm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ot="0" spcFirstLastPara="0" vertOverflow="overflow" horzOverflow="overflow" vert="horz" wrap="square" lIns="13716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/>
                    <a:ea typeface="+mn-ea"/>
                    <a:cs typeface="Segoe UI" pitchFamily="34" charset="0"/>
                  </a:rPr>
                  <a:t>Knowledge</a:t>
                </a:r>
              </a:p>
            </p:txBody>
          </p:sp>
          <p:sp>
            <p:nvSpPr>
              <p:cNvPr id="103" name="Rectangle: Rounded Corners 102">
                <a:extLst>
                  <a:ext uri="{FF2B5EF4-FFF2-40B4-BE49-F238E27FC236}">
                    <a16:creationId xmlns:a16="http://schemas.microsoft.com/office/drawing/2014/main" id="{E861CF6B-582B-029C-FFF2-E19047A424E4}"/>
                  </a:ext>
                </a:extLst>
              </p:cNvPr>
              <p:cNvSpPr/>
              <p:nvPr/>
            </p:nvSpPr>
            <p:spPr bwMode="auto">
              <a:xfrm>
                <a:off x="6113567" y="5022108"/>
                <a:ext cx="3424178" cy="608534"/>
              </a:xfrm>
              <a:prstGeom prst="roundRect">
                <a:avLst/>
              </a:prstGeom>
              <a:ln w="19050" cap="rnd">
                <a:solidFill>
                  <a:schemeClr val="bg1">
                    <a:lumMod val="75000"/>
                  </a:schemeClr>
                </a:solidFill>
                <a:headEnd type="none" w="lg" len="sm"/>
                <a:tailEnd type="none" w="lg" len="sm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ot="0" spcFirstLastPara="0" vertOverflow="overflow" horzOverflow="overflow" vert="horz" wrap="square" lIns="13716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/>
                    <a:ea typeface="+mn-ea"/>
                    <a:cs typeface="Segoe UI" pitchFamily="34" charset="0"/>
                  </a:rPr>
                  <a:t>Tool Orchestrator</a:t>
                </a:r>
              </a:p>
            </p:txBody>
          </p:sp>
          <p:sp>
            <p:nvSpPr>
              <p:cNvPr id="104" name="Rectangle: Rounded Corners 103">
                <a:extLst>
                  <a:ext uri="{FF2B5EF4-FFF2-40B4-BE49-F238E27FC236}">
                    <a16:creationId xmlns:a16="http://schemas.microsoft.com/office/drawing/2014/main" id="{599FF652-6529-ECD2-2356-C8BF87E54859}"/>
                  </a:ext>
                </a:extLst>
              </p:cNvPr>
              <p:cNvSpPr/>
              <p:nvPr/>
            </p:nvSpPr>
            <p:spPr bwMode="auto">
              <a:xfrm>
                <a:off x="6054299" y="5846638"/>
                <a:ext cx="3424178" cy="608534"/>
              </a:xfrm>
              <a:prstGeom prst="roundRect">
                <a:avLst/>
              </a:prstGeom>
              <a:ln w="19050" cap="rnd">
                <a:solidFill>
                  <a:schemeClr val="bg1">
                    <a:lumMod val="75000"/>
                  </a:schemeClr>
                </a:solidFill>
                <a:headEnd type="none" w="lg" len="sm"/>
                <a:tailEnd type="none" w="lg" len="sm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ot="0" spcFirstLastPara="0" vertOverflow="overflow" horzOverflow="overflow" vert="horz" wrap="square" lIns="13716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-4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/>
                    <a:ea typeface="+mn-ea"/>
                    <a:cs typeface="Segoe UI" pitchFamily="34" charset="0"/>
                  </a:rPr>
                  <a:t>Foundational Models</a:t>
                </a:r>
              </a:p>
            </p:txBody>
          </p:sp>
          <p:cxnSp>
            <p:nvCxnSpPr>
              <p:cNvPr id="106" name="!!1">
                <a:extLst>
                  <a:ext uri="{FF2B5EF4-FFF2-40B4-BE49-F238E27FC236}">
                    <a16:creationId xmlns:a16="http://schemas.microsoft.com/office/drawing/2014/main" id="{226D65B8-53E7-3C85-9184-780073C5800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169359" y="918780"/>
                <a:ext cx="1194062" cy="0"/>
              </a:xfrm>
              <a:prstGeom prst="line">
                <a:avLst/>
              </a:prstGeom>
              <a:ln w="12700" cap="rnd">
                <a:solidFill>
                  <a:srgbClr val="3A4953">
                    <a:alpha val="0"/>
                  </a:srgbClr>
                </a:solidFill>
                <a:headEnd type="none" w="lg" len="sm"/>
                <a:tailEnd type="none" w="lg" len="sm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!!2">
                <a:extLst>
                  <a:ext uri="{FF2B5EF4-FFF2-40B4-BE49-F238E27FC236}">
                    <a16:creationId xmlns:a16="http://schemas.microsoft.com/office/drawing/2014/main" id="{4D38D89A-B87A-414C-F70A-3A0897F1847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169359" y="1727769"/>
                <a:ext cx="1194062" cy="0"/>
              </a:xfrm>
              <a:prstGeom prst="line">
                <a:avLst/>
              </a:prstGeom>
              <a:ln w="12700" cap="rnd">
                <a:solidFill>
                  <a:srgbClr val="3A4953">
                    <a:alpha val="0"/>
                  </a:srgbClr>
                </a:solidFill>
                <a:headEnd type="none" w="lg" len="sm"/>
                <a:tailEnd type="none" w="lg" len="sm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!!3">
                <a:extLst>
                  <a:ext uri="{FF2B5EF4-FFF2-40B4-BE49-F238E27FC236}">
                    <a16:creationId xmlns:a16="http://schemas.microsoft.com/office/drawing/2014/main" id="{4E08BC53-FE1C-12DC-1216-6B8AC99D40F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169359" y="2536759"/>
                <a:ext cx="1194062" cy="0"/>
              </a:xfrm>
              <a:prstGeom prst="line">
                <a:avLst/>
              </a:prstGeom>
              <a:ln w="12700" cap="rnd">
                <a:solidFill>
                  <a:srgbClr val="3A4953">
                    <a:alpha val="0"/>
                  </a:srgbClr>
                </a:solidFill>
                <a:headEnd type="none" w="lg" len="sm"/>
                <a:tailEnd type="none" w="lg" len="sm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!!4">
                <a:extLst>
                  <a:ext uri="{FF2B5EF4-FFF2-40B4-BE49-F238E27FC236}">
                    <a16:creationId xmlns:a16="http://schemas.microsoft.com/office/drawing/2014/main" id="{2D94F10A-50E6-79BB-5B3F-91C7F415B61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169359" y="3345748"/>
                <a:ext cx="1194062" cy="0"/>
              </a:xfrm>
              <a:prstGeom prst="line">
                <a:avLst/>
              </a:prstGeom>
              <a:ln w="12700" cap="rnd">
                <a:solidFill>
                  <a:srgbClr val="3A4953">
                    <a:alpha val="0"/>
                  </a:srgbClr>
                </a:solidFill>
                <a:headEnd type="none" w="lg" len="sm"/>
                <a:tailEnd type="none" w="lg" len="sm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!!5">
                <a:extLst>
                  <a:ext uri="{FF2B5EF4-FFF2-40B4-BE49-F238E27FC236}">
                    <a16:creationId xmlns:a16="http://schemas.microsoft.com/office/drawing/2014/main" id="{31563668-A9A3-B468-8120-84E57889667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169359" y="4154738"/>
                <a:ext cx="1194062" cy="0"/>
              </a:xfrm>
              <a:prstGeom prst="line">
                <a:avLst/>
              </a:prstGeom>
              <a:ln w="12700" cap="rnd">
                <a:solidFill>
                  <a:srgbClr val="3A4953">
                    <a:alpha val="0"/>
                  </a:srgbClr>
                </a:solidFill>
                <a:headEnd type="none" w="lg" len="sm"/>
                <a:tailEnd type="none" w="lg" len="sm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!!6">
                <a:extLst>
                  <a:ext uri="{FF2B5EF4-FFF2-40B4-BE49-F238E27FC236}">
                    <a16:creationId xmlns:a16="http://schemas.microsoft.com/office/drawing/2014/main" id="{E809ECCF-52E2-F27E-C5BB-7CB1E3EC170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169359" y="4963727"/>
                <a:ext cx="1194062" cy="0"/>
              </a:xfrm>
              <a:prstGeom prst="line">
                <a:avLst/>
              </a:prstGeom>
              <a:ln w="12700" cap="rnd">
                <a:solidFill>
                  <a:srgbClr val="3A4953">
                    <a:alpha val="0"/>
                  </a:srgbClr>
                </a:solidFill>
                <a:headEnd type="none" w="lg" len="sm"/>
                <a:tailEnd type="none" w="lg" len="sm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116" name="Picture 115">
                <a:extLst>
                  <a:ext uri="{FF2B5EF4-FFF2-40B4-BE49-F238E27FC236}">
                    <a16:creationId xmlns:a16="http://schemas.microsoft.com/office/drawing/2014/main" id="{5109BCCD-FA81-D938-2C02-07E1C321D5C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6799391" y="159715"/>
                <a:ext cx="1960841" cy="574441"/>
              </a:xfrm>
              <a:prstGeom prst="rect">
                <a:avLst/>
              </a:prstGeom>
            </p:spPr>
          </p:pic>
        </p:grp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57E20683-1384-FA53-8DFE-D62FB4EAF13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/>
          </p:nvCxnSpPr>
          <p:spPr>
            <a:xfrm>
              <a:off x="3945875" y="3333978"/>
              <a:ext cx="748214" cy="0"/>
            </a:xfrm>
            <a:prstGeom prst="line">
              <a:avLst/>
            </a:prstGeom>
            <a:ln>
              <a:solidFill>
                <a:schemeClr val="tx1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B93DB73-0A15-19CE-2FB1-5819E04ABE7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/>
          </p:nvCxnSpPr>
          <p:spPr>
            <a:xfrm>
              <a:off x="3952254" y="4023394"/>
              <a:ext cx="748214" cy="0"/>
            </a:xfrm>
            <a:prstGeom prst="line">
              <a:avLst/>
            </a:prstGeom>
            <a:ln>
              <a:solidFill>
                <a:schemeClr val="tx1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3294BC17-8672-9600-F83E-2DE7C065AAF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/>
          </p:nvCxnSpPr>
          <p:spPr>
            <a:xfrm>
              <a:off x="3944601" y="4655599"/>
              <a:ext cx="748214" cy="0"/>
            </a:xfrm>
            <a:prstGeom prst="line">
              <a:avLst/>
            </a:prstGeom>
            <a:ln>
              <a:solidFill>
                <a:schemeClr val="tx1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5E58766E-D9FE-3D21-4EA3-91D6C31A670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/>
          </p:nvCxnSpPr>
          <p:spPr>
            <a:xfrm>
              <a:off x="3952254" y="5332745"/>
              <a:ext cx="748214" cy="0"/>
            </a:xfrm>
            <a:prstGeom prst="line">
              <a:avLst/>
            </a:prstGeom>
            <a:ln>
              <a:solidFill>
                <a:schemeClr val="tx1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8D6E5B38-447D-D5CE-67D8-5B0ADD4E7B3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/>
          </p:nvCxnSpPr>
          <p:spPr>
            <a:xfrm>
              <a:off x="3944601" y="5961227"/>
              <a:ext cx="748214" cy="0"/>
            </a:xfrm>
            <a:prstGeom prst="line">
              <a:avLst/>
            </a:prstGeom>
            <a:ln>
              <a:solidFill>
                <a:schemeClr val="tx1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AFBEB7F-2FFD-A664-7D94-69629241E56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/>
          </p:nvCxnSpPr>
          <p:spPr>
            <a:xfrm>
              <a:off x="3944601" y="6631853"/>
              <a:ext cx="748214" cy="0"/>
            </a:xfrm>
            <a:prstGeom prst="line">
              <a:avLst/>
            </a:prstGeom>
            <a:ln>
              <a:solidFill>
                <a:schemeClr val="tx1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A8D77F9-AB77-522E-E384-98951C88CAD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/>
          </p:nvCxnSpPr>
          <p:spPr>
            <a:xfrm>
              <a:off x="7767472" y="3333978"/>
              <a:ext cx="748214" cy="0"/>
            </a:xfrm>
            <a:prstGeom prst="line">
              <a:avLst/>
            </a:prstGeom>
            <a:ln>
              <a:solidFill>
                <a:schemeClr val="tx1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8BE64FE6-826D-11F3-382D-DD98961B108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/>
          </p:nvCxnSpPr>
          <p:spPr>
            <a:xfrm>
              <a:off x="7775125" y="4011756"/>
              <a:ext cx="748214" cy="0"/>
            </a:xfrm>
            <a:prstGeom prst="line">
              <a:avLst/>
            </a:prstGeom>
            <a:ln>
              <a:solidFill>
                <a:schemeClr val="tx1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0998B8F6-DD94-6A5D-F5B2-FEFDB2A2B24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/>
          </p:nvCxnSpPr>
          <p:spPr>
            <a:xfrm>
              <a:off x="7767472" y="4003636"/>
              <a:ext cx="748214" cy="0"/>
            </a:xfrm>
            <a:prstGeom prst="line">
              <a:avLst/>
            </a:prstGeom>
            <a:ln>
              <a:solidFill>
                <a:schemeClr val="tx1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92E5D93A-FA11-8387-7B3A-6F1B1582EB2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/>
          </p:nvCxnSpPr>
          <p:spPr>
            <a:xfrm>
              <a:off x="7775125" y="5312127"/>
              <a:ext cx="748214" cy="0"/>
            </a:xfrm>
            <a:prstGeom prst="line">
              <a:avLst/>
            </a:prstGeom>
            <a:ln>
              <a:solidFill>
                <a:schemeClr val="tx1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2663F822-37AB-25D6-7A1A-BE57D30652D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/>
          </p:nvCxnSpPr>
          <p:spPr>
            <a:xfrm>
              <a:off x="7767472" y="6631853"/>
              <a:ext cx="748214" cy="0"/>
            </a:xfrm>
            <a:prstGeom prst="line">
              <a:avLst/>
            </a:prstGeom>
            <a:ln>
              <a:solidFill>
                <a:schemeClr val="tx1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64" name="Picture 163" descr="Copilot Studio icon">
              <a:extLst>
                <a:ext uri="{FF2B5EF4-FFF2-40B4-BE49-F238E27FC236}">
                  <a16:creationId xmlns:a16="http://schemas.microsoft.com/office/drawing/2014/main" id="{30CEF8D5-B7C7-6310-16F3-D7D927DF3AA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022059" y="1236865"/>
              <a:ext cx="540321" cy="528586"/>
            </a:xfrm>
            <a:prstGeom prst="rect">
              <a:avLst/>
            </a:prstGeom>
            <a:effectLst/>
          </p:spPr>
        </p:pic>
        <p:sp>
          <p:nvSpPr>
            <p:cNvPr id="165" name="Rectangle: Rounded Corners 164">
              <a:extLst>
                <a:ext uri="{FF2B5EF4-FFF2-40B4-BE49-F238E27FC236}">
                  <a16:creationId xmlns:a16="http://schemas.microsoft.com/office/drawing/2014/main" id="{5DB09FAA-5596-2FC9-9BC4-1493C07DA864}"/>
                </a:ext>
              </a:extLst>
            </p:cNvPr>
            <p:cNvSpPr/>
            <p:nvPr/>
          </p:nvSpPr>
          <p:spPr bwMode="auto">
            <a:xfrm>
              <a:off x="1362545" y="1798570"/>
              <a:ext cx="1856747" cy="422727"/>
            </a:xfrm>
            <a:prstGeom prst="roundRect">
              <a:avLst>
                <a:gd name="adj" fmla="val 50000"/>
              </a:avLst>
            </a:prstGeom>
            <a:noFill/>
            <a:ln w="1270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/>
                  <a:ea typeface="+mn-ea"/>
                  <a:cs typeface="Segoe UI" pitchFamily="34" charset="0"/>
                </a:rPr>
                <a:t>Copilot Studio</a:t>
              </a:r>
            </a:p>
          </p:txBody>
        </p:sp>
        <p:pic>
          <p:nvPicPr>
            <p:cNvPr id="166" name="Picture 165">
              <a:extLst>
                <a:ext uri="{FF2B5EF4-FFF2-40B4-BE49-F238E27FC236}">
                  <a16:creationId xmlns:a16="http://schemas.microsoft.com/office/drawing/2014/main" id="{52A0ED07-DF05-37E9-D116-FD46BB73026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31085" y="1221571"/>
              <a:ext cx="737917" cy="436305"/>
            </a:xfrm>
            <a:prstGeom prst="rect">
              <a:avLst/>
            </a:prstGeom>
          </p:spPr>
        </p:pic>
        <p:sp>
          <p:nvSpPr>
            <p:cNvPr id="167" name="Rectangle: Rounded Corners 166">
              <a:extLst>
                <a:ext uri="{FF2B5EF4-FFF2-40B4-BE49-F238E27FC236}">
                  <a16:creationId xmlns:a16="http://schemas.microsoft.com/office/drawing/2014/main" id="{50C73EAC-4CE0-0A92-509E-3AB4A2AB212F}"/>
                </a:ext>
              </a:extLst>
            </p:cNvPr>
            <p:cNvSpPr/>
            <p:nvPr/>
          </p:nvSpPr>
          <p:spPr bwMode="auto">
            <a:xfrm>
              <a:off x="8706208" y="1798570"/>
              <a:ext cx="2615310" cy="422727"/>
            </a:xfrm>
            <a:prstGeom prst="roundRect">
              <a:avLst>
                <a:gd name="adj" fmla="val 50000"/>
              </a:avLst>
            </a:prstGeom>
            <a:noFill/>
            <a:ln w="1270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/>
                  <a:ea typeface="+mn-ea"/>
                  <a:cs typeface="Segoe UI" pitchFamily="34" charset="0"/>
                </a:rPr>
                <a:t>Visual Studio + GitHub</a:t>
              </a:r>
            </a:p>
          </p:txBody>
        </p:sp>
        <p:pic>
          <p:nvPicPr>
            <p:cNvPr id="168" name="Graphic 167">
              <a:extLst>
                <a:ext uri="{FF2B5EF4-FFF2-40B4-BE49-F238E27FC236}">
                  <a16:creationId xmlns:a16="http://schemas.microsoft.com/office/drawing/2014/main" id="{3AD4191A-974E-1B1F-D083-A813DA694B1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0059558" y="1201853"/>
              <a:ext cx="440297" cy="407996"/>
            </a:xfrm>
            <a:prstGeom prst="rect">
              <a:avLst/>
            </a:prstGeom>
          </p:spPr>
        </p:pic>
        <p:sp>
          <p:nvSpPr>
            <p:cNvPr id="170" name="Rectangle: Rounded Corners 169">
              <a:extLst>
                <a:ext uri="{FF2B5EF4-FFF2-40B4-BE49-F238E27FC236}">
                  <a16:creationId xmlns:a16="http://schemas.microsoft.com/office/drawing/2014/main" id="{897744AE-C2BE-D9F0-35DF-F940D6DC0E97}"/>
                </a:ext>
              </a:extLst>
            </p:cNvPr>
            <p:cNvSpPr/>
            <p:nvPr/>
          </p:nvSpPr>
          <p:spPr bwMode="auto">
            <a:xfrm>
              <a:off x="8848498" y="5704860"/>
              <a:ext cx="2450109" cy="537723"/>
            </a:xfrm>
            <a:prstGeom prst="roundRect">
              <a:avLst>
                <a:gd name="adj" fmla="val 50000"/>
              </a:avLst>
            </a:prstGeom>
            <a:solidFill>
              <a:schemeClr val="tx1">
                <a:alpha val="10000"/>
              </a:schemeClr>
            </a:solidFill>
            <a:ln w="1270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/>
                  <a:ea typeface="+mn-ea"/>
                  <a:cs typeface="Segoe UI" pitchFamily="34" charset="0"/>
                </a:rPr>
                <a:t>Foundry Agent Service</a:t>
              </a:r>
            </a:p>
          </p:txBody>
        </p:sp>
        <p:sp>
          <p:nvSpPr>
            <p:cNvPr id="171" name="Rectangle: Rounded Corners 170">
              <a:extLst>
                <a:ext uri="{FF2B5EF4-FFF2-40B4-BE49-F238E27FC236}">
                  <a16:creationId xmlns:a16="http://schemas.microsoft.com/office/drawing/2014/main" id="{62C2D1E2-5B2E-23A8-FDD9-2649DDB3A8A0}"/>
                </a:ext>
              </a:extLst>
            </p:cNvPr>
            <p:cNvSpPr/>
            <p:nvPr/>
          </p:nvSpPr>
          <p:spPr bwMode="auto">
            <a:xfrm>
              <a:off x="8848498" y="6362991"/>
              <a:ext cx="2450109" cy="537723"/>
            </a:xfrm>
            <a:prstGeom prst="roundRect">
              <a:avLst>
                <a:gd name="adj" fmla="val 50000"/>
              </a:avLst>
            </a:prstGeom>
            <a:solidFill>
              <a:schemeClr val="tx1">
                <a:alpha val="10000"/>
              </a:schemeClr>
            </a:solidFill>
            <a:ln w="1270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/>
                  <a:ea typeface="+mn-ea"/>
                  <a:cs typeface="Segoe UI" pitchFamily="34" charset="0"/>
                </a:rPr>
                <a:t>Foundry Models</a:t>
              </a:r>
            </a:p>
          </p:txBody>
        </p:sp>
        <p:cxnSp>
          <p:nvCxnSpPr>
            <p:cNvPr id="172" name="Straight Connector 171">
              <a:extLst>
                <a:ext uri="{FF2B5EF4-FFF2-40B4-BE49-F238E27FC236}">
                  <a16:creationId xmlns:a16="http://schemas.microsoft.com/office/drawing/2014/main" id="{DC647937-FFEA-C1BC-0AA3-73B7A4E6360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/>
          </p:nvCxnSpPr>
          <p:spPr>
            <a:xfrm>
              <a:off x="7767472" y="5959772"/>
              <a:ext cx="748214" cy="0"/>
            </a:xfrm>
            <a:prstGeom prst="line">
              <a:avLst/>
            </a:prstGeom>
            <a:ln>
              <a:solidFill>
                <a:schemeClr val="tx1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3" name="Rectangle: Rounded Corners 172">
              <a:extLst>
                <a:ext uri="{FF2B5EF4-FFF2-40B4-BE49-F238E27FC236}">
                  <a16:creationId xmlns:a16="http://schemas.microsoft.com/office/drawing/2014/main" id="{89ACA3AA-89E2-ECC4-971C-FAE9FFA3B0A7}"/>
                </a:ext>
              </a:extLst>
            </p:cNvPr>
            <p:cNvSpPr/>
            <p:nvPr/>
          </p:nvSpPr>
          <p:spPr bwMode="auto">
            <a:xfrm>
              <a:off x="8848500" y="5041501"/>
              <a:ext cx="2450109" cy="534851"/>
            </a:xfrm>
            <a:prstGeom prst="roundRect">
              <a:avLst>
                <a:gd name="adj" fmla="val 50000"/>
              </a:avLst>
            </a:prstGeom>
            <a:solidFill>
              <a:schemeClr val="tx1">
                <a:alpha val="10000"/>
              </a:schemeClr>
            </a:solidFill>
            <a:ln w="1270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/>
                  <a:ea typeface="+mn-ea"/>
                  <a:cs typeface="Segoe UI" pitchFamily="34" charset="0"/>
                </a:rPr>
                <a:t>Knowledge Tools</a:t>
              </a:r>
            </a:p>
            <a:p>
              <a:pPr marL="0" marR="0" lvl="0" indent="0" algn="ctr" defTabSz="932472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/>
                  <a:ea typeface="+mn-ea"/>
                  <a:cs typeface="Segoe UI" pitchFamily="34" charset="0"/>
                </a:rPr>
                <a:t>Azure AI Search, Bing, Fabric, SharePoint</a:t>
              </a:r>
            </a:p>
          </p:txBody>
        </p:sp>
        <p:sp>
          <p:nvSpPr>
            <p:cNvPr id="2" name="Rectangle: Rounded Corners 1">
              <a:extLst>
                <a:ext uri="{FF2B5EF4-FFF2-40B4-BE49-F238E27FC236}">
                  <a16:creationId xmlns:a16="http://schemas.microsoft.com/office/drawing/2014/main" id="{564968E6-E3A3-4C2F-423F-AD2B19BBE493}"/>
                </a:ext>
              </a:extLst>
            </p:cNvPr>
            <p:cNvSpPr/>
            <p:nvPr/>
          </p:nvSpPr>
          <p:spPr bwMode="auto">
            <a:xfrm>
              <a:off x="8848499" y="4383370"/>
              <a:ext cx="2450109" cy="534851"/>
            </a:xfrm>
            <a:prstGeom prst="roundRect">
              <a:avLst>
                <a:gd name="adj" fmla="val 50000"/>
              </a:avLst>
            </a:prstGeom>
            <a:solidFill>
              <a:schemeClr val="tx1">
                <a:alpha val="10000"/>
              </a:schemeClr>
            </a:solidFill>
            <a:ln w="1270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/>
                  <a:ea typeface="+mn-ea"/>
                  <a:cs typeface="Segoe UI" pitchFamily="34" charset="0"/>
                </a:rPr>
                <a:t>Action Tools</a:t>
              </a:r>
            </a:p>
            <a:p>
              <a:pPr marL="0" marR="0" lvl="0" indent="0" algn="ctr" defTabSz="932472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/>
                  <a:ea typeface="+mn-ea"/>
                  <a:cs typeface="Segoe UI" pitchFamily="34" charset="0"/>
                </a:rPr>
                <a:t>Logic Apps, Functions, OpenAPI, MCP</a:t>
              </a:r>
            </a:p>
          </p:txBody>
        </p:sp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61C83283-30AD-C4A2-FC67-68E1DFDD5DCF}"/>
                </a:ext>
              </a:extLst>
            </p:cNvPr>
            <p:cNvSpPr/>
            <p:nvPr/>
          </p:nvSpPr>
          <p:spPr bwMode="auto">
            <a:xfrm>
              <a:off x="8848498" y="3725240"/>
              <a:ext cx="2450109" cy="534851"/>
            </a:xfrm>
            <a:prstGeom prst="roundRect">
              <a:avLst>
                <a:gd name="adj" fmla="val 50000"/>
              </a:avLst>
            </a:prstGeom>
            <a:solidFill>
              <a:schemeClr val="tx1">
                <a:alpha val="10000"/>
              </a:schemeClr>
            </a:solidFill>
            <a:ln w="1270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/>
                  <a:ea typeface="+mn-ea"/>
                  <a:cs typeface="Segoe UI" pitchFamily="34" charset="0"/>
                </a:rPr>
                <a:t>Built-in or BYO with Cosmos DB</a:t>
              </a:r>
            </a:p>
          </p:txBody>
        </p:sp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id="{0A93CD6C-9193-3BEC-E9E6-B0F83E01C1FB}"/>
                </a:ext>
              </a:extLst>
            </p:cNvPr>
            <p:cNvSpPr/>
            <p:nvPr/>
          </p:nvSpPr>
          <p:spPr bwMode="auto">
            <a:xfrm>
              <a:off x="8848498" y="3071986"/>
              <a:ext cx="2450109" cy="534851"/>
            </a:xfrm>
            <a:prstGeom prst="roundRect">
              <a:avLst>
                <a:gd name="adj" fmla="val 50000"/>
              </a:avLst>
            </a:prstGeom>
            <a:solidFill>
              <a:schemeClr val="tx1">
                <a:alpha val="10000"/>
              </a:schemeClr>
            </a:solidFill>
            <a:ln w="1270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/>
                  <a:ea typeface="+mn-ea"/>
                  <a:cs typeface="Segoe UI" pitchFamily="34" charset="0"/>
                </a:rPr>
                <a:t>Multi-agent workflow</a:t>
              </a:r>
            </a:p>
            <a:p>
              <a:pPr marL="0" marR="0" lvl="0" indent="0" algn="ctr" defTabSz="932472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/>
                  <a:ea typeface="+mn-ea"/>
                  <a:cs typeface="Segoe UI" pitchFamily="34" charset="0"/>
                </a:rPr>
                <a:t> Connected Agent</a:t>
              </a:r>
            </a:p>
            <a:p>
              <a:pPr marL="0" marR="0" lvl="0" indent="0" algn="ctr" defTabSz="932472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/>
                  <a:ea typeface="+mn-ea"/>
                  <a:cs typeface="Segoe UI" pitchFamily="34" charset="0"/>
                </a:rPr>
                <a:t>Agent Framework </a:t>
              </a:r>
            </a:p>
          </p:txBody>
        </p: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29957323-1095-5FCA-985F-B0804E9F5526}"/>
                </a:ext>
              </a:extLst>
            </p:cNvPr>
            <p:cNvSpPr/>
            <p:nvPr/>
          </p:nvSpPr>
          <p:spPr bwMode="auto">
            <a:xfrm>
              <a:off x="1122214" y="5704860"/>
              <a:ext cx="2450109" cy="537723"/>
            </a:xfrm>
            <a:prstGeom prst="roundRect">
              <a:avLst>
                <a:gd name="adj" fmla="val 50000"/>
              </a:avLst>
            </a:prstGeom>
            <a:solidFill>
              <a:schemeClr val="tx1">
                <a:alpha val="10000"/>
              </a:schemeClr>
            </a:solidFill>
            <a:ln w="1270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/>
                  <a:ea typeface="+mn-ea"/>
                  <a:cs typeface="Segoe UI"/>
                </a:rPr>
                <a:t>Default Prebuilt Orchestrator</a:t>
              </a: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endParaRPr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6CA32D17-BCE2-6639-0DB2-1E37EA9613B5}"/>
                </a:ext>
              </a:extLst>
            </p:cNvPr>
            <p:cNvSpPr/>
            <p:nvPr/>
          </p:nvSpPr>
          <p:spPr bwMode="auto">
            <a:xfrm>
              <a:off x="1122214" y="6362991"/>
              <a:ext cx="2450109" cy="537723"/>
            </a:xfrm>
            <a:prstGeom prst="roundRect">
              <a:avLst>
                <a:gd name="adj" fmla="val 50000"/>
              </a:avLst>
            </a:prstGeom>
            <a:solidFill>
              <a:schemeClr val="tx1">
                <a:alpha val="10000"/>
              </a:schemeClr>
            </a:solidFill>
            <a:ln w="1270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/>
                  <a:ea typeface="+mn-ea"/>
                  <a:cs typeface="Segoe UI" pitchFamily="34" charset="0"/>
                </a:rPr>
                <a:t>Foundry Models</a:t>
              </a:r>
            </a:p>
          </p:txBody>
        </p: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30C7E2F0-339B-89CF-3A48-85C8F7F0D56A}"/>
                </a:ext>
              </a:extLst>
            </p:cNvPr>
            <p:cNvSpPr/>
            <p:nvPr/>
          </p:nvSpPr>
          <p:spPr bwMode="auto">
            <a:xfrm>
              <a:off x="1122216" y="5041501"/>
              <a:ext cx="2450109" cy="534851"/>
            </a:xfrm>
            <a:prstGeom prst="roundRect">
              <a:avLst>
                <a:gd name="adj" fmla="val 50000"/>
              </a:avLst>
            </a:prstGeom>
            <a:solidFill>
              <a:schemeClr val="tx1">
                <a:alpha val="10000"/>
              </a:schemeClr>
            </a:solidFill>
            <a:ln w="1270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/>
                  <a:ea typeface="+mn-ea"/>
                  <a:cs typeface="Segoe UI" pitchFamily="34" charset="0"/>
                </a:rPr>
                <a:t>Knowledge Tools</a:t>
              </a:r>
            </a:p>
            <a:p>
              <a:pPr marL="0" marR="0" lvl="0" indent="0" algn="ctr" defTabSz="932472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/>
                  <a:ea typeface="+mn-ea"/>
                  <a:cs typeface="Segoe UI" pitchFamily="34" charset="0"/>
                </a:rPr>
                <a:t>Azure AI Search, Bing, Fabric, SharePoint</a:t>
              </a:r>
            </a:p>
          </p:txBody>
        </p: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0F888710-F18A-F2CE-F04A-9D86B59CCB44}"/>
                </a:ext>
              </a:extLst>
            </p:cNvPr>
            <p:cNvSpPr/>
            <p:nvPr/>
          </p:nvSpPr>
          <p:spPr bwMode="auto">
            <a:xfrm>
              <a:off x="1122215" y="4383370"/>
              <a:ext cx="2450109" cy="534851"/>
            </a:xfrm>
            <a:prstGeom prst="roundRect">
              <a:avLst>
                <a:gd name="adj" fmla="val 50000"/>
              </a:avLst>
            </a:prstGeom>
            <a:solidFill>
              <a:schemeClr val="tx1">
                <a:alpha val="10000"/>
              </a:schemeClr>
            </a:solidFill>
            <a:ln w="1270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/>
                  <a:ea typeface="+mn-ea"/>
                  <a:cs typeface="Segoe UI"/>
                </a:rPr>
                <a:t>Prebuilt actions + Custom Plugin Actions</a:t>
              </a:r>
              <a:endPara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"/>
              </a:endParaRPr>
            </a:p>
          </p:txBody>
        </p: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628E1850-C4AF-C0F2-43F3-D97DAC255ABF}"/>
                </a:ext>
              </a:extLst>
            </p:cNvPr>
            <p:cNvSpPr/>
            <p:nvPr/>
          </p:nvSpPr>
          <p:spPr bwMode="auto">
            <a:xfrm>
              <a:off x="1122214" y="3725240"/>
              <a:ext cx="2450109" cy="534851"/>
            </a:xfrm>
            <a:prstGeom prst="roundRect">
              <a:avLst>
                <a:gd name="adj" fmla="val 50000"/>
              </a:avLst>
            </a:prstGeom>
            <a:solidFill>
              <a:schemeClr val="tx1">
                <a:alpha val="10000"/>
              </a:schemeClr>
            </a:solidFill>
            <a:ln w="1270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/>
                  <a:ea typeface="+mn-ea"/>
                  <a:cs typeface="Segoe UI" pitchFamily="34" charset="0"/>
                </a:rPr>
                <a:t>Built-in Memory</a:t>
              </a:r>
            </a:p>
          </p:txBody>
        </p: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424EDF60-1CB9-8017-BB03-EB975E37770D}"/>
                </a:ext>
              </a:extLst>
            </p:cNvPr>
            <p:cNvSpPr/>
            <p:nvPr/>
          </p:nvSpPr>
          <p:spPr bwMode="auto">
            <a:xfrm>
              <a:off x="1122214" y="3071986"/>
              <a:ext cx="2450109" cy="534851"/>
            </a:xfrm>
            <a:prstGeom prst="roundRect">
              <a:avLst>
                <a:gd name="adj" fmla="val 50000"/>
              </a:avLst>
            </a:prstGeom>
            <a:solidFill>
              <a:schemeClr val="tx1">
                <a:alpha val="10000"/>
              </a:schemeClr>
            </a:solidFill>
            <a:ln w="1270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/>
                  <a:ea typeface="+mn-ea"/>
                  <a:cs typeface="Segoe UI" pitchFamily="34" charset="0"/>
                </a:rPr>
                <a:t>Connected Agent</a:t>
              </a:r>
            </a:p>
          </p:txBody>
        </p:sp>
      </p:grpSp>
      <p:sp>
        <p:nvSpPr>
          <p:cNvPr id="5" name="Freeform 75">
            <a:extLst>
              <a:ext uri="{FF2B5EF4-FFF2-40B4-BE49-F238E27FC236}">
                <a16:creationId xmlns:a16="http://schemas.microsoft.com/office/drawing/2014/main" id="{3F21F4D0-07ED-6AE6-54D9-8385746363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7298516">
            <a:off x="9718084" y="404323"/>
            <a:ext cx="424026" cy="476916"/>
          </a:xfrm>
          <a:custGeom>
            <a:avLst/>
            <a:gdLst>
              <a:gd name="connsiteX0" fmla="*/ 33230 w 2983496"/>
              <a:gd name="connsiteY0" fmla="*/ 2599393 h 3388313"/>
              <a:gd name="connsiteX1" fmla="*/ 2020 w 2983496"/>
              <a:gd name="connsiteY1" fmla="*/ 2514893 h 3388313"/>
              <a:gd name="connsiteX2" fmla="*/ 3261 w 2983496"/>
              <a:gd name="connsiteY2" fmla="*/ 2484019 h 3388313"/>
              <a:gd name="connsiteX3" fmla="*/ 0 w 2983496"/>
              <a:gd name="connsiteY3" fmla="*/ 2484019 h 3388313"/>
              <a:gd name="connsiteX4" fmla="*/ 1 w 2983496"/>
              <a:gd name="connsiteY4" fmla="*/ 928316 h 3388313"/>
              <a:gd name="connsiteX5" fmla="*/ 6296 w 2983496"/>
              <a:gd name="connsiteY5" fmla="*/ 928316 h 3388313"/>
              <a:gd name="connsiteX6" fmla="*/ 8518 w 2983496"/>
              <a:gd name="connsiteY6" fmla="*/ 873049 h 3388313"/>
              <a:gd name="connsiteX7" fmla="*/ 73630 w 2983496"/>
              <a:gd name="connsiteY7" fmla="*/ 760193 h 3388313"/>
              <a:gd name="connsiteX8" fmla="*/ 94266 w 2983496"/>
              <a:gd name="connsiteY8" fmla="*/ 744391 h 3388313"/>
              <a:gd name="connsiteX9" fmla="*/ 93703 w 2983496"/>
              <a:gd name="connsiteY9" fmla="*/ 743478 h 3388313"/>
              <a:gd name="connsiteX10" fmla="*/ 102758 w 2983496"/>
              <a:gd name="connsiteY10" fmla="*/ 737888 h 3388313"/>
              <a:gd name="connsiteX11" fmla="*/ 110111 w 2983496"/>
              <a:gd name="connsiteY11" fmla="*/ 732258 h 3388313"/>
              <a:gd name="connsiteX12" fmla="*/ 118441 w 2983496"/>
              <a:gd name="connsiteY12" fmla="*/ 728208 h 3388313"/>
              <a:gd name="connsiteX13" fmla="*/ 1234204 w 2983496"/>
              <a:gd name="connsiteY13" fmla="*/ 39470 h 3388313"/>
              <a:gd name="connsiteX14" fmla="*/ 1241558 w 2983496"/>
              <a:gd name="connsiteY14" fmla="*/ 33839 h 3388313"/>
              <a:gd name="connsiteX15" fmla="*/ 1249888 w 2983496"/>
              <a:gd name="connsiteY15" fmla="*/ 29789 h 3388313"/>
              <a:gd name="connsiteX16" fmla="*/ 1268738 w 2983496"/>
              <a:gd name="connsiteY16" fmla="*/ 18153 h 3388313"/>
              <a:gd name="connsiteX17" fmla="*/ 1269911 w 2983496"/>
              <a:gd name="connsiteY17" fmla="*/ 20053 h 3388313"/>
              <a:gd name="connsiteX18" fmla="*/ 1282881 w 2983496"/>
              <a:gd name="connsiteY18" fmla="*/ 13747 h 3388313"/>
              <a:gd name="connsiteX19" fmla="*/ 1358901 w 2983496"/>
              <a:gd name="connsiteY19" fmla="*/ 0 h 3388313"/>
              <a:gd name="connsiteX20" fmla="*/ 1430553 w 2983496"/>
              <a:gd name="connsiteY20" fmla="*/ 11603 h 3388313"/>
              <a:gd name="connsiteX21" fmla="*/ 1431852 w 2983496"/>
              <a:gd name="connsiteY21" fmla="*/ 9023 h 3388313"/>
              <a:gd name="connsiteX22" fmla="*/ 2834679 w 2983496"/>
              <a:gd name="connsiteY22" fmla="*/ 715723 h 3388313"/>
              <a:gd name="connsiteX23" fmla="*/ 2834132 w 2983496"/>
              <a:gd name="connsiteY23" fmla="*/ 716809 h 3388313"/>
              <a:gd name="connsiteX24" fmla="*/ 2886124 w 2983496"/>
              <a:gd name="connsiteY24" fmla="*/ 740312 h 3388313"/>
              <a:gd name="connsiteX25" fmla="*/ 2947673 w 2983496"/>
              <a:gd name="connsiteY25" fmla="*/ 806084 h 3388313"/>
              <a:gd name="connsiteX26" fmla="*/ 2978884 w 2983496"/>
              <a:gd name="connsiteY26" fmla="*/ 890583 h 3388313"/>
              <a:gd name="connsiteX27" fmla="*/ 2977367 w 2983496"/>
              <a:gd name="connsiteY27" fmla="*/ 928316 h 3388313"/>
              <a:gd name="connsiteX28" fmla="*/ 2983496 w 2983496"/>
              <a:gd name="connsiteY28" fmla="*/ 928316 h 3388313"/>
              <a:gd name="connsiteX29" fmla="*/ 2983496 w 2983496"/>
              <a:gd name="connsiteY29" fmla="*/ 2484019 h 3388313"/>
              <a:gd name="connsiteX30" fmla="*/ 2978186 w 2983496"/>
              <a:gd name="connsiteY30" fmla="*/ 2484019 h 3388313"/>
              <a:gd name="connsiteX31" fmla="*/ 2977751 w 2983496"/>
              <a:gd name="connsiteY31" fmla="*/ 2494820 h 3388313"/>
              <a:gd name="connsiteX32" fmla="*/ 2912639 w 2983496"/>
              <a:gd name="connsiteY32" fmla="*/ 2607676 h 3388313"/>
              <a:gd name="connsiteX33" fmla="*/ 2881782 w 2983496"/>
              <a:gd name="connsiteY33" fmla="*/ 2631305 h 3388313"/>
              <a:gd name="connsiteX34" fmla="*/ 2883517 w 2983496"/>
              <a:gd name="connsiteY34" fmla="*/ 2634116 h 3388313"/>
              <a:gd name="connsiteX35" fmla="*/ 1708482 w 2983496"/>
              <a:gd name="connsiteY35" fmla="*/ 3359441 h 3388313"/>
              <a:gd name="connsiteX36" fmla="*/ 1706841 w 2983496"/>
              <a:gd name="connsiteY36" fmla="*/ 3356783 h 3388313"/>
              <a:gd name="connsiteX37" fmla="*/ 1670276 w 2983496"/>
              <a:gd name="connsiteY37" fmla="*/ 3374561 h 3388313"/>
              <a:gd name="connsiteX38" fmla="*/ 1519287 w 2983496"/>
              <a:gd name="connsiteY38" fmla="*/ 3376168 h 3388313"/>
              <a:gd name="connsiteX39" fmla="*/ 1499765 w 2983496"/>
              <a:gd name="connsiteY39" fmla="*/ 3365582 h 3388313"/>
              <a:gd name="connsiteX40" fmla="*/ 1497041 w 2983496"/>
              <a:gd name="connsiteY40" fmla="*/ 3370988 h 3388313"/>
              <a:gd name="connsiteX41" fmla="*/ 106221 w 2983496"/>
              <a:gd name="connsiteY41" fmla="*/ 2670337 h 3388313"/>
              <a:gd name="connsiteX42" fmla="*/ 94779 w 2983496"/>
              <a:gd name="connsiteY42" fmla="*/ 2665165 h 3388313"/>
              <a:gd name="connsiteX43" fmla="*/ 33230 w 2983496"/>
              <a:gd name="connsiteY43" fmla="*/ 2599393 h 3388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2983496" h="3388313">
                <a:moveTo>
                  <a:pt x="33230" y="2599393"/>
                </a:moveTo>
                <a:cubicBezTo>
                  <a:pt x="16779" y="2572741"/>
                  <a:pt x="6507" y="2544016"/>
                  <a:pt x="2020" y="2514893"/>
                </a:cubicBezTo>
                <a:lnTo>
                  <a:pt x="3261" y="2484019"/>
                </a:lnTo>
                <a:lnTo>
                  <a:pt x="0" y="2484019"/>
                </a:lnTo>
                <a:lnTo>
                  <a:pt x="1" y="928316"/>
                </a:lnTo>
                <a:lnTo>
                  <a:pt x="6296" y="928316"/>
                </a:lnTo>
                <a:lnTo>
                  <a:pt x="8518" y="873049"/>
                </a:lnTo>
                <a:cubicBezTo>
                  <a:pt x="18545" y="830678"/>
                  <a:pt x="40694" y="791177"/>
                  <a:pt x="73630" y="760193"/>
                </a:cubicBezTo>
                <a:lnTo>
                  <a:pt x="94266" y="744391"/>
                </a:lnTo>
                <a:lnTo>
                  <a:pt x="93703" y="743478"/>
                </a:lnTo>
                <a:lnTo>
                  <a:pt x="102758" y="737888"/>
                </a:lnTo>
                <a:lnTo>
                  <a:pt x="110111" y="732258"/>
                </a:lnTo>
                <a:lnTo>
                  <a:pt x="118441" y="728208"/>
                </a:lnTo>
                <a:lnTo>
                  <a:pt x="1234204" y="39470"/>
                </a:lnTo>
                <a:lnTo>
                  <a:pt x="1241558" y="33839"/>
                </a:lnTo>
                <a:lnTo>
                  <a:pt x="1249888" y="29789"/>
                </a:lnTo>
                <a:lnTo>
                  <a:pt x="1268738" y="18153"/>
                </a:lnTo>
                <a:lnTo>
                  <a:pt x="1269911" y="20053"/>
                </a:lnTo>
                <a:lnTo>
                  <a:pt x="1282881" y="13747"/>
                </a:lnTo>
                <a:cubicBezTo>
                  <a:pt x="1307649" y="4673"/>
                  <a:pt x="1333363" y="179"/>
                  <a:pt x="1358901" y="0"/>
                </a:cubicBezTo>
                <a:lnTo>
                  <a:pt x="1430553" y="11603"/>
                </a:lnTo>
                <a:lnTo>
                  <a:pt x="1431852" y="9023"/>
                </a:lnTo>
                <a:lnTo>
                  <a:pt x="2834679" y="715723"/>
                </a:lnTo>
                <a:lnTo>
                  <a:pt x="2834132" y="716809"/>
                </a:lnTo>
                <a:lnTo>
                  <a:pt x="2886124" y="740312"/>
                </a:lnTo>
                <a:cubicBezTo>
                  <a:pt x="2910147" y="757376"/>
                  <a:pt x="2931222" y="779432"/>
                  <a:pt x="2947673" y="806084"/>
                </a:cubicBezTo>
                <a:cubicBezTo>
                  <a:pt x="2964125" y="832736"/>
                  <a:pt x="2974396" y="861460"/>
                  <a:pt x="2978884" y="890583"/>
                </a:cubicBezTo>
                <a:lnTo>
                  <a:pt x="2977367" y="928316"/>
                </a:lnTo>
                <a:lnTo>
                  <a:pt x="2983496" y="928316"/>
                </a:lnTo>
                <a:lnTo>
                  <a:pt x="2983496" y="2484019"/>
                </a:lnTo>
                <a:lnTo>
                  <a:pt x="2978186" y="2484019"/>
                </a:lnTo>
                <a:lnTo>
                  <a:pt x="2977751" y="2494820"/>
                </a:lnTo>
                <a:cubicBezTo>
                  <a:pt x="2967725" y="2537191"/>
                  <a:pt x="2945575" y="2576692"/>
                  <a:pt x="2912639" y="2607676"/>
                </a:cubicBezTo>
                <a:lnTo>
                  <a:pt x="2881782" y="2631305"/>
                </a:lnTo>
                <a:lnTo>
                  <a:pt x="2883517" y="2634116"/>
                </a:lnTo>
                <a:lnTo>
                  <a:pt x="1708482" y="3359441"/>
                </a:lnTo>
                <a:lnTo>
                  <a:pt x="1706841" y="3356783"/>
                </a:lnTo>
                <a:lnTo>
                  <a:pt x="1670276" y="3374561"/>
                </a:lnTo>
                <a:cubicBezTo>
                  <a:pt x="1620741" y="3392709"/>
                  <a:pt x="1567421" y="3392537"/>
                  <a:pt x="1519287" y="3376168"/>
                </a:cubicBezTo>
                <a:lnTo>
                  <a:pt x="1499765" y="3365582"/>
                </a:lnTo>
                <a:lnTo>
                  <a:pt x="1497041" y="3370988"/>
                </a:lnTo>
                <a:lnTo>
                  <a:pt x="106221" y="2670337"/>
                </a:lnTo>
                <a:lnTo>
                  <a:pt x="94779" y="2665165"/>
                </a:lnTo>
                <a:cubicBezTo>
                  <a:pt x="70756" y="2648101"/>
                  <a:pt x="49682" y="2626044"/>
                  <a:pt x="33230" y="2599393"/>
                </a:cubicBezTo>
                <a:close/>
              </a:path>
            </a:pathLst>
          </a:custGeom>
          <a:gradFill flip="none" rotWithShape="1">
            <a:gsLst>
              <a:gs pos="0">
                <a:srgbClr val="7CEFD9">
                  <a:shade val="30000"/>
                  <a:satMod val="115000"/>
                </a:srgbClr>
              </a:gs>
              <a:gs pos="50000">
                <a:srgbClr val="7CEFD9">
                  <a:shade val="67500"/>
                  <a:satMod val="115000"/>
                </a:srgbClr>
              </a:gs>
              <a:gs pos="100000">
                <a:srgbClr val="7CEFD9">
                  <a:shade val="100000"/>
                  <a:satMod val="115000"/>
                </a:srgbClr>
              </a:gs>
            </a:gsLst>
            <a:lin ang="8100000" scaled="1"/>
            <a:tileRect/>
          </a:gradFill>
          <a:ln>
            <a:noFill/>
          </a:ln>
          <a:effectLst>
            <a:outerShdw blurRad="63500" dist="127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en-US"/>
            </a:defPPr>
            <a:lvl1pPr marL="0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83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67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550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734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918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101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284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469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254EB370-C994-7EAB-622D-1D3994CD2A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2052175" y="430768"/>
            <a:ext cx="510210" cy="424026"/>
            <a:chOff x="5687896" y="3008431"/>
            <a:chExt cx="762537" cy="739041"/>
          </a:xfrm>
        </p:grpSpPr>
        <p:sp>
          <p:nvSpPr>
            <p:cNvPr id="7" name="Freeform 75">
              <a:extLst>
                <a:ext uri="{FF2B5EF4-FFF2-40B4-BE49-F238E27FC236}">
                  <a16:creationId xmlns:a16="http://schemas.microsoft.com/office/drawing/2014/main" id="{B7F4912C-6A62-624E-F501-A7971C284402}"/>
                </a:ext>
              </a:extLst>
            </p:cNvPr>
            <p:cNvSpPr/>
            <p:nvPr/>
          </p:nvSpPr>
          <p:spPr>
            <a:xfrm rot="7298516">
              <a:off x="5674764" y="3021563"/>
              <a:ext cx="739041" cy="712778"/>
            </a:xfrm>
            <a:custGeom>
              <a:avLst/>
              <a:gdLst>
                <a:gd name="connsiteX0" fmla="*/ 33230 w 2983496"/>
                <a:gd name="connsiteY0" fmla="*/ 2599393 h 3388313"/>
                <a:gd name="connsiteX1" fmla="*/ 2020 w 2983496"/>
                <a:gd name="connsiteY1" fmla="*/ 2514893 h 3388313"/>
                <a:gd name="connsiteX2" fmla="*/ 3261 w 2983496"/>
                <a:gd name="connsiteY2" fmla="*/ 2484019 h 3388313"/>
                <a:gd name="connsiteX3" fmla="*/ 0 w 2983496"/>
                <a:gd name="connsiteY3" fmla="*/ 2484019 h 3388313"/>
                <a:gd name="connsiteX4" fmla="*/ 1 w 2983496"/>
                <a:gd name="connsiteY4" fmla="*/ 928316 h 3388313"/>
                <a:gd name="connsiteX5" fmla="*/ 6296 w 2983496"/>
                <a:gd name="connsiteY5" fmla="*/ 928316 h 3388313"/>
                <a:gd name="connsiteX6" fmla="*/ 8518 w 2983496"/>
                <a:gd name="connsiteY6" fmla="*/ 873049 h 3388313"/>
                <a:gd name="connsiteX7" fmla="*/ 73630 w 2983496"/>
                <a:gd name="connsiteY7" fmla="*/ 760193 h 3388313"/>
                <a:gd name="connsiteX8" fmla="*/ 94266 w 2983496"/>
                <a:gd name="connsiteY8" fmla="*/ 744391 h 3388313"/>
                <a:gd name="connsiteX9" fmla="*/ 93703 w 2983496"/>
                <a:gd name="connsiteY9" fmla="*/ 743478 h 3388313"/>
                <a:gd name="connsiteX10" fmla="*/ 102758 w 2983496"/>
                <a:gd name="connsiteY10" fmla="*/ 737888 h 3388313"/>
                <a:gd name="connsiteX11" fmla="*/ 110111 w 2983496"/>
                <a:gd name="connsiteY11" fmla="*/ 732258 h 3388313"/>
                <a:gd name="connsiteX12" fmla="*/ 118441 w 2983496"/>
                <a:gd name="connsiteY12" fmla="*/ 728208 h 3388313"/>
                <a:gd name="connsiteX13" fmla="*/ 1234204 w 2983496"/>
                <a:gd name="connsiteY13" fmla="*/ 39470 h 3388313"/>
                <a:gd name="connsiteX14" fmla="*/ 1241558 w 2983496"/>
                <a:gd name="connsiteY14" fmla="*/ 33839 h 3388313"/>
                <a:gd name="connsiteX15" fmla="*/ 1249888 w 2983496"/>
                <a:gd name="connsiteY15" fmla="*/ 29789 h 3388313"/>
                <a:gd name="connsiteX16" fmla="*/ 1268738 w 2983496"/>
                <a:gd name="connsiteY16" fmla="*/ 18153 h 3388313"/>
                <a:gd name="connsiteX17" fmla="*/ 1269911 w 2983496"/>
                <a:gd name="connsiteY17" fmla="*/ 20053 h 3388313"/>
                <a:gd name="connsiteX18" fmla="*/ 1282881 w 2983496"/>
                <a:gd name="connsiteY18" fmla="*/ 13747 h 3388313"/>
                <a:gd name="connsiteX19" fmla="*/ 1358901 w 2983496"/>
                <a:gd name="connsiteY19" fmla="*/ 0 h 3388313"/>
                <a:gd name="connsiteX20" fmla="*/ 1430553 w 2983496"/>
                <a:gd name="connsiteY20" fmla="*/ 11603 h 3388313"/>
                <a:gd name="connsiteX21" fmla="*/ 1431852 w 2983496"/>
                <a:gd name="connsiteY21" fmla="*/ 9023 h 3388313"/>
                <a:gd name="connsiteX22" fmla="*/ 2834679 w 2983496"/>
                <a:gd name="connsiteY22" fmla="*/ 715723 h 3388313"/>
                <a:gd name="connsiteX23" fmla="*/ 2834132 w 2983496"/>
                <a:gd name="connsiteY23" fmla="*/ 716809 h 3388313"/>
                <a:gd name="connsiteX24" fmla="*/ 2886124 w 2983496"/>
                <a:gd name="connsiteY24" fmla="*/ 740312 h 3388313"/>
                <a:gd name="connsiteX25" fmla="*/ 2947673 w 2983496"/>
                <a:gd name="connsiteY25" fmla="*/ 806084 h 3388313"/>
                <a:gd name="connsiteX26" fmla="*/ 2978884 w 2983496"/>
                <a:gd name="connsiteY26" fmla="*/ 890583 h 3388313"/>
                <a:gd name="connsiteX27" fmla="*/ 2977367 w 2983496"/>
                <a:gd name="connsiteY27" fmla="*/ 928316 h 3388313"/>
                <a:gd name="connsiteX28" fmla="*/ 2983496 w 2983496"/>
                <a:gd name="connsiteY28" fmla="*/ 928316 h 3388313"/>
                <a:gd name="connsiteX29" fmla="*/ 2983496 w 2983496"/>
                <a:gd name="connsiteY29" fmla="*/ 2484019 h 3388313"/>
                <a:gd name="connsiteX30" fmla="*/ 2978186 w 2983496"/>
                <a:gd name="connsiteY30" fmla="*/ 2484019 h 3388313"/>
                <a:gd name="connsiteX31" fmla="*/ 2977751 w 2983496"/>
                <a:gd name="connsiteY31" fmla="*/ 2494820 h 3388313"/>
                <a:gd name="connsiteX32" fmla="*/ 2912639 w 2983496"/>
                <a:gd name="connsiteY32" fmla="*/ 2607676 h 3388313"/>
                <a:gd name="connsiteX33" fmla="*/ 2881782 w 2983496"/>
                <a:gd name="connsiteY33" fmla="*/ 2631305 h 3388313"/>
                <a:gd name="connsiteX34" fmla="*/ 2883517 w 2983496"/>
                <a:gd name="connsiteY34" fmla="*/ 2634116 h 3388313"/>
                <a:gd name="connsiteX35" fmla="*/ 1708482 w 2983496"/>
                <a:gd name="connsiteY35" fmla="*/ 3359441 h 3388313"/>
                <a:gd name="connsiteX36" fmla="*/ 1706841 w 2983496"/>
                <a:gd name="connsiteY36" fmla="*/ 3356783 h 3388313"/>
                <a:gd name="connsiteX37" fmla="*/ 1670276 w 2983496"/>
                <a:gd name="connsiteY37" fmla="*/ 3374561 h 3388313"/>
                <a:gd name="connsiteX38" fmla="*/ 1519287 w 2983496"/>
                <a:gd name="connsiteY38" fmla="*/ 3376168 h 3388313"/>
                <a:gd name="connsiteX39" fmla="*/ 1499765 w 2983496"/>
                <a:gd name="connsiteY39" fmla="*/ 3365582 h 3388313"/>
                <a:gd name="connsiteX40" fmla="*/ 1497041 w 2983496"/>
                <a:gd name="connsiteY40" fmla="*/ 3370988 h 3388313"/>
                <a:gd name="connsiteX41" fmla="*/ 106221 w 2983496"/>
                <a:gd name="connsiteY41" fmla="*/ 2670337 h 3388313"/>
                <a:gd name="connsiteX42" fmla="*/ 94779 w 2983496"/>
                <a:gd name="connsiteY42" fmla="*/ 2665165 h 3388313"/>
                <a:gd name="connsiteX43" fmla="*/ 33230 w 2983496"/>
                <a:gd name="connsiteY43" fmla="*/ 2599393 h 3388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983496" h="3388313">
                  <a:moveTo>
                    <a:pt x="33230" y="2599393"/>
                  </a:moveTo>
                  <a:cubicBezTo>
                    <a:pt x="16779" y="2572741"/>
                    <a:pt x="6507" y="2544016"/>
                    <a:pt x="2020" y="2514893"/>
                  </a:cubicBezTo>
                  <a:lnTo>
                    <a:pt x="3261" y="2484019"/>
                  </a:lnTo>
                  <a:lnTo>
                    <a:pt x="0" y="2484019"/>
                  </a:lnTo>
                  <a:lnTo>
                    <a:pt x="1" y="928316"/>
                  </a:lnTo>
                  <a:lnTo>
                    <a:pt x="6296" y="928316"/>
                  </a:lnTo>
                  <a:lnTo>
                    <a:pt x="8518" y="873049"/>
                  </a:lnTo>
                  <a:cubicBezTo>
                    <a:pt x="18545" y="830678"/>
                    <a:pt x="40694" y="791177"/>
                    <a:pt x="73630" y="760193"/>
                  </a:cubicBezTo>
                  <a:lnTo>
                    <a:pt x="94266" y="744391"/>
                  </a:lnTo>
                  <a:lnTo>
                    <a:pt x="93703" y="743478"/>
                  </a:lnTo>
                  <a:lnTo>
                    <a:pt x="102758" y="737888"/>
                  </a:lnTo>
                  <a:lnTo>
                    <a:pt x="110111" y="732258"/>
                  </a:lnTo>
                  <a:lnTo>
                    <a:pt x="118441" y="728208"/>
                  </a:lnTo>
                  <a:lnTo>
                    <a:pt x="1234204" y="39470"/>
                  </a:lnTo>
                  <a:lnTo>
                    <a:pt x="1241558" y="33839"/>
                  </a:lnTo>
                  <a:lnTo>
                    <a:pt x="1249888" y="29789"/>
                  </a:lnTo>
                  <a:lnTo>
                    <a:pt x="1268738" y="18153"/>
                  </a:lnTo>
                  <a:lnTo>
                    <a:pt x="1269911" y="20053"/>
                  </a:lnTo>
                  <a:lnTo>
                    <a:pt x="1282881" y="13747"/>
                  </a:lnTo>
                  <a:cubicBezTo>
                    <a:pt x="1307649" y="4673"/>
                    <a:pt x="1333363" y="179"/>
                    <a:pt x="1358901" y="0"/>
                  </a:cubicBezTo>
                  <a:lnTo>
                    <a:pt x="1430553" y="11603"/>
                  </a:lnTo>
                  <a:lnTo>
                    <a:pt x="1431852" y="9023"/>
                  </a:lnTo>
                  <a:lnTo>
                    <a:pt x="2834679" y="715723"/>
                  </a:lnTo>
                  <a:lnTo>
                    <a:pt x="2834132" y="716809"/>
                  </a:lnTo>
                  <a:lnTo>
                    <a:pt x="2886124" y="740312"/>
                  </a:lnTo>
                  <a:cubicBezTo>
                    <a:pt x="2910147" y="757376"/>
                    <a:pt x="2931222" y="779432"/>
                    <a:pt x="2947673" y="806084"/>
                  </a:cubicBezTo>
                  <a:cubicBezTo>
                    <a:pt x="2964125" y="832736"/>
                    <a:pt x="2974396" y="861460"/>
                    <a:pt x="2978884" y="890583"/>
                  </a:cubicBezTo>
                  <a:lnTo>
                    <a:pt x="2977367" y="928316"/>
                  </a:lnTo>
                  <a:lnTo>
                    <a:pt x="2983496" y="928316"/>
                  </a:lnTo>
                  <a:lnTo>
                    <a:pt x="2983496" y="2484019"/>
                  </a:lnTo>
                  <a:lnTo>
                    <a:pt x="2978186" y="2484019"/>
                  </a:lnTo>
                  <a:lnTo>
                    <a:pt x="2977751" y="2494820"/>
                  </a:lnTo>
                  <a:cubicBezTo>
                    <a:pt x="2967725" y="2537191"/>
                    <a:pt x="2945575" y="2576692"/>
                    <a:pt x="2912639" y="2607676"/>
                  </a:cubicBezTo>
                  <a:lnTo>
                    <a:pt x="2881782" y="2631305"/>
                  </a:lnTo>
                  <a:lnTo>
                    <a:pt x="2883517" y="2634116"/>
                  </a:lnTo>
                  <a:lnTo>
                    <a:pt x="1708482" y="3359441"/>
                  </a:lnTo>
                  <a:lnTo>
                    <a:pt x="1706841" y="3356783"/>
                  </a:lnTo>
                  <a:lnTo>
                    <a:pt x="1670276" y="3374561"/>
                  </a:lnTo>
                  <a:cubicBezTo>
                    <a:pt x="1620741" y="3392709"/>
                    <a:pt x="1567421" y="3392537"/>
                    <a:pt x="1519287" y="3376168"/>
                  </a:cubicBezTo>
                  <a:lnTo>
                    <a:pt x="1499765" y="3365582"/>
                  </a:lnTo>
                  <a:lnTo>
                    <a:pt x="1497041" y="3370988"/>
                  </a:lnTo>
                  <a:lnTo>
                    <a:pt x="106221" y="2670337"/>
                  </a:lnTo>
                  <a:lnTo>
                    <a:pt x="94779" y="2665165"/>
                  </a:lnTo>
                  <a:cubicBezTo>
                    <a:pt x="70756" y="2648101"/>
                    <a:pt x="49682" y="2626044"/>
                    <a:pt x="33230" y="2599393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7CEFD9">
                    <a:shade val="30000"/>
                    <a:satMod val="115000"/>
                  </a:srgbClr>
                </a:gs>
                <a:gs pos="50000">
                  <a:srgbClr val="7CEFD9">
                    <a:shade val="67500"/>
                    <a:satMod val="115000"/>
                  </a:srgbClr>
                </a:gs>
                <a:gs pos="100000">
                  <a:srgbClr val="7CEFD9">
                    <a:shade val="100000"/>
                    <a:satMod val="115000"/>
                  </a:srgbClr>
                </a:gs>
              </a:gsLst>
              <a:lin ang="8100000" scaled="1"/>
              <a:tileRect/>
            </a:gradFill>
            <a:ln>
              <a:noFill/>
            </a:ln>
            <a:effectLst>
              <a:outerShdw blurRad="63500" dist="127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>
              <a:defPPr>
                <a:defRPr lang="en-US"/>
              </a:defPPr>
              <a:lvl1pPr marL="0" algn="l" defTabSz="914367" rtl="0" eaLnBrk="1" latinLnBrk="0" hangingPunct="1">
                <a:defRPr sz="1765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183" algn="l" defTabSz="914367" rtl="0" eaLnBrk="1" latinLnBrk="0" hangingPunct="1">
                <a:defRPr sz="1765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367" algn="l" defTabSz="914367" rtl="0" eaLnBrk="1" latinLnBrk="0" hangingPunct="1">
                <a:defRPr sz="1765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550" algn="l" defTabSz="914367" rtl="0" eaLnBrk="1" latinLnBrk="0" hangingPunct="1">
                <a:defRPr sz="1765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734" algn="l" defTabSz="914367" rtl="0" eaLnBrk="1" latinLnBrk="0" hangingPunct="1">
                <a:defRPr sz="1765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5918" algn="l" defTabSz="914367" rtl="0" eaLnBrk="1" latinLnBrk="0" hangingPunct="1">
                <a:defRPr sz="1765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101" algn="l" defTabSz="914367" rtl="0" eaLnBrk="1" latinLnBrk="0" hangingPunct="1">
                <a:defRPr sz="1765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284" algn="l" defTabSz="914367" rtl="0" eaLnBrk="1" latinLnBrk="0" hangingPunct="1">
                <a:defRPr sz="1765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469" algn="l" defTabSz="914367" rtl="0" eaLnBrk="1" latinLnBrk="0" hangingPunct="1">
                <a:defRPr sz="1765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3A91F8E3-76FD-B9EB-808A-B2F64E6AD78D}"/>
                </a:ext>
              </a:extLst>
            </p:cNvPr>
            <p:cNvGrpSpPr/>
            <p:nvPr/>
          </p:nvGrpSpPr>
          <p:grpSpPr>
            <a:xfrm>
              <a:off x="6126883" y="3009427"/>
              <a:ext cx="323550" cy="411723"/>
              <a:chOff x="6256734" y="2247323"/>
              <a:chExt cx="705113" cy="897277"/>
            </a:xfrm>
            <a:solidFill>
              <a:schemeClr val="tx1"/>
            </a:solidFill>
          </p:grpSpPr>
          <p:sp>
            <p:nvSpPr>
              <p:cNvPr id="15" name="Freeform 77">
                <a:extLst>
                  <a:ext uri="{FF2B5EF4-FFF2-40B4-BE49-F238E27FC236}">
                    <a16:creationId xmlns:a16="http://schemas.microsoft.com/office/drawing/2014/main" id="{58D26687-8C09-6556-86F0-CF2023FFA25B}"/>
                  </a:ext>
                </a:extLst>
              </p:cNvPr>
              <p:cNvSpPr/>
              <p:nvPr/>
            </p:nvSpPr>
            <p:spPr>
              <a:xfrm>
                <a:off x="6314785" y="2247323"/>
                <a:ext cx="482203" cy="570949"/>
              </a:xfrm>
              <a:custGeom>
                <a:avLst/>
                <a:gdLst>
                  <a:gd name="connsiteX0" fmla="*/ 241102 w 482203"/>
                  <a:gd name="connsiteY0" fmla="*/ 0 h 570949"/>
                  <a:gd name="connsiteX1" fmla="*/ 241102 w 482203"/>
                  <a:gd name="connsiteY1" fmla="*/ 0 h 570949"/>
                  <a:gd name="connsiteX2" fmla="*/ 482203 w 482203"/>
                  <a:gd name="connsiteY2" fmla="*/ 285475 h 570949"/>
                  <a:gd name="connsiteX3" fmla="*/ 482203 w 482203"/>
                  <a:gd name="connsiteY3" fmla="*/ 285475 h 570949"/>
                  <a:gd name="connsiteX4" fmla="*/ 241102 w 482203"/>
                  <a:gd name="connsiteY4" fmla="*/ 570950 h 570949"/>
                  <a:gd name="connsiteX5" fmla="*/ 241102 w 482203"/>
                  <a:gd name="connsiteY5" fmla="*/ 570950 h 570949"/>
                  <a:gd name="connsiteX6" fmla="*/ 0 w 482203"/>
                  <a:gd name="connsiteY6" fmla="*/ 285475 h 570949"/>
                  <a:gd name="connsiteX7" fmla="*/ 0 w 482203"/>
                  <a:gd name="connsiteY7" fmla="*/ 285475 h 570949"/>
                  <a:gd name="connsiteX8" fmla="*/ 241102 w 482203"/>
                  <a:gd name="connsiteY8" fmla="*/ 0 h 5709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82203" h="570949">
                    <a:moveTo>
                      <a:pt x="241102" y="0"/>
                    </a:moveTo>
                    <a:lnTo>
                      <a:pt x="241102" y="0"/>
                    </a:lnTo>
                    <a:cubicBezTo>
                      <a:pt x="282517" y="132199"/>
                      <a:pt x="370557" y="236440"/>
                      <a:pt x="482203" y="285475"/>
                    </a:cubicBezTo>
                    <a:lnTo>
                      <a:pt x="482203" y="285475"/>
                    </a:lnTo>
                    <a:cubicBezTo>
                      <a:pt x="370557" y="334510"/>
                      <a:pt x="282517" y="438708"/>
                      <a:pt x="241102" y="570950"/>
                    </a:cubicBezTo>
                    <a:lnTo>
                      <a:pt x="241102" y="570950"/>
                    </a:lnTo>
                    <a:cubicBezTo>
                      <a:pt x="199675" y="438751"/>
                      <a:pt x="111646" y="334510"/>
                      <a:pt x="0" y="285475"/>
                    </a:cubicBezTo>
                    <a:lnTo>
                      <a:pt x="0" y="285475"/>
                    </a:lnTo>
                    <a:cubicBezTo>
                      <a:pt x="111646" y="236440"/>
                      <a:pt x="199675" y="132199"/>
                      <a:pt x="241102" y="0"/>
                    </a:cubicBezTo>
                    <a:close/>
                  </a:path>
                </a:pathLst>
              </a:custGeom>
              <a:grpFill/>
              <a:ln w="10716" cap="flat">
                <a:noFill/>
                <a:prstDash val="solid"/>
                <a:miter/>
              </a:ln>
              <a:effectLst>
                <a:outerShdw blurRad="63500" dist="12700" dir="2700000" algn="tl" rotWithShape="0">
                  <a:prstClr val="black">
                    <a:alpha val="10000"/>
                  </a:prstClr>
                </a:outerShdw>
              </a:effectLst>
            </p:spPr>
            <p:txBody>
              <a:bodyPr rtlCol="0" anchor="ctr"/>
              <a:lstStyle>
                <a:defPPr>
                  <a:defRPr lang="en-US"/>
                </a:defPPr>
                <a:lvl1pPr marL="0" algn="l" defTabSz="914367" rtl="0" eaLnBrk="1" latinLnBrk="0" hangingPunct="1">
                  <a:defRPr sz="1765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83" algn="l" defTabSz="914367" rtl="0" eaLnBrk="1" latinLnBrk="0" hangingPunct="1">
                  <a:defRPr sz="1765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367" algn="l" defTabSz="914367" rtl="0" eaLnBrk="1" latinLnBrk="0" hangingPunct="1">
                  <a:defRPr sz="1765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550" algn="l" defTabSz="914367" rtl="0" eaLnBrk="1" latinLnBrk="0" hangingPunct="1">
                  <a:defRPr sz="1765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734" algn="l" defTabSz="914367" rtl="0" eaLnBrk="1" latinLnBrk="0" hangingPunct="1">
                  <a:defRPr sz="1765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918" algn="l" defTabSz="914367" rtl="0" eaLnBrk="1" latinLnBrk="0" hangingPunct="1">
                  <a:defRPr sz="1765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101" algn="l" defTabSz="914367" rtl="0" eaLnBrk="1" latinLnBrk="0" hangingPunct="1">
                  <a:defRPr sz="1765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284" algn="l" defTabSz="914367" rtl="0" eaLnBrk="1" latinLnBrk="0" hangingPunct="1">
                  <a:defRPr sz="1765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469" algn="l" defTabSz="914367" rtl="0" eaLnBrk="1" latinLnBrk="0" hangingPunct="1">
                  <a:defRPr sz="1765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" name="Freeform 78">
                <a:extLst>
                  <a:ext uri="{FF2B5EF4-FFF2-40B4-BE49-F238E27FC236}">
                    <a16:creationId xmlns:a16="http://schemas.microsoft.com/office/drawing/2014/main" id="{2013CB74-CEB3-5EFC-2343-8E111A793577}"/>
                  </a:ext>
                </a:extLst>
              </p:cNvPr>
              <p:cNvSpPr/>
              <p:nvPr/>
            </p:nvSpPr>
            <p:spPr>
              <a:xfrm>
                <a:off x="6632128" y="2754187"/>
                <a:ext cx="329719" cy="390413"/>
              </a:xfrm>
              <a:custGeom>
                <a:avLst/>
                <a:gdLst>
                  <a:gd name="connsiteX0" fmla="*/ 164860 w 329719"/>
                  <a:gd name="connsiteY0" fmla="*/ 0 h 390413"/>
                  <a:gd name="connsiteX1" fmla="*/ 164860 w 329719"/>
                  <a:gd name="connsiteY1" fmla="*/ 0 h 390413"/>
                  <a:gd name="connsiteX2" fmla="*/ 329720 w 329719"/>
                  <a:gd name="connsiteY2" fmla="*/ 195206 h 390413"/>
                  <a:gd name="connsiteX3" fmla="*/ 329720 w 329719"/>
                  <a:gd name="connsiteY3" fmla="*/ 195206 h 390413"/>
                  <a:gd name="connsiteX4" fmla="*/ 164860 w 329719"/>
                  <a:gd name="connsiteY4" fmla="*/ 390413 h 390413"/>
                  <a:gd name="connsiteX5" fmla="*/ 164860 w 329719"/>
                  <a:gd name="connsiteY5" fmla="*/ 390413 h 390413"/>
                  <a:gd name="connsiteX6" fmla="*/ 0 w 329719"/>
                  <a:gd name="connsiteY6" fmla="*/ 195206 h 390413"/>
                  <a:gd name="connsiteX7" fmla="*/ 0 w 329719"/>
                  <a:gd name="connsiteY7" fmla="*/ 195206 h 390413"/>
                  <a:gd name="connsiteX8" fmla="*/ 164860 w 329719"/>
                  <a:gd name="connsiteY8" fmla="*/ 0 h 3904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9719" h="390413">
                    <a:moveTo>
                      <a:pt x="164860" y="0"/>
                    </a:moveTo>
                    <a:lnTo>
                      <a:pt x="164860" y="0"/>
                    </a:lnTo>
                    <a:cubicBezTo>
                      <a:pt x="193181" y="90376"/>
                      <a:pt x="253382" y="161667"/>
                      <a:pt x="329720" y="195206"/>
                    </a:cubicBezTo>
                    <a:lnTo>
                      <a:pt x="329720" y="195206"/>
                    </a:lnTo>
                    <a:cubicBezTo>
                      <a:pt x="253382" y="228736"/>
                      <a:pt x="193181" y="300016"/>
                      <a:pt x="164860" y="390413"/>
                    </a:cubicBezTo>
                    <a:lnTo>
                      <a:pt x="164860" y="390413"/>
                    </a:lnTo>
                    <a:cubicBezTo>
                      <a:pt x="136539" y="300016"/>
                      <a:pt x="76338" y="228736"/>
                      <a:pt x="0" y="195206"/>
                    </a:cubicBezTo>
                    <a:lnTo>
                      <a:pt x="0" y="195206"/>
                    </a:lnTo>
                    <a:cubicBezTo>
                      <a:pt x="76338" y="161667"/>
                      <a:pt x="136539" y="90376"/>
                      <a:pt x="164860" y="0"/>
                    </a:cubicBezTo>
                    <a:close/>
                  </a:path>
                </a:pathLst>
              </a:custGeom>
              <a:grpFill/>
              <a:ln w="10716" cap="flat">
                <a:noFill/>
                <a:prstDash val="solid"/>
                <a:miter/>
              </a:ln>
              <a:effectLst>
                <a:outerShdw blurRad="63500" dist="12700" dir="2700000" algn="tl" rotWithShape="0">
                  <a:prstClr val="black">
                    <a:alpha val="10000"/>
                  </a:prstClr>
                </a:outerShdw>
              </a:effectLst>
            </p:spPr>
            <p:txBody>
              <a:bodyPr rtlCol="0" anchor="ctr"/>
              <a:lstStyle>
                <a:defPPr>
                  <a:defRPr lang="en-US"/>
                </a:defPPr>
                <a:lvl1pPr marL="0" algn="l" defTabSz="914367" rtl="0" eaLnBrk="1" latinLnBrk="0" hangingPunct="1">
                  <a:defRPr sz="1765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83" algn="l" defTabSz="914367" rtl="0" eaLnBrk="1" latinLnBrk="0" hangingPunct="1">
                  <a:defRPr sz="1765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367" algn="l" defTabSz="914367" rtl="0" eaLnBrk="1" latinLnBrk="0" hangingPunct="1">
                  <a:defRPr sz="1765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550" algn="l" defTabSz="914367" rtl="0" eaLnBrk="1" latinLnBrk="0" hangingPunct="1">
                  <a:defRPr sz="1765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734" algn="l" defTabSz="914367" rtl="0" eaLnBrk="1" latinLnBrk="0" hangingPunct="1">
                  <a:defRPr sz="1765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918" algn="l" defTabSz="914367" rtl="0" eaLnBrk="1" latinLnBrk="0" hangingPunct="1">
                  <a:defRPr sz="1765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101" algn="l" defTabSz="914367" rtl="0" eaLnBrk="1" latinLnBrk="0" hangingPunct="1">
                  <a:defRPr sz="1765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284" algn="l" defTabSz="914367" rtl="0" eaLnBrk="1" latinLnBrk="0" hangingPunct="1">
                  <a:defRPr sz="1765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469" algn="l" defTabSz="914367" rtl="0" eaLnBrk="1" latinLnBrk="0" hangingPunct="1">
                  <a:defRPr sz="1765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" name="Freeform 79">
                <a:extLst>
                  <a:ext uri="{FF2B5EF4-FFF2-40B4-BE49-F238E27FC236}">
                    <a16:creationId xmlns:a16="http://schemas.microsoft.com/office/drawing/2014/main" id="{87CB221C-B21F-7970-620E-69696E58630C}"/>
                  </a:ext>
                </a:extLst>
              </p:cNvPr>
              <p:cNvSpPr/>
              <p:nvPr/>
            </p:nvSpPr>
            <p:spPr>
              <a:xfrm>
                <a:off x="6256734" y="2824048"/>
                <a:ext cx="211665" cy="250692"/>
              </a:xfrm>
              <a:custGeom>
                <a:avLst/>
                <a:gdLst>
                  <a:gd name="connsiteX0" fmla="*/ 105828 w 211665"/>
                  <a:gd name="connsiteY0" fmla="*/ 11 h 250692"/>
                  <a:gd name="connsiteX1" fmla="*/ 105828 w 211665"/>
                  <a:gd name="connsiteY1" fmla="*/ 11 h 250692"/>
                  <a:gd name="connsiteX2" fmla="*/ 211666 w 211665"/>
                  <a:gd name="connsiteY2" fmla="*/ 125384 h 250692"/>
                  <a:gd name="connsiteX3" fmla="*/ 211666 w 211665"/>
                  <a:gd name="connsiteY3" fmla="*/ 125384 h 250692"/>
                  <a:gd name="connsiteX4" fmla="*/ 105828 w 211665"/>
                  <a:gd name="connsiteY4" fmla="*/ 250692 h 250692"/>
                  <a:gd name="connsiteX5" fmla="*/ 105828 w 211665"/>
                  <a:gd name="connsiteY5" fmla="*/ 250692 h 250692"/>
                  <a:gd name="connsiteX6" fmla="*/ 0 w 211665"/>
                  <a:gd name="connsiteY6" fmla="*/ 125319 h 250692"/>
                  <a:gd name="connsiteX7" fmla="*/ 0 w 211665"/>
                  <a:gd name="connsiteY7" fmla="*/ 125319 h 250692"/>
                  <a:gd name="connsiteX8" fmla="*/ 105828 w 211665"/>
                  <a:gd name="connsiteY8" fmla="*/ 0 h 2506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11665" h="250692">
                    <a:moveTo>
                      <a:pt x="105828" y="11"/>
                    </a:moveTo>
                    <a:lnTo>
                      <a:pt x="105828" y="11"/>
                    </a:lnTo>
                    <a:cubicBezTo>
                      <a:pt x="121437" y="55077"/>
                      <a:pt x="159999" y="100757"/>
                      <a:pt x="211666" y="125384"/>
                    </a:cubicBezTo>
                    <a:lnTo>
                      <a:pt x="211666" y="125384"/>
                    </a:lnTo>
                    <a:cubicBezTo>
                      <a:pt x="160011" y="149994"/>
                      <a:pt x="121451" y="195649"/>
                      <a:pt x="105828" y="250692"/>
                    </a:cubicBezTo>
                    <a:lnTo>
                      <a:pt x="105828" y="250692"/>
                    </a:lnTo>
                    <a:cubicBezTo>
                      <a:pt x="90225" y="195626"/>
                      <a:pt x="51665" y="149945"/>
                      <a:pt x="0" y="125319"/>
                    </a:cubicBezTo>
                    <a:lnTo>
                      <a:pt x="0" y="125319"/>
                    </a:lnTo>
                    <a:cubicBezTo>
                      <a:pt x="51651" y="100703"/>
                      <a:pt x="90208" y="55045"/>
                      <a:pt x="105828" y="0"/>
                    </a:cubicBezTo>
                    <a:close/>
                  </a:path>
                </a:pathLst>
              </a:custGeom>
              <a:grpFill/>
              <a:ln w="10716" cap="flat">
                <a:noFill/>
                <a:prstDash val="solid"/>
                <a:miter/>
              </a:ln>
              <a:effectLst>
                <a:outerShdw blurRad="63500" dist="12700" dir="2700000" algn="tl" rotWithShape="0">
                  <a:prstClr val="black">
                    <a:alpha val="10000"/>
                  </a:prstClr>
                </a:outerShdw>
              </a:effectLst>
            </p:spPr>
            <p:txBody>
              <a:bodyPr rtlCol="0" anchor="ctr"/>
              <a:lstStyle>
                <a:defPPr>
                  <a:defRPr lang="en-US"/>
                </a:defPPr>
                <a:lvl1pPr marL="0" algn="l" defTabSz="914367" rtl="0" eaLnBrk="1" latinLnBrk="0" hangingPunct="1">
                  <a:defRPr sz="1765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83" algn="l" defTabSz="914367" rtl="0" eaLnBrk="1" latinLnBrk="0" hangingPunct="1">
                  <a:defRPr sz="1765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367" algn="l" defTabSz="914367" rtl="0" eaLnBrk="1" latinLnBrk="0" hangingPunct="1">
                  <a:defRPr sz="1765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550" algn="l" defTabSz="914367" rtl="0" eaLnBrk="1" latinLnBrk="0" hangingPunct="1">
                  <a:defRPr sz="1765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734" algn="l" defTabSz="914367" rtl="0" eaLnBrk="1" latinLnBrk="0" hangingPunct="1">
                  <a:defRPr sz="1765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918" algn="l" defTabSz="914367" rtl="0" eaLnBrk="1" latinLnBrk="0" hangingPunct="1">
                  <a:defRPr sz="1765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101" algn="l" defTabSz="914367" rtl="0" eaLnBrk="1" latinLnBrk="0" hangingPunct="1">
                  <a:defRPr sz="1765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284" algn="l" defTabSz="914367" rtl="0" eaLnBrk="1" latinLnBrk="0" hangingPunct="1">
                  <a:defRPr sz="1765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469" algn="l" defTabSz="914367" rtl="0" eaLnBrk="1" latinLnBrk="0" hangingPunct="1">
                  <a:defRPr sz="1765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</p:grp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D7873FF3-CD16-76DD-DAA1-7EDDC27C04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V="1">
            <a:off x="3036711" y="614683"/>
            <a:ext cx="6146144" cy="185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E05986FE-D31C-068E-3F97-1E0A0B0ADAC9}"/>
              </a:ext>
            </a:extLst>
          </p:cNvPr>
          <p:cNvSpPr/>
          <p:nvPr/>
        </p:nvSpPr>
        <p:spPr>
          <a:xfrm>
            <a:off x="1473626" y="59150"/>
            <a:ext cx="1669250" cy="3291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Pro Display Semibold" panose="020B0702040504020203" pitchFamily="34" charset="0"/>
                <a:ea typeface="+mn-ea"/>
                <a:cs typeface="+mn-cs"/>
              </a:rPr>
              <a:t>Agent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F67B06B-B7C8-7045-0B30-CB1EAC73F31B}"/>
              </a:ext>
            </a:extLst>
          </p:cNvPr>
          <p:cNvSpPr/>
          <p:nvPr/>
        </p:nvSpPr>
        <p:spPr>
          <a:xfrm>
            <a:off x="9073693" y="55519"/>
            <a:ext cx="1669250" cy="3291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Pro Display Semibold" panose="020B0702040504020203" pitchFamily="34" charset="0"/>
                <a:ea typeface="+mn-ea"/>
                <a:cs typeface="+mn-cs"/>
              </a:rPr>
              <a:t>Agent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375CFE42-309D-6B87-5707-0A0521C382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9946315" y="453306"/>
            <a:ext cx="216485" cy="236228"/>
            <a:chOff x="6256734" y="2247323"/>
            <a:chExt cx="705113" cy="897277"/>
          </a:xfrm>
          <a:solidFill>
            <a:schemeClr val="tx1"/>
          </a:solidFill>
        </p:grpSpPr>
        <p:sp>
          <p:nvSpPr>
            <p:cNvPr id="22" name="Freeform 77">
              <a:extLst>
                <a:ext uri="{FF2B5EF4-FFF2-40B4-BE49-F238E27FC236}">
                  <a16:creationId xmlns:a16="http://schemas.microsoft.com/office/drawing/2014/main" id="{D3AEC67E-CD06-F235-FE9B-E22F868B8403}"/>
                </a:ext>
              </a:extLst>
            </p:cNvPr>
            <p:cNvSpPr/>
            <p:nvPr/>
          </p:nvSpPr>
          <p:spPr>
            <a:xfrm>
              <a:off x="6314785" y="2247323"/>
              <a:ext cx="482203" cy="570949"/>
            </a:xfrm>
            <a:custGeom>
              <a:avLst/>
              <a:gdLst>
                <a:gd name="connsiteX0" fmla="*/ 241102 w 482203"/>
                <a:gd name="connsiteY0" fmla="*/ 0 h 570949"/>
                <a:gd name="connsiteX1" fmla="*/ 241102 w 482203"/>
                <a:gd name="connsiteY1" fmla="*/ 0 h 570949"/>
                <a:gd name="connsiteX2" fmla="*/ 482203 w 482203"/>
                <a:gd name="connsiteY2" fmla="*/ 285475 h 570949"/>
                <a:gd name="connsiteX3" fmla="*/ 482203 w 482203"/>
                <a:gd name="connsiteY3" fmla="*/ 285475 h 570949"/>
                <a:gd name="connsiteX4" fmla="*/ 241102 w 482203"/>
                <a:gd name="connsiteY4" fmla="*/ 570950 h 570949"/>
                <a:gd name="connsiteX5" fmla="*/ 241102 w 482203"/>
                <a:gd name="connsiteY5" fmla="*/ 570950 h 570949"/>
                <a:gd name="connsiteX6" fmla="*/ 0 w 482203"/>
                <a:gd name="connsiteY6" fmla="*/ 285475 h 570949"/>
                <a:gd name="connsiteX7" fmla="*/ 0 w 482203"/>
                <a:gd name="connsiteY7" fmla="*/ 285475 h 570949"/>
                <a:gd name="connsiteX8" fmla="*/ 241102 w 482203"/>
                <a:gd name="connsiteY8" fmla="*/ 0 h 570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2203" h="570949">
                  <a:moveTo>
                    <a:pt x="241102" y="0"/>
                  </a:moveTo>
                  <a:lnTo>
                    <a:pt x="241102" y="0"/>
                  </a:lnTo>
                  <a:cubicBezTo>
                    <a:pt x="282517" y="132199"/>
                    <a:pt x="370557" y="236440"/>
                    <a:pt x="482203" y="285475"/>
                  </a:cubicBezTo>
                  <a:lnTo>
                    <a:pt x="482203" y="285475"/>
                  </a:lnTo>
                  <a:cubicBezTo>
                    <a:pt x="370557" y="334510"/>
                    <a:pt x="282517" y="438708"/>
                    <a:pt x="241102" y="570950"/>
                  </a:cubicBezTo>
                  <a:lnTo>
                    <a:pt x="241102" y="570950"/>
                  </a:lnTo>
                  <a:cubicBezTo>
                    <a:pt x="199675" y="438751"/>
                    <a:pt x="111646" y="334510"/>
                    <a:pt x="0" y="285475"/>
                  </a:cubicBezTo>
                  <a:lnTo>
                    <a:pt x="0" y="285475"/>
                  </a:lnTo>
                  <a:cubicBezTo>
                    <a:pt x="111646" y="236440"/>
                    <a:pt x="199675" y="132199"/>
                    <a:pt x="241102" y="0"/>
                  </a:cubicBezTo>
                  <a:close/>
                </a:path>
              </a:pathLst>
            </a:custGeom>
            <a:grpFill/>
            <a:ln w="10716" cap="flat">
              <a:noFill/>
              <a:prstDash val="solid"/>
              <a:miter/>
            </a:ln>
            <a:effectLst>
              <a:outerShdw blurRad="63500" dist="12700" dir="2700000" algn="tl" rotWithShape="0">
                <a:prstClr val="black">
                  <a:alpha val="10000"/>
                </a:prstClr>
              </a:outerShdw>
            </a:effectLst>
          </p:spPr>
          <p:txBody>
            <a:bodyPr rtlCol="0" anchor="ctr"/>
            <a:lstStyle>
              <a:defPPr>
                <a:defRPr lang="en-US"/>
              </a:defPPr>
              <a:lvl1pPr marL="0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3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7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50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34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18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101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84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69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" name="Freeform 78">
              <a:extLst>
                <a:ext uri="{FF2B5EF4-FFF2-40B4-BE49-F238E27FC236}">
                  <a16:creationId xmlns:a16="http://schemas.microsoft.com/office/drawing/2014/main" id="{4A7D5F2B-53E0-16B2-A849-7698B8973F1A}"/>
                </a:ext>
              </a:extLst>
            </p:cNvPr>
            <p:cNvSpPr/>
            <p:nvPr/>
          </p:nvSpPr>
          <p:spPr>
            <a:xfrm>
              <a:off x="6632128" y="2754187"/>
              <a:ext cx="329719" cy="390413"/>
            </a:xfrm>
            <a:custGeom>
              <a:avLst/>
              <a:gdLst>
                <a:gd name="connsiteX0" fmla="*/ 164860 w 329719"/>
                <a:gd name="connsiteY0" fmla="*/ 0 h 390413"/>
                <a:gd name="connsiteX1" fmla="*/ 164860 w 329719"/>
                <a:gd name="connsiteY1" fmla="*/ 0 h 390413"/>
                <a:gd name="connsiteX2" fmla="*/ 329720 w 329719"/>
                <a:gd name="connsiteY2" fmla="*/ 195206 h 390413"/>
                <a:gd name="connsiteX3" fmla="*/ 329720 w 329719"/>
                <a:gd name="connsiteY3" fmla="*/ 195206 h 390413"/>
                <a:gd name="connsiteX4" fmla="*/ 164860 w 329719"/>
                <a:gd name="connsiteY4" fmla="*/ 390413 h 390413"/>
                <a:gd name="connsiteX5" fmla="*/ 164860 w 329719"/>
                <a:gd name="connsiteY5" fmla="*/ 390413 h 390413"/>
                <a:gd name="connsiteX6" fmla="*/ 0 w 329719"/>
                <a:gd name="connsiteY6" fmla="*/ 195206 h 390413"/>
                <a:gd name="connsiteX7" fmla="*/ 0 w 329719"/>
                <a:gd name="connsiteY7" fmla="*/ 195206 h 390413"/>
                <a:gd name="connsiteX8" fmla="*/ 164860 w 329719"/>
                <a:gd name="connsiteY8" fmla="*/ 0 h 3904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9719" h="390413">
                  <a:moveTo>
                    <a:pt x="164860" y="0"/>
                  </a:moveTo>
                  <a:lnTo>
                    <a:pt x="164860" y="0"/>
                  </a:lnTo>
                  <a:cubicBezTo>
                    <a:pt x="193181" y="90376"/>
                    <a:pt x="253382" y="161667"/>
                    <a:pt x="329720" y="195206"/>
                  </a:cubicBezTo>
                  <a:lnTo>
                    <a:pt x="329720" y="195206"/>
                  </a:lnTo>
                  <a:cubicBezTo>
                    <a:pt x="253382" y="228736"/>
                    <a:pt x="193181" y="300016"/>
                    <a:pt x="164860" y="390413"/>
                  </a:cubicBezTo>
                  <a:lnTo>
                    <a:pt x="164860" y="390413"/>
                  </a:lnTo>
                  <a:cubicBezTo>
                    <a:pt x="136539" y="300016"/>
                    <a:pt x="76338" y="228736"/>
                    <a:pt x="0" y="195206"/>
                  </a:cubicBezTo>
                  <a:lnTo>
                    <a:pt x="0" y="195206"/>
                  </a:lnTo>
                  <a:cubicBezTo>
                    <a:pt x="76338" y="161667"/>
                    <a:pt x="136539" y="90376"/>
                    <a:pt x="164860" y="0"/>
                  </a:cubicBezTo>
                  <a:close/>
                </a:path>
              </a:pathLst>
            </a:custGeom>
            <a:grpFill/>
            <a:ln w="10716" cap="flat">
              <a:noFill/>
              <a:prstDash val="solid"/>
              <a:miter/>
            </a:ln>
            <a:effectLst>
              <a:outerShdw blurRad="63500" dist="12700" dir="2700000" algn="tl" rotWithShape="0">
                <a:prstClr val="black">
                  <a:alpha val="10000"/>
                </a:prstClr>
              </a:outerShdw>
            </a:effectLst>
          </p:spPr>
          <p:txBody>
            <a:bodyPr rtlCol="0" anchor="ctr"/>
            <a:lstStyle>
              <a:defPPr>
                <a:defRPr lang="en-US"/>
              </a:defPPr>
              <a:lvl1pPr marL="0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3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7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50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34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18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101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84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69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" name="Freeform 79">
              <a:extLst>
                <a:ext uri="{FF2B5EF4-FFF2-40B4-BE49-F238E27FC236}">
                  <a16:creationId xmlns:a16="http://schemas.microsoft.com/office/drawing/2014/main" id="{02BFDDA2-3088-51B5-3632-DCC3C9E63E25}"/>
                </a:ext>
              </a:extLst>
            </p:cNvPr>
            <p:cNvSpPr/>
            <p:nvPr/>
          </p:nvSpPr>
          <p:spPr>
            <a:xfrm>
              <a:off x="6256734" y="2824048"/>
              <a:ext cx="211665" cy="250692"/>
            </a:xfrm>
            <a:custGeom>
              <a:avLst/>
              <a:gdLst>
                <a:gd name="connsiteX0" fmla="*/ 105828 w 211665"/>
                <a:gd name="connsiteY0" fmla="*/ 11 h 250692"/>
                <a:gd name="connsiteX1" fmla="*/ 105828 w 211665"/>
                <a:gd name="connsiteY1" fmla="*/ 11 h 250692"/>
                <a:gd name="connsiteX2" fmla="*/ 211666 w 211665"/>
                <a:gd name="connsiteY2" fmla="*/ 125384 h 250692"/>
                <a:gd name="connsiteX3" fmla="*/ 211666 w 211665"/>
                <a:gd name="connsiteY3" fmla="*/ 125384 h 250692"/>
                <a:gd name="connsiteX4" fmla="*/ 105828 w 211665"/>
                <a:gd name="connsiteY4" fmla="*/ 250692 h 250692"/>
                <a:gd name="connsiteX5" fmla="*/ 105828 w 211665"/>
                <a:gd name="connsiteY5" fmla="*/ 250692 h 250692"/>
                <a:gd name="connsiteX6" fmla="*/ 0 w 211665"/>
                <a:gd name="connsiteY6" fmla="*/ 125319 h 250692"/>
                <a:gd name="connsiteX7" fmla="*/ 0 w 211665"/>
                <a:gd name="connsiteY7" fmla="*/ 125319 h 250692"/>
                <a:gd name="connsiteX8" fmla="*/ 105828 w 211665"/>
                <a:gd name="connsiteY8" fmla="*/ 0 h 250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1665" h="250692">
                  <a:moveTo>
                    <a:pt x="105828" y="11"/>
                  </a:moveTo>
                  <a:lnTo>
                    <a:pt x="105828" y="11"/>
                  </a:lnTo>
                  <a:cubicBezTo>
                    <a:pt x="121437" y="55077"/>
                    <a:pt x="159999" y="100757"/>
                    <a:pt x="211666" y="125384"/>
                  </a:cubicBezTo>
                  <a:lnTo>
                    <a:pt x="211666" y="125384"/>
                  </a:lnTo>
                  <a:cubicBezTo>
                    <a:pt x="160011" y="149994"/>
                    <a:pt x="121451" y="195649"/>
                    <a:pt x="105828" y="250692"/>
                  </a:cubicBezTo>
                  <a:lnTo>
                    <a:pt x="105828" y="250692"/>
                  </a:lnTo>
                  <a:cubicBezTo>
                    <a:pt x="90225" y="195626"/>
                    <a:pt x="51665" y="149945"/>
                    <a:pt x="0" y="125319"/>
                  </a:cubicBezTo>
                  <a:lnTo>
                    <a:pt x="0" y="125319"/>
                  </a:lnTo>
                  <a:cubicBezTo>
                    <a:pt x="51651" y="100703"/>
                    <a:pt x="90208" y="55045"/>
                    <a:pt x="105828" y="0"/>
                  </a:cubicBezTo>
                  <a:close/>
                </a:path>
              </a:pathLst>
            </a:custGeom>
            <a:grpFill/>
            <a:ln w="10716" cap="flat">
              <a:noFill/>
              <a:prstDash val="solid"/>
              <a:miter/>
            </a:ln>
            <a:effectLst>
              <a:outerShdw blurRad="63500" dist="12700" dir="2700000" algn="tl" rotWithShape="0">
                <a:prstClr val="black">
                  <a:alpha val="10000"/>
                </a:prstClr>
              </a:outerShdw>
            </a:effectLst>
          </p:spPr>
          <p:txBody>
            <a:bodyPr rtlCol="0" anchor="ctr"/>
            <a:lstStyle>
              <a:defPPr>
                <a:defRPr lang="en-US"/>
              </a:defPPr>
              <a:lvl1pPr marL="0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3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7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50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34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18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101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84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69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27" name="Title 26">
            <a:extLst>
              <a:ext uri="{FF2B5EF4-FFF2-40B4-BE49-F238E27FC236}">
                <a16:creationId xmlns:a16="http://schemas.microsoft.com/office/drawing/2014/main" id="{E0B92AB2-F9D7-6876-6016-6BEBE2D0AFC8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763883" y="263236"/>
            <a:ext cx="5038725" cy="344487"/>
          </a:xfrm>
          <a:prstGeom prst="rect">
            <a:avLst/>
          </a:prstGeom>
          <a:noFill/>
          <a:ln w="10795" cap="flat" cmpd="sng" algn="ctr">
            <a:noFill/>
            <a:prstDash val="soli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Pro Display Semibold" panose="020B0702040504020203" pitchFamily="34" charset="0"/>
                <a:ea typeface="+mn-ea"/>
                <a:cs typeface="+mn-cs"/>
              </a:rPr>
              <a:t>Agents seamlessly connect and work together</a:t>
            </a: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A2B3D127-9514-2E17-C13D-5A5A006C0A38}"/>
              </a:ext>
            </a:extLst>
          </p:cNvPr>
          <p:cNvSpPr/>
          <p:nvPr/>
        </p:nvSpPr>
        <p:spPr bwMode="auto">
          <a:xfrm>
            <a:off x="4777351" y="2232144"/>
            <a:ext cx="2779632" cy="473673"/>
          </a:xfrm>
          <a:prstGeom prst="roundRect">
            <a:avLst/>
          </a:prstGeom>
          <a:ln w="19050" cap="rnd">
            <a:solidFill>
              <a:schemeClr val="bg1">
                <a:lumMod val="75000"/>
              </a:schemeClr>
            </a:solidFill>
            <a:headEnd type="none" w="lg" len="sm"/>
            <a:tailEnd type="none" w="lg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13716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-4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"/>
              </a:rPr>
              <a:t>Channels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B7ABDF00-63B3-F6D5-0A63-78B17CA076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3822796" y="2514014"/>
            <a:ext cx="748214" cy="0"/>
          </a:xfrm>
          <a:prstGeom prst="line">
            <a:avLst/>
          </a:prstGeom>
          <a:ln>
            <a:solidFill>
              <a:schemeClr val="tx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C233C4E5-CF9A-9F10-9531-DD8794829B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7663613" y="2511743"/>
            <a:ext cx="748214" cy="0"/>
          </a:xfrm>
          <a:prstGeom prst="line">
            <a:avLst/>
          </a:prstGeom>
          <a:ln>
            <a:solidFill>
              <a:schemeClr val="tx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D6B7F96B-526F-169A-AD8E-AA69E5F04E7E}"/>
              </a:ext>
            </a:extLst>
          </p:cNvPr>
          <p:cNvSpPr/>
          <p:nvPr/>
        </p:nvSpPr>
        <p:spPr bwMode="auto">
          <a:xfrm>
            <a:off x="8739083" y="2287183"/>
            <a:ext cx="2450109" cy="515611"/>
          </a:xfrm>
          <a:prstGeom prst="roundRect">
            <a:avLst>
              <a:gd name="adj" fmla="val 50000"/>
            </a:avLst>
          </a:prstGeom>
          <a:solidFill>
            <a:schemeClr val="tx1">
              <a:alpha val="10000"/>
            </a:schemeClr>
          </a:solidFill>
          <a:ln w="1270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"/>
              </a:rPr>
              <a:t>Publish to 15+ channels via M365 Agents SDK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5BCC4B15-0C5C-282D-AB2A-B80FA6413800}"/>
              </a:ext>
            </a:extLst>
          </p:cNvPr>
          <p:cNvSpPr/>
          <p:nvPr/>
        </p:nvSpPr>
        <p:spPr bwMode="auto">
          <a:xfrm>
            <a:off x="1012799" y="2287183"/>
            <a:ext cx="2450109" cy="515611"/>
          </a:xfrm>
          <a:prstGeom prst="roundRect">
            <a:avLst>
              <a:gd name="adj" fmla="val 50000"/>
            </a:avLst>
          </a:prstGeom>
          <a:solidFill>
            <a:schemeClr val="tx1">
              <a:alpha val="10000"/>
            </a:schemeClr>
          </a:solidFill>
          <a:ln w="1270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"/>
              </a:rPr>
              <a:t>1-click publish to 15+ internal &amp; external channels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Segoe UI"/>
            </a:endParaRP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B659A1D0-DE88-0998-3A46-74A0AFF8381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7655960" y="4414546"/>
            <a:ext cx="748214" cy="0"/>
          </a:xfrm>
          <a:prstGeom prst="line">
            <a:avLst/>
          </a:prstGeom>
          <a:ln>
            <a:solidFill>
              <a:schemeClr val="tx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81397517"/>
      </p:ext>
    </p:extLst>
  </p:cSld>
  <p:clrMapOvr>
    <a:masterClrMapping/>
  </p:clrMapOvr>
  <p:transition>
    <p:fade/>
  </p:transition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34DA8F69-44E1-C93E-08B1-33DEE85262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Freeform: Shape 2">
            <a:extLst>
              <a:ext uri="{FF2B5EF4-FFF2-40B4-BE49-F238E27FC236}">
                <a16:creationId xmlns:a16="http://schemas.microsoft.com/office/drawing/2014/main" id="{22507AA0-7AED-1DFF-DF96-E46EA6ECEA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-32657" y="-130660"/>
            <a:ext cx="12224657" cy="2453080"/>
          </a:xfrm>
          <a:custGeom>
            <a:avLst/>
            <a:gdLst>
              <a:gd name="connsiteX0" fmla="*/ 0 w 12192000"/>
              <a:gd name="connsiteY0" fmla="*/ 0 h 2151417"/>
              <a:gd name="connsiteX1" fmla="*/ 12192000 w 12192000"/>
              <a:gd name="connsiteY1" fmla="*/ 0 h 2151417"/>
              <a:gd name="connsiteX2" fmla="*/ 12192000 w 12192000"/>
              <a:gd name="connsiteY2" fmla="*/ 1813560 h 2151417"/>
              <a:gd name="connsiteX3" fmla="*/ 4619672 w 12192000"/>
              <a:gd name="connsiteY3" fmla="*/ 1813560 h 2151417"/>
              <a:gd name="connsiteX4" fmla="*/ 4307841 w 12192000"/>
              <a:gd name="connsiteY4" fmla="*/ 2125391 h 2151417"/>
              <a:gd name="connsiteX5" fmla="*/ 4307841 w 12192000"/>
              <a:gd name="connsiteY5" fmla="*/ 2151417 h 2151417"/>
              <a:gd name="connsiteX6" fmla="*/ 0 w 12192000"/>
              <a:gd name="connsiteY6" fmla="*/ 2151417 h 2151417"/>
              <a:gd name="connsiteX7" fmla="*/ 0 w 12192000"/>
              <a:gd name="connsiteY7" fmla="*/ 0 h 2151417"/>
              <a:gd name="connsiteX0" fmla="*/ 0 w 12192000"/>
              <a:gd name="connsiteY0" fmla="*/ 832757 h 2151417"/>
              <a:gd name="connsiteX1" fmla="*/ 12192000 w 12192000"/>
              <a:gd name="connsiteY1" fmla="*/ 0 h 2151417"/>
              <a:gd name="connsiteX2" fmla="*/ 12192000 w 12192000"/>
              <a:gd name="connsiteY2" fmla="*/ 1813560 h 2151417"/>
              <a:gd name="connsiteX3" fmla="*/ 4619672 w 12192000"/>
              <a:gd name="connsiteY3" fmla="*/ 1813560 h 2151417"/>
              <a:gd name="connsiteX4" fmla="*/ 4307841 w 12192000"/>
              <a:gd name="connsiteY4" fmla="*/ 2125391 h 2151417"/>
              <a:gd name="connsiteX5" fmla="*/ 4307841 w 12192000"/>
              <a:gd name="connsiteY5" fmla="*/ 2151417 h 2151417"/>
              <a:gd name="connsiteX6" fmla="*/ 0 w 12192000"/>
              <a:gd name="connsiteY6" fmla="*/ 2151417 h 2151417"/>
              <a:gd name="connsiteX7" fmla="*/ 0 w 12192000"/>
              <a:gd name="connsiteY7" fmla="*/ 832757 h 2151417"/>
              <a:gd name="connsiteX0" fmla="*/ 0 w 12192000"/>
              <a:gd name="connsiteY0" fmla="*/ 48986 h 1367646"/>
              <a:gd name="connsiteX1" fmla="*/ 12192000 w 12192000"/>
              <a:gd name="connsiteY1" fmla="*/ 0 h 1367646"/>
              <a:gd name="connsiteX2" fmla="*/ 12192000 w 12192000"/>
              <a:gd name="connsiteY2" fmla="*/ 1029789 h 1367646"/>
              <a:gd name="connsiteX3" fmla="*/ 4619672 w 12192000"/>
              <a:gd name="connsiteY3" fmla="*/ 1029789 h 1367646"/>
              <a:gd name="connsiteX4" fmla="*/ 4307841 w 12192000"/>
              <a:gd name="connsiteY4" fmla="*/ 1341620 h 1367646"/>
              <a:gd name="connsiteX5" fmla="*/ 4307841 w 12192000"/>
              <a:gd name="connsiteY5" fmla="*/ 1367646 h 1367646"/>
              <a:gd name="connsiteX6" fmla="*/ 0 w 12192000"/>
              <a:gd name="connsiteY6" fmla="*/ 1367646 h 1367646"/>
              <a:gd name="connsiteX7" fmla="*/ 0 w 12192000"/>
              <a:gd name="connsiteY7" fmla="*/ 48986 h 1367646"/>
              <a:gd name="connsiteX0" fmla="*/ 0 w 12192000"/>
              <a:gd name="connsiteY0" fmla="*/ 0 h 1318660"/>
              <a:gd name="connsiteX1" fmla="*/ 12175671 w 12192000"/>
              <a:gd name="connsiteY1" fmla="*/ 0 h 1318660"/>
              <a:gd name="connsiteX2" fmla="*/ 12192000 w 12192000"/>
              <a:gd name="connsiteY2" fmla="*/ 980803 h 1318660"/>
              <a:gd name="connsiteX3" fmla="*/ 4619672 w 12192000"/>
              <a:gd name="connsiteY3" fmla="*/ 980803 h 1318660"/>
              <a:gd name="connsiteX4" fmla="*/ 4307841 w 12192000"/>
              <a:gd name="connsiteY4" fmla="*/ 1292634 h 1318660"/>
              <a:gd name="connsiteX5" fmla="*/ 4307841 w 12192000"/>
              <a:gd name="connsiteY5" fmla="*/ 1318660 h 1318660"/>
              <a:gd name="connsiteX6" fmla="*/ 0 w 12192000"/>
              <a:gd name="connsiteY6" fmla="*/ 1318660 h 1318660"/>
              <a:gd name="connsiteX7" fmla="*/ 0 w 12192000"/>
              <a:gd name="connsiteY7" fmla="*/ 0 h 1318660"/>
              <a:gd name="connsiteX0" fmla="*/ 0 w 12192000"/>
              <a:gd name="connsiteY0" fmla="*/ 0 h 1318660"/>
              <a:gd name="connsiteX1" fmla="*/ 9759042 w 12192000"/>
              <a:gd name="connsiteY1" fmla="*/ 0 h 1318660"/>
              <a:gd name="connsiteX2" fmla="*/ 12192000 w 12192000"/>
              <a:gd name="connsiteY2" fmla="*/ 980803 h 1318660"/>
              <a:gd name="connsiteX3" fmla="*/ 4619672 w 12192000"/>
              <a:gd name="connsiteY3" fmla="*/ 980803 h 1318660"/>
              <a:gd name="connsiteX4" fmla="*/ 4307841 w 12192000"/>
              <a:gd name="connsiteY4" fmla="*/ 1292634 h 1318660"/>
              <a:gd name="connsiteX5" fmla="*/ 4307841 w 12192000"/>
              <a:gd name="connsiteY5" fmla="*/ 1318660 h 1318660"/>
              <a:gd name="connsiteX6" fmla="*/ 0 w 12192000"/>
              <a:gd name="connsiteY6" fmla="*/ 1318660 h 1318660"/>
              <a:gd name="connsiteX7" fmla="*/ 0 w 12192000"/>
              <a:gd name="connsiteY7" fmla="*/ 0 h 1318660"/>
              <a:gd name="connsiteX0" fmla="*/ 0 w 9808028"/>
              <a:gd name="connsiteY0" fmla="*/ 0 h 1318660"/>
              <a:gd name="connsiteX1" fmla="*/ 9759042 w 9808028"/>
              <a:gd name="connsiteY1" fmla="*/ 0 h 1318660"/>
              <a:gd name="connsiteX2" fmla="*/ 9808028 w 9808028"/>
              <a:gd name="connsiteY2" fmla="*/ 980803 h 1318660"/>
              <a:gd name="connsiteX3" fmla="*/ 4619672 w 9808028"/>
              <a:gd name="connsiteY3" fmla="*/ 980803 h 1318660"/>
              <a:gd name="connsiteX4" fmla="*/ 4307841 w 9808028"/>
              <a:gd name="connsiteY4" fmla="*/ 1292634 h 1318660"/>
              <a:gd name="connsiteX5" fmla="*/ 4307841 w 9808028"/>
              <a:gd name="connsiteY5" fmla="*/ 1318660 h 1318660"/>
              <a:gd name="connsiteX6" fmla="*/ 0 w 9808028"/>
              <a:gd name="connsiteY6" fmla="*/ 1318660 h 1318660"/>
              <a:gd name="connsiteX7" fmla="*/ 0 w 9808028"/>
              <a:gd name="connsiteY7" fmla="*/ 0 h 1318660"/>
              <a:gd name="connsiteX0" fmla="*/ 0 w 9808028"/>
              <a:gd name="connsiteY0" fmla="*/ 0 h 1318660"/>
              <a:gd name="connsiteX1" fmla="*/ 9791699 w 9808028"/>
              <a:gd name="connsiteY1" fmla="*/ 16329 h 1318660"/>
              <a:gd name="connsiteX2" fmla="*/ 9808028 w 9808028"/>
              <a:gd name="connsiteY2" fmla="*/ 980803 h 1318660"/>
              <a:gd name="connsiteX3" fmla="*/ 4619672 w 9808028"/>
              <a:gd name="connsiteY3" fmla="*/ 980803 h 1318660"/>
              <a:gd name="connsiteX4" fmla="*/ 4307841 w 9808028"/>
              <a:gd name="connsiteY4" fmla="*/ 1292634 h 1318660"/>
              <a:gd name="connsiteX5" fmla="*/ 4307841 w 9808028"/>
              <a:gd name="connsiteY5" fmla="*/ 1318660 h 1318660"/>
              <a:gd name="connsiteX6" fmla="*/ 0 w 9808028"/>
              <a:gd name="connsiteY6" fmla="*/ 1318660 h 1318660"/>
              <a:gd name="connsiteX7" fmla="*/ 0 w 9808028"/>
              <a:gd name="connsiteY7" fmla="*/ 0 h 1318660"/>
              <a:gd name="connsiteX0" fmla="*/ 0 w 9808028"/>
              <a:gd name="connsiteY0" fmla="*/ 16328 h 1334988"/>
              <a:gd name="connsiteX1" fmla="*/ 9808027 w 9808028"/>
              <a:gd name="connsiteY1" fmla="*/ 0 h 1334988"/>
              <a:gd name="connsiteX2" fmla="*/ 9808028 w 9808028"/>
              <a:gd name="connsiteY2" fmla="*/ 997131 h 1334988"/>
              <a:gd name="connsiteX3" fmla="*/ 4619672 w 9808028"/>
              <a:gd name="connsiteY3" fmla="*/ 997131 h 1334988"/>
              <a:gd name="connsiteX4" fmla="*/ 4307841 w 9808028"/>
              <a:gd name="connsiteY4" fmla="*/ 1308962 h 1334988"/>
              <a:gd name="connsiteX5" fmla="*/ 4307841 w 9808028"/>
              <a:gd name="connsiteY5" fmla="*/ 1334988 h 1334988"/>
              <a:gd name="connsiteX6" fmla="*/ 0 w 9808028"/>
              <a:gd name="connsiteY6" fmla="*/ 1334988 h 1334988"/>
              <a:gd name="connsiteX7" fmla="*/ 0 w 9808028"/>
              <a:gd name="connsiteY7" fmla="*/ 16328 h 1334988"/>
              <a:gd name="connsiteX0" fmla="*/ 0 w 12273642"/>
              <a:gd name="connsiteY0" fmla="*/ 16328 h 1334988"/>
              <a:gd name="connsiteX1" fmla="*/ 12273641 w 12273642"/>
              <a:gd name="connsiteY1" fmla="*/ 0 h 1334988"/>
              <a:gd name="connsiteX2" fmla="*/ 12273642 w 12273642"/>
              <a:gd name="connsiteY2" fmla="*/ 997131 h 1334988"/>
              <a:gd name="connsiteX3" fmla="*/ 7085286 w 12273642"/>
              <a:gd name="connsiteY3" fmla="*/ 997131 h 1334988"/>
              <a:gd name="connsiteX4" fmla="*/ 6773455 w 12273642"/>
              <a:gd name="connsiteY4" fmla="*/ 1308962 h 1334988"/>
              <a:gd name="connsiteX5" fmla="*/ 6773455 w 12273642"/>
              <a:gd name="connsiteY5" fmla="*/ 1334988 h 1334988"/>
              <a:gd name="connsiteX6" fmla="*/ 2465614 w 12273642"/>
              <a:gd name="connsiteY6" fmla="*/ 1334988 h 1334988"/>
              <a:gd name="connsiteX7" fmla="*/ 0 w 12273642"/>
              <a:gd name="connsiteY7" fmla="*/ 16328 h 1334988"/>
              <a:gd name="connsiteX0" fmla="*/ 0 w 12273642"/>
              <a:gd name="connsiteY0" fmla="*/ 16328 h 1334988"/>
              <a:gd name="connsiteX1" fmla="*/ 12273641 w 12273642"/>
              <a:gd name="connsiteY1" fmla="*/ 0 h 1334988"/>
              <a:gd name="connsiteX2" fmla="*/ 12273642 w 12273642"/>
              <a:gd name="connsiteY2" fmla="*/ 997131 h 1334988"/>
              <a:gd name="connsiteX3" fmla="*/ 7085286 w 12273642"/>
              <a:gd name="connsiteY3" fmla="*/ 997131 h 1334988"/>
              <a:gd name="connsiteX4" fmla="*/ 6773455 w 12273642"/>
              <a:gd name="connsiteY4" fmla="*/ 1308962 h 1334988"/>
              <a:gd name="connsiteX5" fmla="*/ 6773455 w 12273642"/>
              <a:gd name="connsiteY5" fmla="*/ 1334988 h 1334988"/>
              <a:gd name="connsiteX6" fmla="*/ 48986 w 12273642"/>
              <a:gd name="connsiteY6" fmla="*/ 1334988 h 1334988"/>
              <a:gd name="connsiteX7" fmla="*/ 0 w 12273642"/>
              <a:gd name="connsiteY7" fmla="*/ 16328 h 1334988"/>
              <a:gd name="connsiteX0" fmla="*/ 0 w 12224657"/>
              <a:gd name="connsiteY0" fmla="*/ 32657 h 1334988"/>
              <a:gd name="connsiteX1" fmla="*/ 12224656 w 12224657"/>
              <a:gd name="connsiteY1" fmla="*/ 0 h 1334988"/>
              <a:gd name="connsiteX2" fmla="*/ 12224657 w 12224657"/>
              <a:gd name="connsiteY2" fmla="*/ 997131 h 1334988"/>
              <a:gd name="connsiteX3" fmla="*/ 7036301 w 12224657"/>
              <a:gd name="connsiteY3" fmla="*/ 997131 h 1334988"/>
              <a:gd name="connsiteX4" fmla="*/ 6724470 w 12224657"/>
              <a:gd name="connsiteY4" fmla="*/ 1308962 h 1334988"/>
              <a:gd name="connsiteX5" fmla="*/ 6724470 w 12224657"/>
              <a:gd name="connsiteY5" fmla="*/ 1334988 h 1334988"/>
              <a:gd name="connsiteX6" fmla="*/ 1 w 12224657"/>
              <a:gd name="connsiteY6" fmla="*/ 1334988 h 1334988"/>
              <a:gd name="connsiteX7" fmla="*/ 0 w 12224657"/>
              <a:gd name="connsiteY7" fmla="*/ 32657 h 1334988"/>
              <a:gd name="connsiteX0" fmla="*/ 0 w 12224657"/>
              <a:gd name="connsiteY0" fmla="*/ 32657 h 2412673"/>
              <a:gd name="connsiteX1" fmla="*/ 12224656 w 12224657"/>
              <a:gd name="connsiteY1" fmla="*/ 0 h 2412673"/>
              <a:gd name="connsiteX2" fmla="*/ 12224657 w 12224657"/>
              <a:gd name="connsiteY2" fmla="*/ 997131 h 2412673"/>
              <a:gd name="connsiteX3" fmla="*/ 7036301 w 12224657"/>
              <a:gd name="connsiteY3" fmla="*/ 997131 h 2412673"/>
              <a:gd name="connsiteX4" fmla="*/ 6724470 w 12224657"/>
              <a:gd name="connsiteY4" fmla="*/ 1308962 h 2412673"/>
              <a:gd name="connsiteX5" fmla="*/ 6757127 w 12224657"/>
              <a:gd name="connsiteY5" fmla="*/ 2412673 h 2412673"/>
              <a:gd name="connsiteX6" fmla="*/ 1 w 12224657"/>
              <a:gd name="connsiteY6" fmla="*/ 1334988 h 2412673"/>
              <a:gd name="connsiteX7" fmla="*/ 0 w 12224657"/>
              <a:gd name="connsiteY7" fmla="*/ 32657 h 2412673"/>
              <a:gd name="connsiteX0" fmla="*/ 16328 w 12240985"/>
              <a:gd name="connsiteY0" fmla="*/ 32657 h 2412673"/>
              <a:gd name="connsiteX1" fmla="*/ 12240984 w 12240985"/>
              <a:gd name="connsiteY1" fmla="*/ 0 h 2412673"/>
              <a:gd name="connsiteX2" fmla="*/ 12240985 w 12240985"/>
              <a:gd name="connsiteY2" fmla="*/ 997131 h 2412673"/>
              <a:gd name="connsiteX3" fmla="*/ 7052629 w 12240985"/>
              <a:gd name="connsiteY3" fmla="*/ 997131 h 2412673"/>
              <a:gd name="connsiteX4" fmla="*/ 6740798 w 12240985"/>
              <a:gd name="connsiteY4" fmla="*/ 1308962 h 2412673"/>
              <a:gd name="connsiteX5" fmla="*/ 6773455 w 12240985"/>
              <a:gd name="connsiteY5" fmla="*/ 2412673 h 2412673"/>
              <a:gd name="connsiteX6" fmla="*/ 0 w 12240985"/>
              <a:gd name="connsiteY6" fmla="*/ 2396345 h 2412673"/>
              <a:gd name="connsiteX7" fmla="*/ 16328 w 12240985"/>
              <a:gd name="connsiteY7" fmla="*/ 32657 h 2412673"/>
              <a:gd name="connsiteX0" fmla="*/ 16328 w 12240985"/>
              <a:gd name="connsiteY0" fmla="*/ 32657 h 2445331"/>
              <a:gd name="connsiteX1" fmla="*/ 12240984 w 12240985"/>
              <a:gd name="connsiteY1" fmla="*/ 0 h 2445331"/>
              <a:gd name="connsiteX2" fmla="*/ 12240985 w 12240985"/>
              <a:gd name="connsiteY2" fmla="*/ 997131 h 2445331"/>
              <a:gd name="connsiteX3" fmla="*/ 7052629 w 12240985"/>
              <a:gd name="connsiteY3" fmla="*/ 997131 h 2445331"/>
              <a:gd name="connsiteX4" fmla="*/ 6740798 w 12240985"/>
              <a:gd name="connsiteY4" fmla="*/ 1308962 h 2445331"/>
              <a:gd name="connsiteX5" fmla="*/ 6773455 w 12240985"/>
              <a:gd name="connsiteY5" fmla="*/ 2412673 h 2445331"/>
              <a:gd name="connsiteX6" fmla="*/ 0 w 12240985"/>
              <a:gd name="connsiteY6" fmla="*/ 2445331 h 2445331"/>
              <a:gd name="connsiteX7" fmla="*/ 16328 w 12240985"/>
              <a:gd name="connsiteY7" fmla="*/ 32657 h 2445331"/>
              <a:gd name="connsiteX0" fmla="*/ 16328 w 12240985"/>
              <a:gd name="connsiteY0" fmla="*/ 32657 h 2445331"/>
              <a:gd name="connsiteX1" fmla="*/ 12240984 w 12240985"/>
              <a:gd name="connsiteY1" fmla="*/ 0 h 2445331"/>
              <a:gd name="connsiteX2" fmla="*/ 12240985 w 12240985"/>
              <a:gd name="connsiteY2" fmla="*/ 997131 h 2445331"/>
              <a:gd name="connsiteX3" fmla="*/ 7052629 w 12240985"/>
              <a:gd name="connsiteY3" fmla="*/ 997131 h 2445331"/>
              <a:gd name="connsiteX4" fmla="*/ 6740798 w 12240985"/>
              <a:gd name="connsiteY4" fmla="*/ 1308962 h 2445331"/>
              <a:gd name="connsiteX5" fmla="*/ 6740797 w 12240985"/>
              <a:gd name="connsiteY5" fmla="*/ 2429001 h 2445331"/>
              <a:gd name="connsiteX6" fmla="*/ 0 w 12240985"/>
              <a:gd name="connsiteY6" fmla="*/ 2445331 h 2445331"/>
              <a:gd name="connsiteX7" fmla="*/ 16328 w 12240985"/>
              <a:gd name="connsiteY7" fmla="*/ 32657 h 2445331"/>
              <a:gd name="connsiteX0" fmla="*/ 16328 w 12240985"/>
              <a:gd name="connsiteY0" fmla="*/ 32657 h 2477986"/>
              <a:gd name="connsiteX1" fmla="*/ 12240984 w 12240985"/>
              <a:gd name="connsiteY1" fmla="*/ 0 h 2477986"/>
              <a:gd name="connsiteX2" fmla="*/ 12240985 w 12240985"/>
              <a:gd name="connsiteY2" fmla="*/ 997131 h 2477986"/>
              <a:gd name="connsiteX3" fmla="*/ 7052629 w 12240985"/>
              <a:gd name="connsiteY3" fmla="*/ 997131 h 2477986"/>
              <a:gd name="connsiteX4" fmla="*/ 6740798 w 12240985"/>
              <a:gd name="connsiteY4" fmla="*/ 1308962 h 2477986"/>
              <a:gd name="connsiteX5" fmla="*/ 6757126 w 12240985"/>
              <a:gd name="connsiteY5" fmla="*/ 2477986 h 2477986"/>
              <a:gd name="connsiteX6" fmla="*/ 0 w 12240985"/>
              <a:gd name="connsiteY6" fmla="*/ 2445331 h 2477986"/>
              <a:gd name="connsiteX7" fmla="*/ 16328 w 12240985"/>
              <a:gd name="connsiteY7" fmla="*/ 32657 h 2477986"/>
              <a:gd name="connsiteX0" fmla="*/ 16328 w 12240985"/>
              <a:gd name="connsiteY0" fmla="*/ 32657 h 2445331"/>
              <a:gd name="connsiteX1" fmla="*/ 12240984 w 12240985"/>
              <a:gd name="connsiteY1" fmla="*/ 0 h 2445331"/>
              <a:gd name="connsiteX2" fmla="*/ 12240985 w 12240985"/>
              <a:gd name="connsiteY2" fmla="*/ 997131 h 2445331"/>
              <a:gd name="connsiteX3" fmla="*/ 7052629 w 12240985"/>
              <a:gd name="connsiteY3" fmla="*/ 997131 h 2445331"/>
              <a:gd name="connsiteX4" fmla="*/ 6740798 w 12240985"/>
              <a:gd name="connsiteY4" fmla="*/ 1308962 h 2445331"/>
              <a:gd name="connsiteX5" fmla="*/ 6724469 w 12240985"/>
              <a:gd name="connsiteY5" fmla="*/ 2412671 h 2445331"/>
              <a:gd name="connsiteX6" fmla="*/ 0 w 12240985"/>
              <a:gd name="connsiteY6" fmla="*/ 2445331 h 2445331"/>
              <a:gd name="connsiteX7" fmla="*/ 16328 w 12240985"/>
              <a:gd name="connsiteY7" fmla="*/ 32657 h 2445331"/>
              <a:gd name="connsiteX0" fmla="*/ 16328 w 12240985"/>
              <a:gd name="connsiteY0" fmla="*/ 32657 h 2445331"/>
              <a:gd name="connsiteX1" fmla="*/ 12240984 w 12240985"/>
              <a:gd name="connsiteY1" fmla="*/ 0 h 2445331"/>
              <a:gd name="connsiteX2" fmla="*/ 12240985 w 12240985"/>
              <a:gd name="connsiteY2" fmla="*/ 997131 h 2445331"/>
              <a:gd name="connsiteX3" fmla="*/ 7052629 w 12240985"/>
              <a:gd name="connsiteY3" fmla="*/ 997131 h 2445331"/>
              <a:gd name="connsiteX4" fmla="*/ 6740798 w 12240985"/>
              <a:gd name="connsiteY4" fmla="*/ 1308962 h 2445331"/>
              <a:gd name="connsiteX5" fmla="*/ 6740797 w 12240985"/>
              <a:gd name="connsiteY5" fmla="*/ 2445328 h 2445331"/>
              <a:gd name="connsiteX6" fmla="*/ 0 w 12240985"/>
              <a:gd name="connsiteY6" fmla="*/ 2445331 h 2445331"/>
              <a:gd name="connsiteX7" fmla="*/ 16328 w 12240985"/>
              <a:gd name="connsiteY7" fmla="*/ 32657 h 2445331"/>
              <a:gd name="connsiteX0" fmla="*/ 16328 w 12240985"/>
              <a:gd name="connsiteY0" fmla="*/ 32657 h 2445331"/>
              <a:gd name="connsiteX1" fmla="*/ 12240984 w 12240985"/>
              <a:gd name="connsiteY1" fmla="*/ 0 h 2445331"/>
              <a:gd name="connsiteX2" fmla="*/ 12240985 w 12240985"/>
              <a:gd name="connsiteY2" fmla="*/ 997131 h 2445331"/>
              <a:gd name="connsiteX3" fmla="*/ 7052629 w 12240985"/>
              <a:gd name="connsiteY3" fmla="*/ 997131 h 2445331"/>
              <a:gd name="connsiteX4" fmla="*/ 6797948 w 12240985"/>
              <a:gd name="connsiteY4" fmla="*/ 1315312 h 2445331"/>
              <a:gd name="connsiteX5" fmla="*/ 6740797 w 12240985"/>
              <a:gd name="connsiteY5" fmla="*/ 2445328 h 2445331"/>
              <a:gd name="connsiteX6" fmla="*/ 0 w 12240985"/>
              <a:gd name="connsiteY6" fmla="*/ 2445331 h 2445331"/>
              <a:gd name="connsiteX7" fmla="*/ 16328 w 12240985"/>
              <a:gd name="connsiteY7" fmla="*/ 32657 h 2445331"/>
              <a:gd name="connsiteX0" fmla="*/ 16328 w 12240985"/>
              <a:gd name="connsiteY0" fmla="*/ 32657 h 2451678"/>
              <a:gd name="connsiteX1" fmla="*/ 12240984 w 12240985"/>
              <a:gd name="connsiteY1" fmla="*/ 0 h 2451678"/>
              <a:gd name="connsiteX2" fmla="*/ 12240985 w 12240985"/>
              <a:gd name="connsiteY2" fmla="*/ 997131 h 2451678"/>
              <a:gd name="connsiteX3" fmla="*/ 7052629 w 12240985"/>
              <a:gd name="connsiteY3" fmla="*/ 997131 h 2451678"/>
              <a:gd name="connsiteX4" fmla="*/ 6797948 w 12240985"/>
              <a:gd name="connsiteY4" fmla="*/ 1315312 h 2451678"/>
              <a:gd name="connsiteX5" fmla="*/ 6804297 w 12240985"/>
              <a:gd name="connsiteY5" fmla="*/ 2451678 h 2451678"/>
              <a:gd name="connsiteX6" fmla="*/ 0 w 12240985"/>
              <a:gd name="connsiteY6" fmla="*/ 2445331 h 2451678"/>
              <a:gd name="connsiteX7" fmla="*/ 16328 w 12240985"/>
              <a:gd name="connsiteY7" fmla="*/ 32657 h 2451678"/>
              <a:gd name="connsiteX0" fmla="*/ 0 w 12224657"/>
              <a:gd name="connsiteY0" fmla="*/ 32657 h 2453080"/>
              <a:gd name="connsiteX1" fmla="*/ 12224656 w 12224657"/>
              <a:gd name="connsiteY1" fmla="*/ 0 h 2453080"/>
              <a:gd name="connsiteX2" fmla="*/ 12224657 w 12224657"/>
              <a:gd name="connsiteY2" fmla="*/ 997131 h 2453080"/>
              <a:gd name="connsiteX3" fmla="*/ 7036301 w 12224657"/>
              <a:gd name="connsiteY3" fmla="*/ 997131 h 2453080"/>
              <a:gd name="connsiteX4" fmla="*/ 6781620 w 12224657"/>
              <a:gd name="connsiteY4" fmla="*/ 1315312 h 2453080"/>
              <a:gd name="connsiteX5" fmla="*/ 6787969 w 12224657"/>
              <a:gd name="connsiteY5" fmla="*/ 2451678 h 2453080"/>
              <a:gd name="connsiteX6" fmla="*/ 6920 w 12224657"/>
              <a:gd name="connsiteY6" fmla="*/ 2453080 h 2453080"/>
              <a:gd name="connsiteX7" fmla="*/ 0 w 12224657"/>
              <a:gd name="connsiteY7" fmla="*/ 32657 h 2453080"/>
              <a:gd name="connsiteX0" fmla="*/ 0 w 12224657"/>
              <a:gd name="connsiteY0" fmla="*/ 32657 h 2453080"/>
              <a:gd name="connsiteX1" fmla="*/ 12224656 w 12224657"/>
              <a:gd name="connsiteY1" fmla="*/ 0 h 2453080"/>
              <a:gd name="connsiteX2" fmla="*/ 12224657 w 12224657"/>
              <a:gd name="connsiteY2" fmla="*/ 997131 h 2453080"/>
              <a:gd name="connsiteX3" fmla="*/ 7036301 w 12224657"/>
              <a:gd name="connsiteY3" fmla="*/ 997131 h 2453080"/>
              <a:gd name="connsiteX4" fmla="*/ 6781620 w 12224657"/>
              <a:gd name="connsiteY4" fmla="*/ 1315312 h 2453080"/>
              <a:gd name="connsiteX5" fmla="*/ 6787969 w 12224657"/>
              <a:gd name="connsiteY5" fmla="*/ 2451678 h 2453080"/>
              <a:gd name="connsiteX6" fmla="*/ 6920 w 12224657"/>
              <a:gd name="connsiteY6" fmla="*/ 2453080 h 2453080"/>
              <a:gd name="connsiteX7" fmla="*/ 0 w 12224657"/>
              <a:gd name="connsiteY7" fmla="*/ 32657 h 2453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224657" h="2453080">
                <a:moveTo>
                  <a:pt x="0" y="32657"/>
                </a:moveTo>
                <a:lnTo>
                  <a:pt x="12224656" y="0"/>
                </a:lnTo>
                <a:cubicBezTo>
                  <a:pt x="12224656" y="332377"/>
                  <a:pt x="12224657" y="664754"/>
                  <a:pt x="12224657" y="997131"/>
                </a:cubicBezTo>
                <a:lnTo>
                  <a:pt x="7036301" y="997131"/>
                </a:lnTo>
                <a:cubicBezTo>
                  <a:pt x="6864081" y="997131"/>
                  <a:pt x="6781620" y="1143092"/>
                  <a:pt x="6781620" y="1315312"/>
                </a:cubicBezTo>
                <a:cubicBezTo>
                  <a:pt x="6781620" y="1688658"/>
                  <a:pt x="6787969" y="2078332"/>
                  <a:pt x="6787969" y="2451678"/>
                </a:cubicBezTo>
                <a:lnTo>
                  <a:pt x="6920" y="2453080"/>
                </a:lnTo>
                <a:cubicBezTo>
                  <a:pt x="6920" y="2018970"/>
                  <a:pt x="0" y="466767"/>
                  <a:pt x="0" y="32657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15875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Segoe UI" pitchFamily="34" charset="0"/>
              <a:sym typeface="Arial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F0E9F821-89B2-796C-DCC0-6B86583202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245100" y="175256"/>
            <a:ext cx="6946900" cy="5980438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CD3E68C5-A212-6DA6-1F98-CCAB1A8095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t="1082" b="1082"/>
          <a:stretch/>
        </p:blipFill>
        <p:spPr>
          <a:xfrm>
            <a:off x="7012177" y="1253775"/>
            <a:ext cx="5179823" cy="3465589"/>
          </a:xfrm>
          <a:prstGeom prst="rect">
            <a:avLst/>
          </a:pr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CA408244-ED7D-0831-9379-435FDEA95D11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584129" y="846181"/>
            <a:ext cx="5583236" cy="646331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50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-50" normalizeH="0" baseline="0" noProof="0">
                <a:ln w="3175"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Segoe UI Semibold"/>
              </a:rPr>
              <a:t>Microsoft 365 Copilot APIs</a:t>
            </a:r>
            <a:endParaRPr kumimoji="0" lang="en-US" sz="3600" b="0" i="0" u="none" strike="noStrike" kern="1200" cap="none" spc="-50" normalizeH="0" baseline="0" noProof="0">
              <a:ln w="3175"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n-ea"/>
              <a:cs typeface="Segoe UI" pitchFamily="34" charset="0"/>
            </a:endParaRPr>
          </a:p>
        </p:txBody>
      </p:sp>
      <p:grpSp>
        <p:nvGrpSpPr>
          <p:cNvPr id="33" name="Group 32" descr="Public Preview">
            <a:extLst>
              <a:ext uri="{FF2B5EF4-FFF2-40B4-BE49-F238E27FC236}">
                <a16:creationId xmlns:a16="http://schemas.microsoft.com/office/drawing/2014/main" id="{2696D276-991D-DB5A-2650-C7737106C764}"/>
              </a:ext>
            </a:extLst>
          </p:cNvPr>
          <p:cNvGrpSpPr/>
          <p:nvPr/>
        </p:nvGrpSpPr>
        <p:grpSpPr>
          <a:xfrm>
            <a:off x="10238446" y="-31898"/>
            <a:ext cx="1712069" cy="719847"/>
            <a:chOff x="10038944" y="-1"/>
            <a:chExt cx="1712069" cy="719847"/>
          </a:xfrm>
        </p:grpSpPr>
        <p:sp>
          <p:nvSpPr>
            <p:cNvPr id="34" name="Rectangle: Top Corners Rounded 21">
              <a:extLst>
                <a:ext uri="{FF2B5EF4-FFF2-40B4-BE49-F238E27FC236}">
                  <a16:creationId xmlns:a16="http://schemas.microsoft.com/office/drawing/2014/main" id="{B135088B-BC60-2F18-A5E2-5AAF74CCD241}"/>
                </a:ext>
              </a:extLst>
            </p:cNvPr>
            <p:cNvSpPr/>
            <p:nvPr/>
          </p:nvSpPr>
          <p:spPr bwMode="auto">
            <a:xfrm flipV="1">
              <a:off x="10038944" y="-1"/>
              <a:ext cx="1712069" cy="719847"/>
            </a:xfrm>
            <a:prstGeom prst="round2SameRect">
              <a:avLst/>
            </a:prstGeom>
            <a:solidFill>
              <a:srgbClr val="0090A8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114300" dist="38100" dir="5400000" algn="t" rotWithShape="0">
                <a:prstClr val="black">
                  <a:alpha val="23000"/>
                </a:prstClr>
              </a:outerShdw>
            </a:effectLst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  <a:sym typeface="Arial"/>
              </a:endParaRPr>
            </a:p>
          </p:txBody>
        </p:sp>
        <p:sp>
          <p:nvSpPr>
            <p:cNvPr id="35" name="Title 13">
              <a:extLst>
                <a:ext uri="{FF2B5EF4-FFF2-40B4-BE49-F238E27FC236}">
                  <a16:creationId xmlns:a16="http://schemas.microsoft.com/office/drawing/2014/main" id="{DCAF4207-9C39-8E8B-CE39-A4083E40A83A}"/>
                </a:ext>
              </a:extLst>
            </p:cNvPr>
            <p:cNvSpPr txBox="1">
              <a:spLocks/>
            </p:cNvSpPr>
            <p:nvPr/>
          </p:nvSpPr>
          <p:spPr>
            <a:xfrm>
              <a:off x="10135736" y="52145"/>
              <a:ext cx="1518484" cy="615553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algn="l" defTabSz="932742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lang="en-US" sz="3600" b="0" kern="1200" cap="none" spc="-50" baseline="0" dirty="0" smtClean="0">
                  <a:ln w="3175">
                    <a:noFill/>
                  </a:ln>
                  <a:solidFill>
                    <a:schemeClr val="tx1"/>
                  </a:solidFill>
                  <a:effectLst/>
                  <a:latin typeface="+mj-lt"/>
                  <a:ea typeface="+mn-ea"/>
                  <a:cs typeface="Segoe UI" pitchFamily="34" charset="0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/>
                  <a:ea typeface="+mn-ea"/>
                  <a:cs typeface="Segoe UI"/>
                  <a:sym typeface="Arial"/>
                </a:rPr>
                <a:t>Public preview</a:t>
              </a:r>
              <a:endPara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" pitchFamily="34" charset="0"/>
                <a:sym typeface="Arial"/>
              </a:endParaRPr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108571E9-82F3-F90F-6D31-364C9DBC85F8}"/>
              </a:ext>
            </a:extLst>
          </p:cNvPr>
          <p:cNvSpPr txBox="1"/>
          <p:nvPr/>
        </p:nvSpPr>
        <p:spPr>
          <a:xfrm>
            <a:off x="574458" y="1432538"/>
            <a:ext cx="5183792" cy="584775"/>
          </a:xfrm>
          <a:prstGeom prst="rect">
            <a:avLst/>
          </a:prstGeom>
          <a:noFill/>
        </p:spPr>
        <p:txBody>
          <a:bodyPr wrap="square" lIns="0" tIns="45720" rIns="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90A8"/>
                </a:solidFill>
                <a:effectLst/>
                <a:uLnTx/>
                <a:uFillTx/>
                <a:latin typeface="Segoe UI Semibold"/>
                <a:ea typeface="+mn-ea"/>
                <a:cs typeface="Segoe UI Semibold"/>
                <a:sym typeface="Arial"/>
              </a:rPr>
              <a:t>Enable developers to build context-aware generativ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90A8"/>
                </a:solidFill>
                <a:effectLst/>
                <a:uLnTx/>
                <a:uFillTx/>
                <a:latin typeface="Segoe UI Semibold"/>
                <a:ea typeface="+mn-ea"/>
                <a:cs typeface="Segoe UI Semibold"/>
                <a:sym typeface="Arial"/>
              </a:rPr>
              <a:t>AI experiences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65F447A-D661-E560-9AEE-6FCDA3B7A16F}"/>
              </a:ext>
            </a:extLst>
          </p:cNvPr>
          <p:cNvSpPr txBox="1"/>
          <p:nvPr/>
        </p:nvSpPr>
        <p:spPr>
          <a:xfrm>
            <a:off x="574457" y="2715132"/>
            <a:ext cx="5092699" cy="3046988"/>
          </a:xfrm>
          <a:prstGeom prst="rect">
            <a:avLst/>
          </a:prstGeom>
          <a:noFill/>
        </p:spPr>
        <p:txBody>
          <a:bodyPr wrap="square" lIns="0" tIns="45720" rIns="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/>
                <a:sym typeface="Arial"/>
              </a:rPr>
              <a:t>Microsoft 365 Copilot APIs offer developer-first building blocks—like Retrieval, Chat, Interaction Export and Meetings Insights APIs—for enterprise-grade AI experiences.</a:t>
            </a:r>
            <a:endParaRPr kumimoji="0" lang="en-US" sz="16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lt"/>
              <a:cs typeface="Segoe UI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lt"/>
              <a:cs typeface="Segoe UI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lt"/>
                <a:cs typeface="Segoe UI"/>
                <a:sym typeface="Arial"/>
              </a:rPr>
              <a:t>These APIs can provide secure, compliant access to content across SharePoint, Teams, Outlook, and more—without requiring data egress or custom pipelines.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lt"/>
              <a:cs typeface="Segoe UI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/>
                <a:sym typeface="Arial"/>
              </a:rPr>
              <a:t>Use them to build low-latency search, grounded RAG workflows, custom Copilot integrations, and responsible usage monitoring.</a:t>
            </a: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Segoe UI"/>
              <a:sym typeface="Arial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2F36F42-F1FC-BA30-293E-4E8D5F0B6441}"/>
              </a:ext>
            </a:extLst>
          </p:cNvPr>
          <p:cNvSpPr txBox="1"/>
          <p:nvPr/>
        </p:nvSpPr>
        <p:spPr>
          <a:xfrm>
            <a:off x="584129" y="6055169"/>
            <a:ext cx="3833491" cy="18466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Arial"/>
                <a:sym typeface="Arial"/>
              </a:rPr>
              <a:t>Requires an M365 Copilot License*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Segoe UI"/>
              <a:sym typeface="Arial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88D2091C-A12F-16A7-591F-BA471719398F}"/>
              </a:ext>
            </a:extLst>
          </p:cNvPr>
          <p:cNvSpPr txBox="1"/>
          <p:nvPr/>
        </p:nvSpPr>
        <p:spPr>
          <a:xfrm>
            <a:off x="577159" y="6426746"/>
            <a:ext cx="1301277" cy="315984"/>
          </a:xfrm>
          <a:prstGeom prst="rect">
            <a:avLst/>
          </a:prstGeom>
          <a:noFill/>
        </p:spPr>
        <p:txBody>
          <a:bodyPr wrap="square" lIns="0" tIns="0" rIns="0" bIns="0" anchor="b" anchorCtr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ts val="11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  <a:sym typeface="Arial"/>
              </a:rPr>
              <a:t>Learn more in</a:t>
            </a:r>
          </a:p>
          <a:p>
            <a:pPr marL="0" marR="0" lvl="0" indent="0" algn="l" defTabSz="932742" rtl="0" eaLnBrk="1" fontAlgn="auto" latinLnBrk="0" hangingPunct="1">
              <a:lnSpc>
                <a:spcPts val="11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  <a:sym typeface="Arial"/>
              </a:rPr>
              <a:t>this Build session: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9E66D306-CA31-5A25-68B2-CCC88DDE3AD1}"/>
              </a:ext>
            </a:extLst>
          </p:cNvPr>
          <p:cNvSpPr txBox="1"/>
          <p:nvPr/>
        </p:nvSpPr>
        <p:spPr>
          <a:xfrm>
            <a:off x="1887167" y="6448743"/>
            <a:ext cx="6696422" cy="315984"/>
          </a:xfrm>
          <a:prstGeom prst="rect">
            <a:avLst/>
          </a:prstGeom>
          <a:noFill/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R="0" lvl="0" indent="0" defTabSz="932742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kumimoji="0" sz="110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ts val="11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Create advanced custom engine agents in Microsoft 365 Copilot</a:t>
            </a:r>
          </a:p>
          <a:p>
            <a:pPr marL="0" marR="0" lvl="0" indent="0" algn="l" defTabSz="932742" rtl="0" eaLnBrk="1" fontAlgn="auto" latinLnBrk="0" hangingPunct="1">
              <a:lnSpc>
                <a:spcPts val="11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https://aka.ms/Build25_BRK163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F139C14E-434F-1BF2-B59A-FBDC9038D3B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584129" y="4830525"/>
            <a:ext cx="5101551" cy="0"/>
          </a:xfrm>
          <a:prstGeom prst="line">
            <a:avLst/>
          </a:prstGeom>
          <a:ln>
            <a:solidFill>
              <a:srgbClr val="EAEAEA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F207D94-4F95-36CD-E991-F8CA9A45D4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584129" y="3851368"/>
            <a:ext cx="5083027" cy="0"/>
          </a:xfrm>
          <a:prstGeom prst="line">
            <a:avLst/>
          </a:prstGeom>
          <a:ln>
            <a:solidFill>
              <a:srgbClr val="EAEAEA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61188162"/>
      </p:ext>
    </p:extLst>
  </p:cSld>
  <p:clrMapOvr>
    <a:masterClrMapping/>
  </p:clrMapOvr>
  <p:transition>
    <p:fade/>
  </p:transition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AA465DD-ECB9-738A-D29E-ECAA8CF9FE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9316D54A-17D8-D34A-2C41-5B9E9A19D3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2491740" y="1909823"/>
            <a:ext cx="3492812" cy="1958957"/>
          </a:xfrm>
          <a:prstGeom prst="roundRect">
            <a:avLst/>
          </a:prstGeom>
          <a:gradFill flip="none" rotWithShape="1">
            <a:gsLst>
              <a:gs pos="100000">
                <a:srgbClr val="3095D8"/>
              </a:gs>
              <a:gs pos="0">
                <a:srgbClr val="42BBB6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Display Semibold" pitchFamily="2" charset="0"/>
                <a:ea typeface="+mn-ea"/>
                <a:cs typeface="Segoe Sans Display Semibold" pitchFamily="2" charset="0"/>
                <a:sym typeface="Arial"/>
              </a:rPr>
              <a:t>Retrieval API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Display Semibold" pitchFamily="2" charset="0"/>
              <a:ea typeface="+mn-ea"/>
              <a:cs typeface="Segoe Sans Display Semibold" pitchFamily="2" charset="0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scadia Mono Light" panose="020B0609020000020004" pitchFamily="49" charset="0"/>
                <a:ea typeface="Cascadia Mono Light" panose="020B0609020000020004" pitchFamily="49" charset="0"/>
                <a:cs typeface="Cascadia Mono Light" panose="020B0609020000020004" pitchFamily="49" charset="0"/>
                <a:sym typeface="Arial"/>
              </a:rPr>
              <a:t>/copilot/retrieval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A039C9FA-5CEE-E0F0-9A8F-03D55321E2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2491738" y="4047908"/>
            <a:ext cx="3492814" cy="1958957"/>
          </a:xfrm>
          <a:prstGeom prst="roundRect">
            <a:avLst/>
          </a:prstGeom>
          <a:gradFill flip="none" rotWithShape="1">
            <a:gsLst>
              <a:gs pos="100000">
                <a:srgbClr val="F33776"/>
              </a:gs>
              <a:gs pos="0">
                <a:srgbClr val="B641B3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65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  <a:sym typeface="Arial"/>
              </a:rPr>
              <a:t>Interactions Export 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Display Semibold" pitchFamily="2" charset="0"/>
                <a:ea typeface="+mn-ea"/>
                <a:cs typeface="Segoe Sans Display Semibold" pitchFamily="2" charset="0"/>
                <a:sym typeface="Arial"/>
              </a:rPr>
              <a:t>API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Display Semibold" pitchFamily="2" charset="0"/>
              <a:ea typeface="+mn-ea"/>
              <a:cs typeface="Segoe Sans Display Semibold" pitchFamily="2" charset="0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scadia Mono Light" panose="020B0609020000020004" pitchFamily="49" charset="0"/>
                <a:ea typeface="Cascadia Mono Light" panose="020B0609020000020004" pitchFamily="49" charset="0"/>
                <a:cs typeface="Cascadia Mono Light" panose="020B0609020000020004" pitchFamily="49" charset="0"/>
                <a:sym typeface="Arial"/>
              </a:rPr>
              <a:t>/copilot/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scadia Mono Light" panose="020B0609020000020004" pitchFamily="49" charset="0"/>
                <a:ea typeface="Cascadia Mono Light" panose="020B0609020000020004" pitchFamily="49" charset="0"/>
                <a:cs typeface="Cascadia Mono Light" panose="020B0609020000020004" pitchFamily="49" charset="0"/>
                <a:sym typeface="Arial"/>
              </a:rPr>
              <a:t>getAllEnterpriseInteractions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scadia Mono Light" panose="020B0609020000020004" pitchFamily="49" charset="0"/>
              <a:ea typeface="Cascadia Mono Light" panose="020B0609020000020004" pitchFamily="49" charset="0"/>
              <a:cs typeface="Cascadia Mono Light" panose="020B0609020000020004" pitchFamily="49" charset="0"/>
              <a:sym typeface="Arial"/>
            </a:endParaRPr>
          </a:p>
        </p:txBody>
      </p:sp>
      <p:sp>
        <p:nvSpPr>
          <p:cNvPr id="27" name="Title 2">
            <a:extLst>
              <a:ext uri="{FF2B5EF4-FFF2-40B4-BE49-F238E27FC236}">
                <a16:creationId xmlns:a16="http://schemas.microsoft.com/office/drawing/2014/main" id="{883EB550-47FD-1889-FE10-84F319EBF1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/>
          <a:lstStyle/>
          <a:p>
            <a:pPr algn="ctr"/>
            <a:r>
              <a:rPr lang="en-US">
                <a:solidFill>
                  <a:schemeClr val="bg1"/>
                </a:solidFill>
              </a:rPr>
              <a:t>Copilot APIs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8AB4E67D-6EAF-3D68-3F50-303E5577961B}"/>
              </a:ext>
            </a:extLst>
          </p:cNvPr>
          <p:cNvSpPr/>
          <p:nvPr/>
        </p:nvSpPr>
        <p:spPr>
          <a:xfrm>
            <a:off x="4770120" y="1356323"/>
            <a:ext cx="2651760" cy="379518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  <a:effectLst>
            <a:outerShdw blurRad="76200" dist="38100" dir="3900000" algn="ctr" rotWithShape="0">
              <a:srgbClr val="000000">
                <a:alpha val="35000"/>
              </a:srgb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Sans Text Semibold"/>
                <a:ea typeface="+mn-ea"/>
                <a:cs typeface="Segoe UI Semibold" panose="020B0702040204020203" pitchFamily="34" charset="0"/>
                <a:sym typeface="Arial"/>
              </a:rPr>
              <a:t>Safely, Securely &amp; Efficiently</a:t>
            </a:r>
          </a:p>
        </p:txBody>
      </p:sp>
      <p:sp>
        <p:nvSpPr>
          <p:cNvPr id="16" name="Title 4">
            <a:extLst>
              <a:ext uri="{FF2B5EF4-FFF2-40B4-BE49-F238E27FC236}">
                <a16:creationId xmlns:a16="http://schemas.microsoft.com/office/drawing/2014/main" id="{6BF85ABF-ABAF-9198-EF79-C3FCC7F15654}"/>
              </a:ext>
            </a:extLst>
          </p:cNvPr>
          <p:cNvSpPr txBox="1">
            <a:spLocks/>
          </p:cNvSpPr>
          <p:nvPr/>
        </p:nvSpPr>
        <p:spPr>
          <a:xfrm>
            <a:off x="203170" y="4767861"/>
            <a:ext cx="1795840" cy="553998"/>
          </a:xfrm>
          <a:prstGeom prst="rect">
            <a:avLst/>
          </a:prstGeom>
        </p:spPr>
        <p:txBody>
          <a:bodyPr vert="horz" wrap="square" lIns="91440" tIns="0" rIns="91440" bIns="0" rtlCol="0" anchor="t"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50" baseline="0" dirty="0" smtClean="0">
                <a:ln w="3175">
                  <a:noFill/>
                </a:ln>
                <a:solidFill>
                  <a:schemeClr val="tx2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-50" normalizeH="0" baseline="0" noProof="0">
                <a:ln w="3175"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Sans Text"/>
                <a:ea typeface="+mn-ea"/>
                <a:cs typeface="Segoe UI" pitchFamily="34" charset="0"/>
                <a:sym typeface="Arial"/>
              </a:rPr>
              <a:t>Use aiInteraction API to get all AI interactions for your enterprise</a:t>
            </a:r>
          </a:p>
        </p:txBody>
      </p:sp>
      <p:sp>
        <p:nvSpPr>
          <p:cNvPr id="17" name="Title 4">
            <a:extLst>
              <a:ext uri="{FF2B5EF4-FFF2-40B4-BE49-F238E27FC236}">
                <a16:creationId xmlns:a16="http://schemas.microsoft.com/office/drawing/2014/main" id="{A6BBB59A-802A-C282-CCCE-385A269D3620}"/>
              </a:ext>
            </a:extLst>
          </p:cNvPr>
          <p:cNvSpPr txBox="1">
            <a:spLocks/>
          </p:cNvSpPr>
          <p:nvPr/>
        </p:nvSpPr>
        <p:spPr>
          <a:xfrm>
            <a:off x="282681" y="2604828"/>
            <a:ext cx="1818085" cy="553998"/>
          </a:xfrm>
          <a:prstGeom prst="rect">
            <a:avLst/>
          </a:prstGeom>
        </p:spPr>
        <p:txBody>
          <a:bodyPr vert="horz" wrap="square" lIns="91440" tIns="0" rIns="91440" bIns="0" rtlCol="0" anchor="t"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50" baseline="0" dirty="0" smtClean="0">
                <a:ln w="3175">
                  <a:noFill/>
                </a:ln>
                <a:solidFill>
                  <a:schemeClr val="tx2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-50" normalizeH="0" baseline="0" noProof="0">
                <a:ln w="3175"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Sans Text"/>
                <a:ea typeface="+mn-ea"/>
                <a:cs typeface="Segoe UI" pitchFamily="34" charset="0"/>
                <a:sym typeface="Arial"/>
              </a:rPr>
              <a:t>Use Retrieval API to help users with grounded GenAI responses </a:t>
            </a:r>
          </a:p>
        </p:txBody>
      </p:sp>
      <p:sp>
        <p:nvSpPr>
          <p:cNvPr id="18" name="Title 4">
            <a:extLst>
              <a:ext uri="{FF2B5EF4-FFF2-40B4-BE49-F238E27FC236}">
                <a16:creationId xmlns:a16="http://schemas.microsoft.com/office/drawing/2014/main" id="{BB79B175-2FB3-C9A6-A34E-E8A98D4FCD38}"/>
              </a:ext>
            </a:extLst>
          </p:cNvPr>
          <p:cNvSpPr txBox="1">
            <a:spLocks/>
          </p:cNvSpPr>
          <p:nvPr/>
        </p:nvSpPr>
        <p:spPr>
          <a:xfrm>
            <a:off x="10163612" y="2621147"/>
            <a:ext cx="1790997" cy="553998"/>
          </a:xfrm>
          <a:prstGeom prst="rect">
            <a:avLst/>
          </a:prstGeom>
        </p:spPr>
        <p:txBody>
          <a:bodyPr vert="horz" wrap="square" lIns="91440" tIns="0" rIns="91440" bIns="0" rtlCol="0" anchor="t"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50" baseline="0" dirty="0" smtClean="0">
                <a:ln w="3175">
                  <a:noFill/>
                </a:ln>
                <a:solidFill>
                  <a:schemeClr val="tx2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-50" normalizeH="0" baseline="0" noProof="0">
                <a:ln w="3175"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Sans Text"/>
                <a:ea typeface="+mn-ea"/>
                <a:cs typeface="Segoe UI" pitchFamily="34" charset="0"/>
                <a:sym typeface="Arial"/>
              </a:rPr>
              <a:t>Use Chat API to help users  interact with Copilot in flow of work</a:t>
            </a:r>
          </a:p>
        </p:txBody>
      </p:sp>
      <p:sp>
        <p:nvSpPr>
          <p:cNvPr id="19" name="Title 4">
            <a:extLst>
              <a:ext uri="{FF2B5EF4-FFF2-40B4-BE49-F238E27FC236}">
                <a16:creationId xmlns:a16="http://schemas.microsoft.com/office/drawing/2014/main" id="{3D2CFD0D-918D-A055-13E5-2C5928301E1B}"/>
              </a:ext>
            </a:extLst>
          </p:cNvPr>
          <p:cNvSpPr txBox="1">
            <a:spLocks/>
          </p:cNvSpPr>
          <p:nvPr/>
        </p:nvSpPr>
        <p:spPr>
          <a:xfrm>
            <a:off x="10150067" y="4809095"/>
            <a:ext cx="1818085" cy="553998"/>
          </a:xfrm>
          <a:prstGeom prst="rect">
            <a:avLst/>
          </a:prstGeom>
        </p:spPr>
        <p:txBody>
          <a:bodyPr vert="horz" wrap="square" lIns="91440" tIns="0" rIns="91440" bIns="0" rtlCol="0" anchor="t"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50" baseline="0" dirty="0" smtClean="0">
                <a:ln w="3175">
                  <a:noFill/>
                </a:ln>
                <a:solidFill>
                  <a:schemeClr val="tx2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-50" normalizeH="0" baseline="0" noProof="0">
                <a:ln w="3175"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Sans Text"/>
                <a:ea typeface="+mn-ea"/>
                <a:cs typeface="Segoe UI" pitchFamily="34" charset="0"/>
                <a:sym typeface="Arial"/>
              </a:rPr>
              <a:t>Get meeting insights for your Microsoft Teams meetings</a:t>
            </a:r>
            <a:endParaRPr kumimoji="0" lang="en-US" sz="1100" b="0" i="0" u="none" strike="noStrike" kern="1200" cap="none" spc="-50" normalizeH="0" baseline="0" noProof="0">
              <a:ln w="3175">
                <a:noFill/>
              </a:ln>
              <a:solidFill>
                <a:srgbClr val="091F2C"/>
              </a:solidFill>
              <a:effectLst/>
              <a:uLnTx/>
              <a:uFillTx/>
              <a:latin typeface="Segoe Sans Text"/>
              <a:ea typeface="+mn-ea"/>
              <a:cs typeface="Segoe UI" pitchFamily="34" charset="0"/>
              <a:sym typeface="Arial"/>
            </a:endParaRP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D8ED19D0-A571-F57D-0473-75DCCFFE13DA}"/>
              </a:ext>
            </a:extLst>
          </p:cNvPr>
          <p:cNvSpPr/>
          <p:nvPr/>
        </p:nvSpPr>
        <p:spPr>
          <a:xfrm>
            <a:off x="4770121" y="6185993"/>
            <a:ext cx="2651760" cy="379518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  <a:effectLst>
            <a:outerShdw blurRad="76200" dist="38100" dir="3900000" algn="ctr" rotWithShape="0">
              <a:srgbClr val="000000">
                <a:alpha val="35000"/>
              </a:srgb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Sans Text Semibold"/>
                <a:ea typeface="+mn-ea"/>
                <a:cs typeface="Segoe UI Semibold" panose="020B0702040204020203" pitchFamily="34" charset="0"/>
                <a:sym typeface="Arial"/>
              </a:rPr>
              <a:t>Copilot APIs</a:t>
            </a:r>
          </a:p>
        </p:txBody>
      </p:sp>
      <p:sp>
        <p:nvSpPr>
          <p:cNvPr id="21" name="Rectangle: Rounded Corners 7">
            <a:extLst>
              <a:ext uri="{FF2B5EF4-FFF2-40B4-BE49-F238E27FC236}">
                <a16:creationId xmlns:a16="http://schemas.microsoft.com/office/drawing/2014/main" id="{59E9D225-E702-52A7-95EE-D14041AD170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7609370" y="1543178"/>
            <a:ext cx="2378794" cy="4862828"/>
          </a:xfrm>
          <a:custGeom>
            <a:avLst/>
            <a:gdLst>
              <a:gd name="connsiteX0" fmla="*/ 0 w 2651649"/>
              <a:gd name="connsiteY0" fmla="*/ 272855 h 4862828"/>
              <a:gd name="connsiteX1" fmla="*/ 272855 w 2651649"/>
              <a:gd name="connsiteY1" fmla="*/ 0 h 4862828"/>
              <a:gd name="connsiteX2" fmla="*/ 2378794 w 2651649"/>
              <a:gd name="connsiteY2" fmla="*/ 0 h 4862828"/>
              <a:gd name="connsiteX3" fmla="*/ 2651649 w 2651649"/>
              <a:gd name="connsiteY3" fmla="*/ 272855 h 4862828"/>
              <a:gd name="connsiteX4" fmla="*/ 2651649 w 2651649"/>
              <a:gd name="connsiteY4" fmla="*/ 4589973 h 4862828"/>
              <a:gd name="connsiteX5" fmla="*/ 2378794 w 2651649"/>
              <a:gd name="connsiteY5" fmla="*/ 4862828 h 4862828"/>
              <a:gd name="connsiteX6" fmla="*/ 272855 w 2651649"/>
              <a:gd name="connsiteY6" fmla="*/ 4862828 h 4862828"/>
              <a:gd name="connsiteX7" fmla="*/ 0 w 2651649"/>
              <a:gd name="connsiteY7" fmla="*/ 4589973 h 4862828"/>
              <a:gd name="connsiteX8" fmla="*/ 0 w 2651649"/>
              <a:gd name="connsiteY8" fmla="*/ 272855 h 4862828"/>
              <a:gd name="connsiteX0" fmla="*/ 0 w 2651649"/>
              <a:gd name="connsiteY0" fmla="*/ 272855 h 4862828"/>
              <a:gd name="connsiteX1" fmla="*/ 272855 w 2651649"/>
              <a:gd name="connsiteY1" fmla="*/ 0 h 4862828"/>
              <a:gd name="connsiteX2" fmla="*/ 2378794 w 2651649"/>
              <a:gd name="connsiteY2" fmla="*/ 0 h 4862828"/>
              <a:gd name="connsiteX3" fmla="*/ 2651649 w 2651649"/>
              <a:gd name="connsiteY3" fmla="*/ 272855 h 4862828"/>
              <a:gd name="connsiteX4" fmla="*/ 2651649 w 2651649"/>
              <a:gd name="connsiteY4" fmla="*/ 4589973 h 4862828"/>
              <a:gd name="connsiteX5" fmla="*/ 2378794 w 2651649"/>
              <a:gd name="connsiteY5" fmla="*/ 4862828 h 4862828"/>
              <a:gd name="connsiteX6" fmla="*/ 272855 w 2651649"/>
              <a:gd name="connsiteY6" fmla="*/ 4862828 h 4862828"/>
              <a:gd name="connsiteX7" fmla="*/ 0 w 2651649"/>
              <a:gd name="connsiteY7" fmla="*/ 4589973 h 4862828"/>
              <a:gd name="connsiteX8" fmla="*/ 91440 w 2651649"/>
              <a:gd name="connsiteY8" fmla="*/ 364295 h 4862828"/>
              <a:gd name="connsiteX0" fmla="*/ 0 w 2651649"/>
              <a:gd name="connsiteY0" fmla="*/ 272855 h 4862828"/>
              <a:gd name="connsiteX1" fmla="*/ 272855 w 2651649"/>
              <a:gd name="connsiteY1" fmla="*/ 0 h 4862828"/>
              <a:gd name="connsiteX2" fmla="*/ 2378794 w 2651649"/>
              <a:gd name="connsiteY2" fmla="*/ 0 h 4862828"/>
              <a:gd name="connsiteX3" fmla="*/ 2651649 w 2651649"/>
              <a:gd name="connsiteY3" fmla="*/ 272855 h 4862828"/>
              <a:gd name="connsiteX4" fmla="*/ 2651649 w 2651649"/>
              <a:gd name="connsiteY4" fmla="*/ 4589973 h 4862828"/>
              <a:gd name="connsiteX5" fmla="*/ 2378794 w 2651649"/>
              <a:gd name="connsiteY5" fmla="*/ 4862828 h 4862828"/>
              <a:gd name="connsiteX6" fmla="*/ 272855 w 2651649"/>
              <a:gd name="connsiteY6" fmla="*/ 4862828 h 4862828"/>
              <a:gd name="connsiteX7" fmla="*/ 0 w 2651649"/>
              <a:gd name="connsiteY7" fmla="*/ 4589973 h 4862828"/>
              <a:gd name="connsiteX0" fmla="*/ 272855 w 2651649"/>
              <a:gd name="connsiteY0" fmla="*/ 0 h 4862828"/>
              <a:gd name="connsiteX1" fmla="*/ 2378794 w 2651649"/>
              <a:gd name="connsiteY1" fmla="*/ 0 h 4862828"/>
              <a:gd name="connsiteX2" fmla="*/ 2651649 w 2651649"/>
              <a:gd name="connsiteY2" fmla="*/ 272855 h 4862828"/>
              <a:gd name="connsiteX3" fmla="*/ 2651649 w 2651649"/>
              <a:gd name="connsiteY3" fmla="*/ 4589973 h 4862828"/>
              <a:gd name="connsiteX4" fmla="*/ 2378794 w 2651649"/>
              <a:gd name="connsiteY4" fmla="*/ 4862828 h 4862828"/>
              <a:gd name="connsiteX5" fmla="*/ 272855 w 2651649"/>
              <a:gd name="connsiteY5" fmla="*/ 4862828 h 4862828"/>
              <a:gd name="connsiteX6" fmla="*/ 0 w 2651649"/>
              <a:gd name="connsiteY6" fmla="*/ 4589973 h 4862828"/>
              <a:gd name="connsiteX0" fmla="*/ 0 w 2378794"/>
              <a:gd name="connsiteY0" fmla="*/ 0 h 4862828"/>
              <a:gd name="connsiteX1" fmla="*/ 2105939 w 2378794"/>
              <a:gd name="connsiteY1" fmla="*/ 0 h 4862828"/>
              <a:gd name="connsiteX2" fmla="*/ 2378794 w 2378794"/>
              <a:gd name="connsiteY2" fmla="*/ 272855 h 4862828"/>
              <a:gd name="connsiteX3" fmla="*/ 2378794 w 2378794"/>
              <a:gd name="connsiteY3" fmla="*/ 4589973 h 4862828"/>
              <a:gd name="connsiteX4" fmla="*/ 2105939 w 2378794"/>
              <a:gd name="connsiteY4" fmla="*/ 4862828 h 4862828"/>
              <a:gd name="connsiteX5" fmla="*/ 0 w 2378794"/>
              <a:gd name="connsiteY5" fmla="*/ 4862828 h 48628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378794" h="4862828">
                <a:moveTo>
                  <a:pt x="0" y="0"/>
                </a:moveTo>
                <a:lnTo>
                  <a:pt x="2105939" y="0"/>
                </a:lnTo>
                <a:cubicBezTo>
                  <a:pt x="2256633" y="0"/>
                  <a:pt x="2378794" y="122161"/>
                  <a:pt x="2378794" y="272855"/>
                </a:cubicBezTo>
                <a:lnTo>
                  <a:pt x="2378794" y="4589973"/>
                </a:lnTo>
                <a:cubicBezTo>
                  <a:pt x="2378794" y="4740667"/>
                  <a:pt x="2256633" y="4862828"/>
                  <a:pt x="2105939" y="4862828"/>
                </a:cubicBezTo>
                <a:lnTo>
                  <a:pt x="0" y="4862828"/>
                </a:lnTo>
              </a:path>
            </a:pathLst>
          </a:custGeom>
          <a:noFill/>
          <a:ln>
            <a:solidFill>
              <a:schemeClr val="tx1"/>
            </a:solidFill>
            <a:headEnd type="oval" w="med" len="med"/>
            <a:tailEnd type="oval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Text"/>
              <a:ea typeface="Segoe UI" pitchFamily="34" charset="0"/>
              <a:cs typeface="Segoe UI" pitchFamily="34" charset="0"/>
              <a:sym typeface="Arial"/>
            </a:endParaRPr>
          </a:p>
        </p:txBody>
      </p:sp>
      <p:sp>
        <p:nvSpPr>
          <p:cNvPr id="22" name="Rectangle: Rounded Corners 7">
            <a:extLst>
              <a:ext uri="{FF2B5EF4-FFF2-40B4-BE49-F238E27FC236}">
                <a16:creationId xmlns:a16="http://schemas.microsoft.com/office/drawing/2014/main" id="{B2DB93A8-55DB-C9BA-A99C-D1E26A0D86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 flipH="1">
            <a:off x="2206676" y="1543178"/>
            <a:ext cx="2378794" cy="4862828"/>
          </a:xfrm>
          <a:custGeom>
            <a:avLst/>
            <a:gdLst>
              <a:gd name="connsiteX0" fmla="*/ 0 w 2651649"/>
              <a:gd name="connsiteY0" fmla="*/ 272855 h 4862828"/>
              <a:gd name="connsiteX1" fmla="*/ 272855 w 2651649"/>
              <a:gd name="connsiteY1" fmla="*/ 0 h 4862828"/>
              <a:gd name="connsiteX2" fmla="*/ 2378794 w 2651649"/>
              <a:gd name="connsiteY2" fmla="*/ 0 h 4862828"/>
              <a:gd name="connsiteX3" fmla="*/ 2651649 w 2651649"/>
              <a:gd name="connsiteY3" fmla="*/ 272855 h 4862828"/>
              <a:gd name="connsiteX4" fmla="*/ 2651649 w 2651649"/>
              <a:gd name="connsiteY4" fmla="*/ 4589973 h 4862828"/>
              <a:gd name="connsiteX5" fmla="*/ 2378794 w 2651649"/>
              <a:gd name="connsiteY5" fmla="*/ 4862828 h 4862828"/>
              <a:gd name="connsiteX6" fmla="*/ 272855 w 2651649"/>
              <a:gd name="connsiteY6" fmla="*/ 4862828 h 4862828"/>
              <a:gd name="connsiteX7" fmla="*/ 0 w 2651649"/>
              <a:gd name="connsiteY7" fmla="*/ 4589973 h 4862828"/>
              <a:gd name="connsiteX8" fmla="*/ 0 w 2651649"/>
              <a:gd name="connsiteY8" fmla="*/ 272855 h 4862828"/>
              <a:gd name="connsiteX0" fmla="*/ 0 w 2651649"/>
              <a:gd name="connsiteY0" fmla="*/ 272855 h 4862828"/>
              <a:gd name="connsiteX1" fmla="*/ 272855 w 2651649"/>
              <a:gd name="connsiteY1" fmla="*/ 0 h 4862828"/>
              <a:gd name="connsiteX2" fmla="*/ 2378794 w 2651649"/>
              <a:gd name="connsiteY2" fmla="*/ 0 h 4862828"/>
              <a:gd name="connsiteX3" fmla="*/ 2651649 w 2651649"/>
              <a:gd name="connsiteY3" fmla="*/ 272855 h 4862828"/>
              <a:gd name="connsiteX4" fmla="*/ 2651649 w 2651649"/>
              <a:gd name="connsiteY4" fmla="*/ 4589973 h 4862828"/>
              <a:gd name="connsiteX5" fmla="*/ 2378794 w 2651649"/>
              <a:gd name="connsiteY5" fmla="*/ 4862828 h 4862828"/>
              <a:gd name="connsiteX6" fmla="*/ 272855 w 2651649"/>
              <a:gd name="connsiteY6" fmla="*/ 4862828 h 4862828"/>
              <a:gd name="connsiteX7" fmla="*/ 0 w 2651649"/>
              <a:gd name="connsiteY7" fmla="*/ 4589973 h 4862828"/>
              <a:gd name="connsiteX8" fmla="*/ 91440 w 2651649"/>
              <a:gd name="connsiteY8" fmla="*/ 364295 h 4862828"/>
              <a:gd name="connsiteX0" fmla="*/ 0 w 2651649"/>
              <a:gd name="connsiteY0" fmla="*/ 272855 h 4862828"/>
              <a:gd name="connsiteX1" fmla="*/ 272855 w 2651649"/>
              <a:gd name="connsiteY1" fmla="*/ 0 h 4862828"/>
              <a:gd name="connsiteX2" fmla="*/ 2378794 w 2651649"/>
              <a:gd name="connsiteY2" fmla="*/ 0 h 4862828"/>
              <a:gd name="connsiteX3" fmla="*/ 2651649 w 2651649"/>
              <a:gd name="connsiteY3" fmla="*/ 272855 h 4862828"/>
              <a:gd name="connsiteX4" fmla="*/ 2651649 w 2651649"/>
              <a:gd name="connsiteY4" fmla="*/ 4589973 h 4862828"/>
              <a:gd name="connsiteX5" fmla="*/ 2378794 w 2651649"/>
              <a:gd name="connsiteY5" fmla="*/ 4862828 h 4862828"/>
              <a:gd name="connsiteX6" fmla="*/ 272855 w 2651649"/>
              <a:gd name="connsiteY6" fmla="*/ 4862828 h 4862828"/>
              <a:gd name="connsiteX7" fmla="*/ 0 w 2651649"/>
              <a:gd name="connsiteY7" fmla="*/ 4589973 h 4862828"/>
              <a:gd name="connsiteX0" fmla="*/ 272855 w 2651649"/>
              <a:gd name="connsiteY0" fmla="*/ 0 h 4862828"/>
              <a:gd name="connsiteX1" fmla="*/ 2378794 w 2651649"/>
              <a:gd name="connsiteY1" fmla="*/ 0 h 4862828"/>
              <a:gd name="connsiteX2" fmla="*/ 2651649 w 2651649"/>
              <a:gd name="connsiteY2" fmla="*/ 272855 h 4862828"/>
              <a:gd name="connsiteX3" fmla="*/ 2651649 w 2651649"/>
              <a:gd name="connsiteY3" fmla="*/ 4589973 h 4862828"/>
              <a:gd name="connsiteX4" fmla="*/ 2378794 w 2651649"/>
              <a:gd name="connsiteY4" fmla="*/ 4862828 h 4862828"/>
              <a:gd name="connsiteX5" fmla="*/ 272855 w 2651649"/>
              <a:gd name="connsiteY5" fmla="*/ 4862828 h 4862828"/>
              <a:gd name="connsiteX6" fmla="*/ 0 w 2651649"/>
              <a:gd name="connsiteY6" fmla="*/ 4589973 h 4862828"/>
              <a:gd name="connsiteX0" fmla="*/ 0 w 2378794"/>
              <a:gd name="connsiteY0" fmla="*/ 0 h 4862828"/>
              <a:gd name="connsiteX1" fmla="*/ 2105939 w 2378794"/>
              <a:gd name="connsiteY1" fmla="*/ 0 h 4862828"/>
              <a:gd name="connsiteX2" fmla="*/ 2378794 w 2378794"/>
              <a:gd name="connsiteY2" fmla="*/ 272855 h 4862828"/>
              <a:gd name="connsiteX3" fmla="*/ 2378794 w 2378794"/>
              <a:gd name="connsiteY3" fmla="*/ 4589973 h 4862828"/>
              <a:gd name="connsiteX4" fmla="*/ 2105939 w 2378794"/>
              <a:gd name="connsiteY4" fmla="*/ 4862828 h 4862828"/>
              <a:gd name="connsiteX5" fmla="*/ 0 w 2378794"/>
              <a:gd name="connsiteY5" fmla="*/ 4862828 h 48628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378794" h="4862828">
                <a:moveTo>
                  <a:pt x="0" y="0"/>
                </a:moveTo>
                <a:lnTo>
                  <a:pt x="2105939" y="0"/>
                </a:lnTo>
                <a:cubicBezTo>
                  <a:pt x="2256633" y="0"/>
                  <a:pt x="2378794" y="122161"/>
                  <a:pt x="2378794" y="272855"/>
                </a:cubicBezTo>
                <a:lnTo>
                  <a:pt x="2378794" y="4589973"/>
                </a:lnTo>
                <a:cubicBezTo>
                  <a:pt x="2378794" y="4740667"/>
                  <a:pt x="2256633" y="4862828"/>
                  <a:pt x="2105939" y="4862828"/>
                </a:cubicBezTo>
                <a:lnTo>
                  <a:pt x="0" y="4862828"/>
                </a:lnTo>
              </a:path>
            </a:pathLst>
          </a:custGeom>
          <a:noFill/>
          <a:ln>
            <a:solidFill>
              <a:schemeClr val="tx1"/>
            </a:solidFill>
            <a:headEnd type="oval" w="med" len="med"/>
            <a:tailEnd type="oval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Text"/>
              <a:ea typeface="Segoe UI" pitchFamily="34" charset="0"/>
              <a:cs typeface="Segoe UI" pitchFamily="34" charset="0"/>
              <a:sym typeface="Arial"/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3DE79227-EBC7-E5A4-9E22-E479B6094C6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9896064" y="2687034"/>
            <a:ext cx="217980" cy="217980"/>
          </a:xfrm>
          <a:prstGeom prst="ellipse">
            <a:avLst/>
          </a:prstGeom>
          <a:gradFill flip="none" rotWithShape="1">
            <a:gsLst>
              <a:gs pos="0">
                <a:srgbClr val="B0E297"/>
              </a:gs>
              <a:gs pos="81000">
                <a:srgbClr val="42BBB6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Display Semibold" pitchFamily="2" charset="0"/>
              <a:ea typeface="+mn-ea"/>
              <a:cs typeface="Segoe Sans Display Semibold" pitchFamily="2" charset="0"/>
              <a:sym typeface="Arial"/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FAFFE87B-CB63-D0D0-0B61-14320E26DC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2092369" y="4914352"/>
            <a:ext cx="217980" cy="217980"/>
          </a:xfrm>
          <a:prstGeom prst="ellipse">
            <a:avLst/>
          </a:prstGeom>
          <a:gradFill flip="none" rotWithShape="1">
            <a:gsLst>
              <a:gs pos="100000">
                <a:srgbClr val="F33776"/>
              </a:gs>
              <a:gs pos="0">
                <a:srgbClr val="B641B3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Display Semibold" pitchFamily="2" charset="0"/>
              <a:ea typeface="+mn-ea"/>
              <a:cs typeface="Segoe Sans Display Semibold" pitchFamily="2" charset="0"/>
              <a:sym typeface="Arial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B06351A1-F0E2-DBD7-6DC3-315BEF2A1F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9872597" y="4920465"/>
            <a:ext cx="217980" cy="217980"/>
          </a:xfrm>
          <a:prstGeom prst="ellipse">
            <a:avLst/>
          </a:prstGeom>
          <a:gradFill flip="none" rotWithShape="1">
            <a:gsLst>
              <a:gs pos="0">
                <a:srgbClr val="5062BC"/>
              </a:gs>
              <a:gs pos="100000">
                <a:srgbClr val="B641B3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Display Semibold" pitchFamily="2" charset="0"/>
              <a:ea typeface="+mn-ea"/>
              <a:cs typeface="Segoe Sans Display Semibold" pitchFamily="2" charset="0"/>
              <a:sym typeface="Arial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8CA0CEB8-7B18-9340-918D-6E885A17E80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2106083" y="2780311"/>
            <a:ext cx="217980" cy="217980"/>
          </a:xfrm>
          <a:prstGeom prst="ellipse">
            <a:avLst/>
          </a:prstGeom>
          <a:gradFill flip="none" rotWithShape="1">
            <a:gsLst>
              <a:gs pos="100000">
                <a:srgbClr val="3095D8"/>
              </a:gs>
              <a:gs pos="0">
                <a:srgbClr val="42BBB6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Display Semibold" pitchFamily="2" charset="0"/>
              <a:ea typeface="+mn-ea"/>
              <a:cs typeface="Segoe Sans Display Semibold" pitchFamily="2" charset="0"/>
              <a:sym typeface="Arial"/>
            </a:endParaRP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62E80664-CAE9-EBE5-67D9-51CDFCE1D0A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204337" y="1910050"/>
            <a:ext cx="3492812" cy="1958958"/>
          </a:xfrm>
          <a:prstGeom prst="roundRect">
            <a:avLst/>
          </a:prstGeom>
          <a:gradFill flip="none" rotWithShape="1">
            <a:gsLst>
              <a:gs pos="0">
                <a:srgbClr val="B0E297"/>
              </a:gs>
              <a:gs pos="81000">
                <a:srgbClr val="42BBB6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Display Semibold" pitchFamily="2" charset="0"/>
                <a:ea typeface="+mn-ea"/>
                <a:cs typeface="Segoe Sans Display Semibold" pitchFamily="2" charset="0"/>
                <a:sym typeface="Arial"/>
              </a:rPr>
              <a:t>Chat API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Display Semibold" pitchFamily="2" charset="0"/>
              <a:ea typeface="+mn-ea"/>
              <a:cs typeface="Segoe Sans Display Semibold" pitchFamily="2" charset="0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scadia Mono Light" panose="020B0609020000020004" pitchFamily="49" charset="0"/>
                <a:ea typeface="Cascadia Mono Light" panose="020B0609020000020004" pitchFamily="49" charset="0"/>
                <a:cs typeface="Cascadia Mono Light" panose="020B0609020000020004" pitchFamily="49" charset="0"/>
                <a:sym typeface="Arial"/>
              </a:rPr>
              <a:t>/copilot/chat</a:t>
            </a: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4ED56945-D8F6-29EB-5856-90781D98B2E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204337" y="4049976"/>
            <a:ext cx="3492811" cy="1958958"/>
          </a:xfrm>
          <a:prstGeom prst="roundRect">
            <a:avLst/>
          </a:prstGeom>
          <a:gradFill flip="none" rotWithShape="1">
            <a:gsLst>
              <a:gs pos="0">
                <a:srgbClr val="5062BC"/>
              </a:gs>
              <a:gs pos="100000">
                <a:srgbClr val="B641B3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Display Semibold" pitchFamily="2" charset="0"/>
                <a:ea typeface="+mn-ea"/>
                <a:cs typeface="Segoe Sans Display Semibold" pitchFamily="2" charset="0"/>
                <a:sym typeface="Arial"/>
              </a:rPr>
              <a:t>Meeting Insights API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Display Semibold" pitchFamily="2" charset="0"/>
              <a:ea typeface="+mn-ea"/>
              <a:cs typeface="Segoe Sans Display Semibold" pitchFamily="2" charset="0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Display Semibold" pitchFamily="2" charset="0"/>
              <a:ea typeface="+mn-ea"/>
              <a:cs typeface="Segoe Sans Display Semibold" pitchFamily="2" charset="0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scadia Mono Light" panose="020B0609020000020004" pitchFamily="49" charset="0"/>
                <a:ea typeface="Cascadia Mono Light" panose="020B0609020000020004" pitchFamily="49" charset="0"/>
                <a:cs typeface="Cascadia Mono Light" panose="020B0609020000020004" pitchFamily="49" charset="0"/>
                <a:sym typeface="Arial"/>
              </a:rPr>
              <a:t>/copilot/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scadia Mono Light" panose="020B0609020000020004" pitchFamily="49" charset="0"/>
                <a:ea typeface="Cascadia Mono Light" panose="020B0609020000020004" pitchFamily="49" charset="0"/>
                <a:cs typeface="Cascadia Mono Light" panose="020B0609020000020004" pitchFamily="49" charset="0"/>
                <a:sym typeface="Arial"/>
              </a:rPr>
              <a:t>aiInsights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scadia Mono Light" panose="020B0609020000020004" pitchFamily="49" charset="0"/>
              <a:ea typeface="Cascadia Mono Light" panose="020B0609020000020004" pitchFamily="49" charset="0"/>
              <a:cs typeface="Cascadia Mono Light" panose="020B0609020000020004" pitchFamily="49" charset="0"/>
              <a:sym typeface="Arial"/>
            </a:endParaRPr>
          </a:p>
        </p:txBody>
      </p:sp>
      <p:sp>
        <p:nvSpPr>
          <p:cNvPr id="30" name="Title 2">
            <a:extLst>
              <a:ext uri="{FF2B5EF4-FFF2-40B4-BE49-F238E27FC236}">
                <a16:creationId xmlns:a16="http://schemas.microsoft.com/office/drawing/2014/main" id="{5AACA51D-DF76-C60B-803D-F4A28D675B74}"/>
              </a:ext>
            </a:extLst>
          </p:cNvPr>
          <p:cNvSpPr txBox="1">
            <a:spLocks/>
          </p:cNvSpPr>
          <p:nvPr/>
        </p:nvSpPr>
        <p:spPr>
          <a:xfrm>
            <a:off x="740663" y="6096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50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-50" normalizeH="0" baseline="0" noProof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" pitchFamily="34" charset="0"/>
                <a:sym typeface="Arial"/>
              </a:rPr>
              <a:t>Copilot APIs</a:t>
            </a:r>
          </a:p>
        </p:txBody>
      </p:sp>
      <p:sp>
        <p:nvSpPr>
          <p:cNvPr id="2" name="Title 4">
            <a:extLst>
              <a:ext uri="{FF2B5EF4-FFF2-40B4-BE49-F238E27FC236}">
                <a16:creationId xmlns:a16="http://schemas.microsoft.com/office/drawing/2014/main" id="{94194E7A-18EC-5F14-5478-9B2B68C42963}"/>
              </a:ext>
            </a:extLst>
          </p:cNvPr>
          <p:cNvSpPr txBox="1">
            <a:spLocks/>
          </p:cNvSpPr>
          <p:nvPr/>
        </p:nvSpPr>
        <p:spPr>
          <a:xfrm>
            <a:off x="183185" y="4747876"/>
            <a:ext cx="1795840" cy="553998"/>
          </a:xfrm>
          <a:prstGeom prst="rect">
            <a:avLst/>
          </a:prstGeom>
        </p:spPr>
        <p:txBody>
          <a:bodyPr vert="horz" wrap="square" lIns="91440" tIns="0" rIns="91440" bIns="0" rtlCol="0" anchor="t">
            <a:spAutoFit/>
          </a:bodyPr>
          <a:lstStyle>
            <a:defPPr>
              <a:defRPr lang="en-US"/>
            </a:defPPr>
            <a:lvl1pPr marR="0" lvl="0" indent="0" algn="ctr" defTabSz="932742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-50" normalizeH="0" baseline="0">
                <a:ln w="3175"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Sans Text"/>
                <a:cs typeface="Segoe UI" pitchFamily="34" charset="0"/>
              </a:defRPr>
            </a:lvl1pPr>
          </a:lstStyle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-50" normalizeH="0" baseline="0" noProof="0" dirty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/>
                <a:ea typeface="+mn-ea"/>
                <a:cs typeface="Segoe UI" pitchFamily="34" charset="0"/>
                <a:sym typeface="Arial"/>
              </a:rPr>
              <a:t>Use </a:t>
            </a:r>
            <a:r>
              <a:rPr kumimoji="0" lang="en-US" sz="1200" b="0" i="0" u="none" strike="noStrike" kern="1200" cap="none" spc="-50" normalizeH="0" baseline="0" noProof="0" dirty="0" err="1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/>
                <a:ea typeface="+mn-ea"/>
                <a:cs typeface="Segoe UI" pitchFamily="34" charset="0"/>
                <a:sym typeface="Arial"/>
              </a:rPr>
              <a:t>aiInteraction</a:t>
            </a:r>
            <a:r>
              <a:rPr kumimoji="0" lang="en-US" sz="1200" b="0" i="0" u="none" strike="noStrike" kern="1200" cap="none" spc="-50" normalizeH="0" baseline="0" noProof="0" dirty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/>
                <a:ea typeface="+mn-ea"/>
                <a:cs typeface="Segoe UI" pitchFamily="34" charset="0"/>
                <a:sym typeface="Arial"/>
              </a:rPr>
              <a:t> API to get all AI interactions for your enterprise</a:t>
            </a:r>
          </a:p>
        </p:txBody>
      </p:sp>
      <p:sp>
        <p:nvSpPr>
          <p:cNvPr id="3" name="Title 4">
            <a:extLst>
              <a:ext uri="{FF2B5EF4-FFF2-40B4-BE49-F238E27FC236}">
                <a16:creationId xmlns:a16="http://schemas.microsoft.com/office/drawing/2014/main" id="{60F70230-8A9B-960D-E6ED-885A5AEB7F0F}"/>
              </a:ext>
            </a:extLst>
          </p:cNvPr>
          <p:cNvSpPr txBox="1">
            <a:spLocks/>
          </p:cNvSpPr>
          <p:nvPr/>
        </p:nvSpPr>
        <p:spPr>
          <a:xfrm>
            <a:off x="319879" y="2593002"/>
            <a:ext cx="1818085" cy="553998"/>
          </a:xfrm>
          <a:prstGeom prst="rect">
            <a:avLst/>
          </a:prstGeom>
        </p:spPr>
        <p:txBody>
          <a:bodyPr vert="horz" wrap="square" lIns="91440" tIns="0" rIns="91440" bIns="0" rtlCol="0" anchor="t"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50" baseline="0" dirty="0" smtClean="0">
                <a:ln w="3175">
                  <a:noFill/>
                </a:ln>
                <a:solidFill>
                  <a:schemeClr val="tx2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-50" normalizeH="0" baseline="0" noProof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/>
                <a:ea typeface="+mn-ea"/>
                <a:cs typeface="Segoe UI" pitchFamily="34" charset="0"/>
                <a:sym typeface="Arial"/>
              </a:rPr>
              <a:t>Use Retrieval API to help users with grounded GenAI responses 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77786C6-8C8E-C977-F377-4B08DCEA84A8}"/>
              </a:ext>
            </a:extLst>
          </p:cNvPr>
          <p:cNvSpPr txBox="1">
            <a:spLocks/>
          </p:cNvSpPr>
          <p:nvPr/>
        </p:nvSpPr>
        <p:spPr>
          <a:xfrm>
            <a:off x="10200810" y="2593002"/>
            <a:ext cx="1790997" cy="553998"/>
          </a:xfrm>
          <a:prstGeom prst="rect">
            <a:avLst/>
          </a:prstGeom>
        </p:spPr>
        <p:txBody>
          <a:bodyPr vert="horz" wrap="square" lIns="91440" tIns="0" rIns="91440" bIns="0" rtlCol="0" anchor="t"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50" baseline="0" dirty="0" smtClean="0">
                <a:ln w="3175">
                  <a:noFill/>
                </a:ln>
                <a:solidFill>
                  <a:schemeClr val="tx2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-50" normalizeH="0" baseline="0" noProof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/>
                <a:ea typeface="+mn-ea"/>
                <a:cs typeface="Segoe UI" pitchFamily="34" charset="0"/>
                <a:sym typeface="Arial"/>
              </a:rPr>
              <a:t>Use Chat API to help users  interact with Copilot in flow of work</a:t>
            </a:r>
          </a:p>
        </p:txBody>
      </p:sp>
      <p:sp>
        <p:nvSpPr>
          <p:cNvPr id="6" name="Title 4">
            <a:extLst>
              <a:ext uri="{FF2B5EF4-FFF2-40B4-BE49-F238E27FC236}">
                <a16:creationId xmlns:a16="http://schemas.microsoft.com/office/drawing/2014/main" id="{11113381-CB8D-FE36-23BF-912C8DE7DC0C}"/>
              </a:ext>
            </a:extLst>
          </p:cNvPr>
          <p:cNvSpPr txBox="1">
            <a:spLocks/>
          </p:cNvSpPr>
          <p:nvPr/>
        </p:nvSpPr>
        <p:spPr>
          <a:xfrm>
            <a:off x="10187265" y="4789110"/>
            <a:ext cx="1818085" cy="553998"/>
          </a:xfrm>
          <a:prstGeom prst="rect">
            <a:avLst/>
          </a:prstGeom>
        </p:spPr>
        <p:txBody>
          <a:bodyPr vert="horz" wrap="square" lIns="91440" tIns="0" rIns="91440" bIns="0" rtlCol="0" anchor="t"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50" baseline="0" dirty="0" smtClean="0">
                <a:ln w="3175">
                  <a:noFill/>
                </a:ln>
                <a:solidFill>
                  <a:schemeClr val="tx2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-50" normalizeH="0" baseline="0" noProof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/>
                <a:ea typeface="+mn-ea"/>
                <a:cs typeface="Segoe UI" pitchFamily="34" charset="0"/>
                <a:sym typeface="Arial"/>
              </a:rPr>
              <a:t>Get meeting insights for your Microsoft Teams meetings</a:t>
            </a:r>
            <a:endParaRPr kumimoji="0" lang="en-US" sz="1100" b="0" i="0" u="none" strike="noStrike" kern="1200" cap="none" spc="-50" normalizeH="0" baseline="0" noProof="0">
              <a:ln w="3175">
                <a:noFill/>
              </a:ln>
              <a:solidFill>
                <a:srgbClr val="FFFFFF"/>
              </a:solidFill>
              <a:effectLst/>
              <a:uLnTx/>
              <a:uFillTx/>
              <a:latin typeface="Segoe Sans Text"/>
              <a:ea typeface="+mn-ea"/>
              <a:cs typeface="Segoe UI" pitchFamily="34" charset="0"/>
              <a:sym typeface="Arial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54890361"/>
      </p:ext>
    </p:extLst>
  </p:cSld>
  <p:clrMapOvr>
    <a:masterClrMapping/>
  </p:clrMapOvr>
  <p:transition>
    <p:fade/>
  </p:transition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542D018-B7CE-3A92-8566-4DD10847547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>
            <a:extLst>
              <a:ext uri="{FF2B5EF4-FFF2-40B4-BE49-F238E27FC236}">
                <a16:creationId xmlns:a16="http://schemas.microsoft.com/office/drawing/2014/main" id="{696EB67A-211D-55DF-A30C-3ADFFDE367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HK"/>
              <a:t>Multi-Agent Challenges</a:t>
            </a:r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5505DDE-E820-3F8C-ABCB-3A9607A393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7048032" y="2737975"/>
            <a:ext cx="4153989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Image of a friendly but sad robot octopus-like AI making call in prison.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D6D005A-7596-574F-FA0B-4240ACCDF9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17173" y="0"/>
            <a:ext cx="6858000" cy="6858000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45F9D28-EA34-C459-85D6-BD99060C1CB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4557580" cy="4481227"/>
          </a:xfrm>
        </p:spPr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/>
              <a:t>Need personalization, context, actions to be most useful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/>
              <a:t>Hard to extend your agent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/>
              <a:t>Many agents have different extensibility patterns, may need to wait for pattern provider for adding capabilities</a:t>
            </a:r>
          </a:p>
        </p:txBody>
      </p:sp>
    </p:spTree>
    <p:extLst>
      <p:ext uri="{BB962C8B-B14F-4D97-AF65-F5344CB8AC3E}">
        <p14:creationId xmlns:p14="http://schemas.microsoft.com/office/powerpoint/2010/main" val="556214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5">
            <a:extLst>
              <a:ext uri="{FF2B5EF4-FFF2-40B4-BE49-F238E27FC236}">
                <a16:creationId xmlns:a16="http://schemas.microsoft.com/office/drawing/2014/main" id="{93CC975A-CB73-4CF7-4DE8-4C8B9CE2C6EA}"/>
              </a:ext>
            </a:extLst>
          </p:cNvPr>
          <p:cNvSpPr txBox="1">
            <a:spLocks/>
          </p:cNvSpPr>
          <p:nvPr/>
        </p:nvSpPr>
        <p:spPr>
          <a:xfrm>
            <a:off x="7617493" y="3440255"/>
            <a:ext cx="3475037" cy="1642268"/>
          </a:xfrm>
          <a:prstGeom prst="rect">
            <a:avLst/>
          </a:prstGeom>
        </p:spPr>
        <p:txBody>
          <a:bodyPr vert="horz" wrap="square" lIns="0" tIns="0" rIns="0" bIns="0" rtlCol="0">
            <a:norm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50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90000"/>
              <a:buFont typeface="Arial"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 w="3175"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Segoe UI" pitchFamily="34" charset="0"/>
              <a:sym typeface="Arial"/>
            </a:endParaRPr>
          </a:p>
        </p:txBody>
      </p:sp>
      <p:sp>
        <p:nvSpPr>
          <p:cNvPr id="25" name="Title 5">
            <a:extLst>
              <a:ext uri="{FF2B5EF4-FFF2-40B4-BE49-F238E27FC236}">
                <a16:creationId xmlns:a16="http://schemas.microsoft.com/office/drawing/2014/main" id="{57BB3B8B-90B2-E32C-C3DA-89F6286FB9F1}"/>
              </a:ext>
            </a:extLst>
          </p:cNvPr>
          <p:cNvSpPr txBox="1">
            <a:spLocks/>
          </p:cNvSpPr>
          <p:nvPr/>
        </p:nvSpPr>
        <p:spPr>
          <a:xfrm>
            <a:off x="625998" y="1311612"/>
            <a:ext cx="4337886" cy="1526441"/>
          </a:xfrm>
          <a:prstGeom prst="rect">
            <a:avLst/>
          </a:prstGeom>
        </p:spPr>
        <p:txBody>
          <a:bodyPr vert="horz" wrap="square" lIns="0" tIns="0" rIns="0" bIns="0" rtlCol="0">
            <a:norm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50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90000"/>
              <a:buFont typeface="Arial"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 w="3175"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Segoe UI" pitchFamily="34" charset="0"/>
              <a:sym typeface="Arial"/>
            </a:endParaRPr>
          </a:p>
        </p:txBody>
      </p:sp>
      <p:sp>
        <p:nvSpPr>
          <p:cNvPr id="59" name="Title 5">
            <a:extLst>
              <a:ext uri="{FF2B5EF4-FFF2-40B4-BE49-F238E27FC236}">
                <a16:creationId xmlns:a16="http://schemas.microsoft.com/office/drawing/2014/main" id="{1653E6BB-793D-5401-6B38-AC971CF6F0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b="1" dirty="0"/>
              <a:t>The need for MCP arises – a Timelin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DD06B03-A54E-D31D-99EA-FF19A2B565F8}"/>
              </a:ext>
            </a:extLst>
          </p:cNvPr>
          <p:cNvCxnSpPr>
            <a:cxnSpLocks/>
          </p:cNvCxnSpPr>
          <p:nvPr/>
        </p:nvCxnSpPr>
        <p:spPr>
          <a:xfrm flipH="1">
            <a:off x="4963886" y="1413111"/>
            <a:ext cx="1067805" cy="0"/>
          </a:xfrm>
          <a:prstGeom prst="line">
            <a:avLst/>
          </a:prstGeom>
          <a:ln>
            <a:solidFill>
              <a:schemeClr val="tx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9456A344-34B3-91A1-91F5-3A27A51C0AF1}"/>
              </a:ext>
            </a:extLst>
          </p:cNvPr>
          <p:cNvCxnSpPr>
            <a:cxnSpLocks/>
          </p:cNvCxnSpPr>
          <p:nvPr/>
        </p:nvCxnSpPr>
        <p:spPr>
          <a:xfrm>
            <a:off x="6031691" y="1413111"/>
            <a:ext cx="0" cy="5263460"/>
          </a:xfrm>
          <a:prstGeom prst="line">
            <a:avLst/>
          </a:prstGeom>
          <a:ln>
            <a:solidFill>
              <a:schemeClr val="tx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64C030C-F758-9507-15C0-EF5C9086068A}"/>
              </a:ext>
            </a:extLst>
          </p:cNvPr>
          <p:cNvCxnSpPr>
            <a:cxnSpLocks/>
          </p:cNvCxnSpPr>
          <p:nvPr/>
        </p:nvCxnSpPr>
        <p:spPr>
          <a:xfrm flipH="1">
            <a:off x="6031691" y="3301756"/>
            <a:ext cx="1431877" cy="0"/>
          </a:xfrm>
          <a:prstGeom prst="line">
            <a:avLst/>
          </a:prstGeom>
          <a:ln>
            <a:solidFill>
              <a:schemeClr val="tx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 descr="A logo of a network&#10;&#10;AI-generated content may be incorrect.">
            <a:extLst>
              <a:ext uri="{FF2B5EF4-FFF2-40B4-BE49-F238E27FC236}">
                <a16:creationId xmlns:a16="http://schemas.microsoft.com/office/drawing/2014/main" id="{53F1C3B1-E976-2B72-5499-2AC76A9937E0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r="2" b="2"/>
          <a:stretch>
            <a:fillRect/>
          </a:stretch>
        </p:blipFill>
        <p:spPr>
          <a:xfrm>
            <a:off x="5647473" y="1028893"/>
            <a:ext cx="768436" cy="768436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829D392-B210-AF74-3F3B-1C6A0AE62623}"/>
              </a:ext>
            </a:extLst>
          </p:cNvPr>
          <p:cNvCxnSpPr>
            <a:cxnSpLocks/>
          </p:cNvCxnSpPr>
          <p:nvPr/>
        </p:nvCxnSpPr>
        <p:spPr>
          <a:xfrm flipH="1">
            <a:off x="4355524" y="5475395"/>
            <a:ext cx="1676167" cy="0"/>
          </a:xfrm>
          <a:prstGeom prst="line">
            <a:avLst/>
          </a:prstGeom>
          <a:ln>
            <a:solidFill>
              <a:schemeClr val="tx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45C0371B-731A-1AC9-7E04-75279A241990}"/>
              </a:ext>
            </a:extLst>
          </p:cNvPr>
          <p:cNvSpPr txBox="1">
            <a:spLocks/>
          </p:cNvSpPr>
          <p:nvPr/>
        </p:nvSpPr>
        <p:spPr>
          <a:xfrm>
            <a:off x="7617493" y="3163256"/>
            <a:ext cx="4177343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800" kern="1200" spc="0" baseline="0">
                <a:solidFill>
                  <a:schemeClr val="tx1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  <a:sym typeface="Arial"/>
              </a:rPr>
              <a:t>Integration chaos!!!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Segoe UI" panose="020B0502040204020203" pitchFamily="34" charset="0"/>
              <a:sym typeface="Arial"/>
            </a:endParaRP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D754ABFF-7A18-DB68-4C21-B92A5787DCA9}"/>
              </a:ext>
            </a:extLst>
          </p:cNvPr>
          <p:cNvSpPr txBox="1">
            <a:spLocks/>
          </p:cNvSpPr>
          <p:nvPr/>
        </p:nvSpPr>
        <p:spPr>
          <a:xfrm>
            <a:off x="625998" y="1242715"/>
            <a:ext cx="4899515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800" kern="1200" spc="0" baseline="0">
                <a:solidFill>
                  <a:schemeClr val="tx1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  <a:sym typeface="Arial"/>
              </a:rPr>
              <a:t>Tools are integral to Agent performance</a:t>
            </a: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Segoe UI" panose="020B0502040204020203" pitchFamily="34" charset="0"/>
              <a:sym typeface="Arial"/>
            </a:endParaRPr>
          </a:p>
        </p:txBody>
      </p:sp>
      <p:pic>
        <p:nvPicPr>
          <p:cNvPr id="63" name="Picture 62">
            <a:extLst>
              <a:ext uri="{FF2B5EF4-FFF2-40B4-BE49-F238E27FC236}">
                <a16:creationId xmlns:a16="http://schemas.microsoft.com/office/drawing/2014/main" id="{15FD3D1D-ACA9-382F-11F6-963696BABDB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36601" y="2626797"/>
            <a:ext cx="1443380" cy="1349918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C9BF0C32-DA60-85E1-A982-949A4BB365E7}"/>
              </a:ext>
            </a:extLst>
          </p:cNvPr>
          <p:cNvSpPr txBox="1">
            <a:spLocks/>
          </p:cNvSpPr>
          <p:nvPr/>
        </p:nvSpPr>
        <p:spPr>
          <a:xfrm>
            <a:off x="880434" y="5329219"/>
            <a:ext cx="4456167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800" kern="1200" spc="0" baseline="0">
                <a:solidFill>
                  <a:schemeClr val="tx1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  <a:sym typeface="Arial"/>
              </a:rPr>
              <a:t>The need for a standard (MCP)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Segoe UI" panose="020B0502040204020203" pitchFamily="34" charset="0"/>
              <a:sym typeface="Arial"/>
            </a:endParaRPr>
          </a:p>
        </p:txBody>
      </p:sp>
      <p:pic>
        <p:nvPicPr>
          <p:cNvPr id="1027" name="Picture 1026">
            <a:extLst>
              <a:ext uri="{FF2B5EF4-FFF2-40B4-BE49-F238E27FC236}">
                <a16:creationId xmlns:a16="http://schemas.microsoft.com/office/drawing/2014/main" id="{F5A4D908-B5C7-3213-AB12-63706E2B3F4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94179" y="4654261"/>
            <a:ext cx="1728225" cy="1642269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17612144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6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2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10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10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25" grpId="0"/>
      <p:bldP spid="16" grpId="0"/>
      <p:bldP spid="17" grpId="0"/>
      <p:bldP spid="20" grpId="0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092187-E2E9-56A9-F1CC-30086D2F53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51C247C0-EAE6-66FC-DFCF-34998043AF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6600273" y="703580"/>
            <a:ext cx="0" cy="4070721"/>
          </a:xfrm>
          <a:prstGeom prst="line">
            <a:avLst/>
          </a:prstGeom>
          <a:ln cap="rnd">
            <a:solidFill>
              <a:schemeClr val="tx1">
                <a:alpha val="30000"/>
              </a:schemeClr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278F5AFF-C3AF-E1C9-6BFA-FCE1C6C279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HK"/>
              <a:t>MCP &amp; A2A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0A8223C7-7CAF-DB3C-2387-9F94A8F9584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262812" y="457200"/>
            <a:ext cx="2634261" cy="4107804"/>
          </a:xfrm>
          <a:prstGeom prst="roundRect">
            <a:avLst>
              <a:gd name="adj" fmla="val 4514"/>
            </a:avLst>
          </a:prstGeom>
          <a:solidFill>
            <a:srgbClr val="1E6692">
              <a:alpha val="50000"/>
            </a:srgbClr>
          </a:solidFill>
          <a:ln w="19050">
            <a:noFill/>
            <a:headEnd type="none" w="med" len="med"/>
            <a:tailEnd type="none" w="med" len="med"/>
          </a:ln>
          <a:effectLst>
            <a:outerShdw blurRad="317500" dist="63500" dir="8100000" algn="tr" rotWithShape="0">
              <a:prstClr val="black">
                <a:alpha val="35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304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bold"/>
              <a:ea typeface="+mn-ea"/>
              <a:cs typeface="Segoe UI" pitchFamily="34" charset="0"/>
              <a:sym typeface="Arial"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020B619E-6A84-848C-8EDC-8FC5144BB7D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390018" y="457200"/>
            <a:ext cx="2634261" cy="4107804"/>
          </a:xfrm>
          <a:prstGeom prst="roundRect">
            <a:avLst>
              <a:gd name="adj" fmla="val 4514"/>
            </a:avLst>
          </a:prstGeom>
          <a:solidFill>
            <a:srgbClr val="1E6692">
              <a:alpha val="50000"/>
            </a:srgbClr>
          </a:solidFill>
          <a:ln w="19050">
            <a:noFill/>
            <a:headEnd type="none" w="med" len="med"/>
            <a:tailEnd type="none" w="med" len="med"/>
          </a:ln>
          <a:effectLst>
            <a:outerShdw blurRad="317500" dist="63500" dir="8100000" algn="tr" rotWithShape="0">
              <a:prstClr val="black">
                <a:alpha val="35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304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bold"/>
              <a:ea typeface="+mn-ea"/>
              <a:cs typeface="Segoe UI" pitchFamily="34" charset="0"/>
              <a:sym typeface="Arial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1D677C5B-3624-1F05-E9BC-F7500A28CC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 bwMode="auto">
          <a:xfrm>
            <a:off x="3441425" y="609590"/>
            <a:ext cx="475624" cy="475624"/>
          </a:xfrm>
          <a:prstGeom prst="ellipse">
            <a:avLst/>
          </a:prstGeom>
          <a:solidFill>
            <a:srgbClr val="102532"/>
          </a:solidFill>
          <a:ln w="19050">
            <a:noFill/>
            <a:headEnd type="none" w="med" len="med"/>
            <a:tailEnd type="none" w="med" len="med"/>
          </a:ln>
          <a:effectLst>
            <a:outerShdw blurRad="317500" dist="63500" dir="8100000" algn="tr" rotWithShape="0">
              <a:prstClr val="black">
                <a:alpha val="1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FFB900">
                  <a:lumMod val="40000"/>
                  <a:lumOff val="60000"/>
                </a:srgbClr>
              </a:solidFill>
              <a:effectLst/>
              <a:uLnTx/>
              <a:uFillTx/>
              <a:latin typeface="Segoe UI"/>
              <a:ea typeface="+mn-ea"/>
              <a:cs typeface="Segoe UI" pitchFamily="34" charset="0"/>
              <a:sym typeface="Arial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B46675E2-B10F-A3BA-ABE6-8A85CF91A8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 bwMode="auto">
          <a:xfrm>
            <a:off x="7568630" y="609590"/>
            <a:ext cx="475624" cy="475624"/>
          </a:xfrm>
          <a:prstGeom prst="ellipse">
            <a:avLst/>
          </a:prstGeom>
          <a:solidFill>
            <a:srgbClr val="102532"/>
          </a:solidFill>
          <a:ln w="19050">
            <a:noFill/>
            <a:headEnd type="none" w="med" len="med"/>
            <a:tailEnd type="none" w="med" len="med"/>
          </a:ln>
          <a:effectLst>
            <a:outerShdw blurRad="317500" dist="63500" dir="8100000" algn="tr" rotWithShape="0">
              <a:prstClr val="black">
                <a:alpha val="1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FFB900">
                  <a:lumMod val="40000"/>
                  <a:lumOff val="60000"/>
                </a:srgbClr>
              </a:solidFill>
              <a:effectLst/>
              <a:uLnTx/>
              <a:uFillTx/>
              <a:latin typeface="Segoe UI"/>
              <a:ea typeface="+mn-ea"/>
              <a:cs typeface="Segoe UI" pitchFamily="34" charset="0"/>
              <a:sym typeface="Arial"/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80E23B17-E113-8D39-773D-2646762BE8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 bwMode="auto">
          <a:xfrm>
            <a:off x="3441425" y="1288007"/>
            <a:ext cx="2277036" cy="814477"/>
          </a:xfrm>
          <a:prstGeom prst="roundRect">
            <a:avLst>
              <a:gd name="adj" fmla="val 10287"/>
            </a:avLst>
          </a:prstGeom>
          <a:noFill/>
          <a:ln w="6350">
            <a:solidFill>
              <a:schemeClr val="tx1">
                <a:lumMod val="95000"/>
                <a:alpha val="2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2000" b="0" i="0" u="none" strike="noStrike" kern="0" cap="none" spc="0" normalizeH="0" baseline="0" noProof="0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  <a:sym typeface="Arial"/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82EBAD7D-1363-2C23-FA68-5EBDB24CD1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 bwMode="auto">
          <a:xfrm>
            <a:off x="7568630" y="1288007"/>
            <a:ext cx="2277036" cy="814477"/>
          </a:xfrm>
          <a:prstGeom prst="roundRect">
            <a:avLst>
              <a:gd name="adj" fmla="val 10287"/>
            </a:avLst>
          </a:prstGeom>
          <a:noFill/>
          <a:ln w="6350">
            <a:solidFill>
              <a:schemeClr val="tx1">
                <a:lumMod val="95000"/>
                <a:alpha val="2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2000" b="0" i="0" u="none" strike="noStrike" kern="0" cap="none" spc="0" normalizeH="0" baseline="0" noProof="0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  <a:sym typeface="Arial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97D98C0B-260F-66A4-30A6-DD2D320E6E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 bwMode="auto">
          <a:xfrm>
            <a:off x="5299815" y="1708311"/>
            <a:ext cx="315073" cy="315073"/>
          </a:xfrm>
          <a:prstGeom prst="ellipse">
            <a:avLst/>
          </a:prstGeom>
          <a:solidFill>
            <a:srgbClr val="102532"/>
          </a:solidFill>
          <a:ln w="19050">
            <a:noFill/>
            <a:headEnd type="none" w="med" len="med"/>
            <a:tailEnd type="none" w="med" len="med"/>
          </a:ln>
          <a:effectLst>
            <a:outerShdw blurRad="317500" dist="63500" dir="8100000" algn="tr" rotWithShape="0">
              <a:prstClr val="black">
                <a:alpha val="1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FFB900">
                  <a:lumMod val="40000"/>
                  <a:lumOff val="60000"/>
                </a:srgbClr>
              </a:solidFill>
              <a:effectLst/>
              <a:uLnTx/>
              <a:uFillTx/>
              <a:latin typeface="Segoe UI"/>
              <a:ea typeface="+mn-ea"/>
              <a:cs typeface="Segoe UI" pitchFamily="34" charset="0"/>
              <a:sym typeface="Arial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07E5868F-A7E6-00EA-E6A1-32F32CC1DC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 bwMode="auto">
          <a:xfrm>
            <a:off x="4914799" y="1367107"/>
            <a:ext cx="315073" cy="315073"/>
          </a:xfrm>
          <a:prstGeom prst="ellipse">
            <a:avLst/>
          </a:prstGeom>
          <a:solidFill>
            <a:srgbClr val="102532"/>
          </a:solidFill>
          <a:ln w="19050">
            <a:noFill/>
            <a:headEnd type="none" w="med" len="med"/>
            <a:tailEnd type="none" w="med" len="med"/>
          </a:ln>
          <a:effectLst>
            <a:outerShdw blurRad="317500" dist="63500" dir="8100000" algn="tr" rotWithShape="0">
              <a:prstClr val="black">
                <a:alpha val="1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FFB900">
                  <a:lumMod val="40000"/>
                  <a:lumOff val="60000"/>
                </a:srgbClr>
              </a:solidFill>
              <a:effectLst/>
              <a:uLnTx/>
              <a:uFillTx/>
              <a:latin typeface="Segoe UI"/>
              <a:ea typeface="+mn-ea"/>
              <a:cs typeface="Segoe UI" pitchFamily="34" charset="0"/>
              <a:sym typeface="Arial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D5CD4CEE-D4DE-0FCF-8CDA-417BB4AFA9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 bwMode="auto">
          <a:xfrm>
            <a:off x="4529783" y="1708311"/>
            <a:ext cx="315073" cy="315073"/>
          </a:xfrm>
          <a:prstGeom prst="ellipse">
            <a:avLst/>
          </a:prstGeom>
          <a:solidFill>
            <a:srgbClr val="102532"/>
          </a:solidFill>
          <a:ln w="19050">
            <a:noFill/>
            <a:headEnd type="none" w="med" len="med"/>
            <a:tailEnd type="none" w="med" len="med"/>
          </a:ln>
          <a:effectLst>
            <a:outerShdw blurRad="317500" dist="63500" dir="8100000" algn="tr" rotWithShape="0">
              <a:prstClr val="black">
                <a:alpha val="1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FFB900">
                  <a:lumMod val="40000"/>
                  <a:lumOff val="60000"/>
                </a:srgbClr>
              </a:solidFill>
              <a:effectLst/>
              <a:uLnTx/>
              <a:uFillTx/>
              <a:latin typeface="Segoe UI"/>
              <a:ea typeface="+mn-ea"/>
              <a:cs typeface="Segoe UI" pitchFamily="34" charset="0"/>
              <a:sym typeface="Arial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006B0318-1ABD-1C04-F38B-B61EB3901A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 bwMode="auto">
          <a:xfrm>
            <a:off x="9469560" y="1708311"/>
            <a:ext cx="315073" cy="315073"/>
          </a:xfrm>
          <a:prstGeom prst="ellipse">
            <a:avLst/>
          </a:prstGeom>
          <a:solidFill>
            <a:srgbClr val="102532"/>
          </a:solidFill>
          <a:ln w="19050">
            <a:noFill/>
            <a:headEnd type="none" w="med" len="med"/>
            <a:tailEnd type="none" w="med" len="med"/>
          </a:ln>
          <a:effectLst>
            <a:outerShdw blurRad="317500" dist="63500" dir="8100000" algn="tr" rotWithShape="0">
              <a:prstClr val="black">
                <a:alpha val="1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FFB900">
                  <a:lumMod val="40000"/>
                  <a:lumOff val="60000"/>
                </a:srgbClr>
              </a:solidFill>
              <a:effectLst/>
              <a:uLnTx/>
              <a:uFillTx/>
              <a:latin typeface="Segoe UI"/>
              <a:ea typeface="+mn-ea"/>
              <a:cs typeface="Segoe UI" pitchFamily="34" charset="0"/>
              <a:sym typeface="Arial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89146E49-600B-2A1F-6BF0-324E8E133E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 bwMode="auto">
          <a:xfrm>
            <a:off x="9084544" y="1367107"/>
            <a:ext cx="315073" cy="315073"/>
          </a:xfrm>
          <a:prstGeom prst="ellipse">
            <a:avLst/>
          </a:prstGeom>
          <a:solidFill>
            <a:srgbClr val="102532"/>
          </a:solidFill>
          <a:ln w="19050">
            <a:noFill/>
            <a:headEnd type="none" w="med" len="med"/>
            <a:tailEnd type="none" w="med" len="med"/>
          </a:ln>
          <a:effectLst>
            <a:outerShdw blurRad="317500" dist="63500" dir="8100000" algn="tr" rotWithShape="0">
              <a:prstClr val="black">
                <a:alpha val="1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FFB900">
                  <a:lumMod val="40000"/>
                  <a:lumOff val="60000"/>
                </a:srgbClr>
              </a:solidFill>
              <a:effectLst/>
              <a:uLnTx/>
              <a:uFillTx/>
              <a:latin typeface="Segoe UI"/>
              <a:ea typeface="+mn-ea"/>
              <a:cs typeface="Segoe UI" pitchFamily="34" charset="0"/>
              <a:sym typeface="Arial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8479F9ED-8172-F1F0-FD8A-CB4FDDCFCB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 bwMode="auto">
          <a:xfrm>
            <a:off x="8699528" y="1708311"/>
            <a:ext cx="315073" cy="315073"/>
          </a:xfrm>
          <a:prstGeom prst="ellipse">
            <a:avLst/>
          </a:prstGeom>
          <a:solidFill>
            <a:srgbClr val="102532"/>
          </a:solidFill>
          <a:ln w="19050">
            <a:noFill/>
            <a:headEnd type="none" w="med" len="med"/>
            <a:tailEnd type="none" w="med" len="med"/>
          </a:ln>
          <a:effectLst>
            <a:outerShdw blurRad="317500" dist="63500" dir="8100000" algn="tr" rotWithShape="0">
              <a:prstClr val="black">
                <a:alpha val="1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FFB900">
                  <a:lumMod val="40000"/>
                  <a:lumOff val="60000"/>
                </a:srgbClr>
              </a:solidFill>
              <a:effectLst/>
              <a:uLnTx/>
              <a:uFillTx/>
              <a:latin typeface="Segoe UI"/>
              <a:ea typeface="+mn-ea"/>
              <a:cs typeface="Segoe UI" pitchFamily="34" charset="0"/>
              <a:sym typeface="Arial"/>
            </a:endParaRP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0FFBA7CD-9811-BA84-28AA-18846F85CD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 bwMode="auto">
          <a:xfrm>
            <a:off x="3441425" y="2341725"/>
            <a:ext cx="2277036" cy="507201"/>
          </a:xfrm>
          <a:prstGeom prst="roundRect">
            <a:avLst>
              <a:gd name="adj" fmla="val 12710"/>
            </a:avLst>
          </a:prstGeom>
          <a:noFill/>
          <a:ln w="6350">
            <a:solidFill>
              <a:srgbClr val="00B05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2000" b="0" i="0" u="none" strike="noStrike" kern="0" cap="none" spc="0" normalizeH="0" baseline="0" noProof="0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  <a:sym typeface="Arial"/>
            </a:endParaRP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07C9AAD3-5507-9509-73CB-9669702AF8C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 bwMode="auto">
          <a:xfrm>
            <a:off x="3437860" y="3027908"/>
            <a:ext cx="2277036" cy="507202"/>
          </a:xfrm>
          <a:prstGeom prst="roundRect">
            <a:avLst>
              <a:gd name="adj" fmla="val 12710"/>
            </a:avLst>
          </a:prstGeom>
          <a:noFill/>
          <a:ln w="6350">
            <a:solidFill>
              <a:schemeClr val="accent3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2000" b="0" i="0" u="none" strike="noStrike" kern="0" cap="none" spc="0" normalizeH="0" baseline="0" noProof="0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  <a:sym typeface="Arial"/>
            </a:endParaRPr>
          </a:p>
        </p:txBody>
      </p:sp>
      <p:sp>
        <p:nvSpPr>
          <p:cNvPr id="22" name="Text Placeholder 1">
            <a:extLst>
              <a:ext uri="{FF2B5EF4-FFF2-40B4-BE49-F238E27FC236}">
                <a16:creationId xmlns:a16="http://schemas.microsoft.com/office/drawing/2014/main" id="{1307F61E-5673-15C5-66FC-150CDF73479D}"/>
              </a:ext>
            </a:extLst>
          </p:cNvPr>
          <p:cNvSpPr txBox="1">
            <a:spLocks/>
          </p:cNvSpPr>
          <p:nvPr/>
        </p:nvSpPr>
        <p:spPr>
          <a:xfrm>
            <a:off x="4044068" y="587356"/>
            <a:ext cx="1631571" cy="6093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solidFill>
                  <a:schemeClr val="tx1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  <a:sym typeface="Arial"/>
              </a:rPr>
              <a:t>Agent A</a:t>
            </a:r>
          </a:p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  <a:sym typeface="Arial"/>
              </a:rPr>
              <a:t>(MCP Host)</a:t>
            </a:r>
          </a:p>
        </p:txBody>
      </p:sp>
      <p:sp>
        <p:nvSpPr>
          <p:cNvPr id="23" name="Text Placeholder 1">
            <a:extLst>
              <a:ext uri="{FF2B5EF4-FFF2-40B4-BE49-F238E27FC236}">
                <a16:creationId xmlns:a16="http://schemas.microsoft.com/office/drawing/2014/main" id="{A2102A73-BF54-CAEB-6BEE-79540BF4EA90}"/>
              </a:ext>
            </a:extLst>
          </p:cNvPr>
          <p:cNvSpPr txBox="1">
            <a:spLocks/>
          </p:cNvSpPr>
          <p:nvPr/>
        </p:nvSpPr>
        <p:spPr>
          <a:xfrm>
            <a:off x="3562169" y="1479802"/>
            <a:ext cx="832304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solidFill>
                  <a:schemeClr val="tx1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  <a:sym typeface="Arial"/>
              </a:rPr>
              <a:t>Local Agent</a:t>
            </a:r>
          </a:p>
        </p:txBody>
      </p:sp>
      <p:sp>
        <p:nvSpPr>
          <p:cNvPr id="24" name="Text Placeholder 1">
            <a:extLst>
              <a:ext uri="{FF2B5EF4-FFF2-40B4-BE49-F238E27FC236}">
                <a16:creationId xmlns:a16="http://schemas.microsoft.com/office/drawing/2014/main" id="{3FAFFA83-5D5D-7528-012A-7C328954D366}"/>
              </a:ext>
            </a:extLst>
          </p:cNvPr>
          <p:cNvSpPr txBox="1">
            <a:spLocks/>
          </p:cNvSpPr>
          <p:nvPr/>
        </p:nvSpPr>
        <p:spPr>
          <a:xfrm>
            <a:off x="3562169" y="2487603"/>
            <a:ext cx="203554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solidFill>
                  <a:schemeClr val="tx1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  <a:sym typeface="Arial"/>
              </a:rPr>
              <a:t>LLM</a:t>
            </a:r>
          </a:p>
        </p:txBody>
      </p:sp>
      <p:sp>
        <p:nvSpPr>
          <p:cNvPr id="25" name="Text Placeholder 1">
            <a:extLst>
              <a:ext uri="{FF2B5EF4-FFF2-40B4-BE49-F238E27FC236}">
                <a16:creationId xmlns:a16="http://schemas.microsoft.com/office/drawing/2014/main" id="{6ADE4461-D362-CFFB-4DC6-0A2F8487452C}"/>
              </a:ext>
            </a:extLst>
          </p:cNvPr>
          <p:cNvSpPr txBox="1">
            <a:spLocks/>
          </p:cNvSpPr>
          <p:nvPr/>
        </p:nvSpPr>
        <p:spPr>
          <a:xfrm>
            <a:off x="3562169" y="3173787"/>
            <a:ext cx="203554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solidFill>
                  <a:schemeClr val="tx1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  <a:sym typeface="Arial"/>
              </a:rPr>
              <a:t>Agent Framework</a:t>
            </a:r>
          </a:p>
        </p:txBody>
      </p:sp>
      <p:sp>
        <p:nvSpPr>
          <p:cNvPr id="31" name="Rounded Rectangle 38">
            <a:extLst>
              <a:ext uri="{FF2B5EF4-FFF2-40B4-BE49-F238E27FC236}">
                <a16:creationId xmlns:a16="http://schemas.microsoft.com/office/drawing/2014/main" id="{082B0D55-A09D-9671-601A-C53A0B27F5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 bwMode="auto">
          <a:xfrm flipH="1">
            <a:off x="2504410" y="5805100"/>
            <a:ext cx="1866900" cy="716598"/>
          </a:xfrm>
          <a:prstGeom prst="roundRect">
            <a:avLst>
              <a:gd name="adj" fmla="val 14009"/>
            </a:avLst>
          </a:prstGeom>
          <a:solidFill>
            <a:schemeClr val="bg1">
              <a:lumMod val="90000"/>
              <a:lumOff val="10000"/>
              <a:alpha val="40000"/>
            </a:schemeClr>
          </a:solidFill>
          <a:ln w="12700">
            <a:solidFill>
              <a:schemeClr val="tx1">
                <a:lumMod val="85000"/>
                <a:alpha val="2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  <a:sym typeface="Arial"/>
              </a:rPr>
              <a:t>Local Files</a:t>
            </a:r>
          </a:p>
        </p:txBody>
      </p:sp>
      <p:grpSp>
        <p:nvGrpSpPr>
          <p:cNvPr id="32" name="Group 31" descr="Bi-directional arrow Pointing Left and Right named A2A protocol">
            <a:extLst>
              <a:ext uri="{FF2B5EF4-FFF2-40B4-BE49-F238E27FC236}">
                <a16:creationId xmlns:a16="http://schemas.microsoft.com/office/drawing/2014/main" id="{B7124C21-AF2D-C0A4-865F-1A896DE0FC40}"/>
              </a:ext>
            </a:extLst>
          </p:cNvPr>
          <p:cNvGrpSpPr/>
          <p:nvPr/>
        </p:nvGrpSpPr>
        <p:grpSpPr>
          <a:xfrm>
            <a:off x="5953770" y="1288007"/>
            <a:ext cx="1379552" cy="308774"/>
            <a:chOff x="7400925" y="1555343"/>
            <a:chExt cx="1379552" cy="308774"/>
          </a:xfrm>
        </p:grpSpPr>
        <p:sp>
          <p:nvSpPr>
            <p:cNvPr id="33" name="Rectangle: Rounded Corners 32">
              <a:extLst>
                <a:ext uri="{FF2B5EF4-FFF2-40B4-BE49-F238E27FC236}">
                  <a16:creationId xmlns:a16="http://schemas.microsoft.com/office/drawing/2014/main" id="{AC6CFE57-528E-F580-7E0E-F80533BAF77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 bwMode="auto">
            <a:xfrm>
              <a:off x="7659080" y="1555343"/>
              <a:ext cx="863242" cy="308774"/>
            </a:xfrm>
            <a:prstGeom prst="roundRect">
              <a:avLst>
                <a:gd name="adj" fmla="val 17228"/>
              </a:avLst>
            </a:prstGeom>
            <a:solidFill>
              <a:srgbClr val="091F2C"/>
            </a:solidFill>
            <a:ln w="12700">
              <a:solidFill>
                <a:schemeClr val="accent2"/>
              </a:solidFill>
              <a:prstDash val="dash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27432" rIns="45720" bIns="2743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  <a:sym typeface="Arial"/>
                </a:rPr>
                <a:t>A2A protocol</a:t>
              </a:r>
            </a:p>
          </p:txBody>
        </p:sp>
        <p:cxnSp>
          <p:nvCxnSpPr>
            <p:cNvPr id="34" name="Straight Arrow Connector 33">
              <a:extLst>
                <a:ext uri="{FF2B5EF4-FFF2-40B4-BE49-F238E27FC236}">
                  <a16:creationId xmlns:a16="http://schemas.microsoft.com/office/drawing/2014/main" id="{D414FF87-80FB-1050-6F8E-4F27C4F085C8}"/>
                </a:ext>
              </a:extLst>
            </p:cNvPr>
            <p:cNvCxnSpPr>
              <a:stCxn id="33" idx="1"/>
            </p:cNvCxnSpPr>
            <p:nvPr/>
          </p:nvCxnSpPr>
          <p:spPr>
            <a:xfrm flipH="1" flipV="1">
              <a:off x="7400925" y="1706232"/>
              <a:ext cx="258155" cy="3498"/>
            </a:xfrm>
            <a:prstGeom prst="straightConnector1">
              <a:avLst/>
            </a:prstGeom>
            <a:ln>
              <a:solidFill>
                <a:schemeClr val="accent2"/>
              </a:solidFill>
              <a:headEnd type="none" w="lg" len="med"/>
              <a:tailEnd type="arrow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Arrow Connector 34">
              <a:extLst>
                <a:ext uri="{FF2B5EF4-FFF2-40B4-BE49-F238E27FC236}">
                  <a16:creationId xmlns:a16="http://schemas.microsoft.com/office/drawing/2014/main" id="{0B3156C0-DEEF-F0DF-5EB8-6BA7F41BC09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522322" y="1706232"/>
              <a:ext cx="258155" cy="3498"/>
            </a:xfrm>
            <a:prstGeom prst="straightConnector1">
              <a:avLst/>
            </a:prstGeom>
            <a:ln>
              <a:solidFill>
                <a:schemeClr val="accent2"/>
              </a:solidFill>
              <a:headEnd type="none" w="lg" len="med"/>
              <a:tailEnd type="arrow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Text Placeholder 1">
            <a:extLst>
              <a:ext uri="{FF2B5EF4-FFF2-40B4-BE49-F238E27FC236}">
                <a16:creationId xmlns:a16="http://schemas.microsoft.com/office/drawing/2014/main" id="{96245706-F61F-0E65-3678-3C1B1B099E95}"/>
              </a:ext>
            </a:extLst>
          </p:cNvPr>
          <p:cNvSpPr txBox="1">
            <a:spLocks/>
          </p:cNvSpPr>
          <p:nvPr/>
        </p:nvSpPr>
        <p:spPr>
          <a:xfrm>
            <a:off x="8211483" y="611395"/>
            <a:ext cx="1484221" cy="9417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solidFill>
                  <a:schemeClr val="tx1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  <a:sym typeface="Arial"/>
              </a:rPr>
              <a:t>Agent B</a:t>
            </a:r>
          </a:p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  <a:sym typeface="Arial"/>
              </a:rPr>
              <a:t>(MCP Host)</a:t>
            </a:r>
          </a:p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bold"/>
              <a:ea typeface="+mn-ea"/>
              <a:cs typeface="Segoe UI" panose="020B0502040204020203" pitchFamily="34" charset="0"/>
              <a:sym typeface="Arial"/>
            </a:endParaRPr>
          </a:p>
        </p:txBody>
      </p:sp>
      <p:sp>
        <p:nvSpPr>
          <p:cNvPr id="38" name="Text Placeholder 1">
            <a:extLst>
              <a:ext uri="{FF2B5EF4-FFF2-40B4-BE49-F238E27FC236}">
                <a16:creationId xmlns:a16="http://schemas.microsoft.com/office/drawing/2014/main" id="{B29A5B56-1484-C0BB-816A-E6BE4C735B89}"/>
              </a:ext>
            </a:extLst>
          </p:cNvPr>
          <p:cNvSpPr txBox="1">
            <a:spLocks/>
          </p:cNvSpPr>
          <p:nvPr/>
        </p:nvSpPr>
        <p:spPr>
          <a:xfrm>
            <a:off x="7688612" y="1479802"/>
            <a:ext cx="832304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solidFill>
                  <a:schemeClr val="tx1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  <a:sym typeface="Arial"/>
              </a:rPr>
              <a:t>Local Agent</a:t>
            </a:r>
          </a:p>
        </p:txBody>
      </p:sp>
      <p:sp>
        <p:nvSpPr>
          <p:cNvPr id="47" name="Graphic 8">
            <a:extLst>
              <a:ext uri="{FF2B5EF4-FFF2-40B4-BE49-F238E27FC236}">
                <a16:creationId xmlns:a16="http://schemas.microsoft.com/office/drawing/2014/main" id="{ED939A68-F91D-103C-441D-ACAD45716E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3568444" y="708903"/>
            <a:ext cx="221586" cy="276998"/>
          </a:xfrm>
          <a:custGeom>
            <a:avLst/>
            <a:gdLst>
              <a:gd name="connsiteX0" fmla="*/ 310304 w 361083"/>
              <a:gd name="connsiteY0" fmla="*/ 270807 h 451381"/>
              <a:gd name="connsiteX1" fmla="*/ 361083 w 361083"/>
              <a:gd name="connsiteY1" fmla="*/ 321586 h 451381"/>
              <a:gd name="connsiteX2" fmla="*/ 361083 w 361083"/>
              <a:gd name="connsiteY2" fmla="*/ 342013 h 451381"/>
              <a:gd name="connsiteX3" fmla="*/ 331579 w 361083"/>
              <a:gd name="connsiteY3" fmla="*/ 406227 h 451381"/>
              <a:gd name="connsiteX4" fmla="*/ 180468 w 361083"/>
              <a:gd name="connsiteY4" fmla="*/ 451382 h 451381"/>
              <a:gd name="connsiteX5" fmla="*/ 29458 w 361083"/>
              <a:gd name="connsiteY5" fmla="*/ 406238 h 451381"/>
              <a:gd name="connsiteX6" fmla="*/ 0 w 361083"/>
              <a:gd name="connsiteY6" fmla="*/ 342063 h 451381"/>
              <a:gd name="connsiteX7" fmla="*/ 0 w 361083"/>
              <a:gd name="connsiteY7" fmla="*/ 321586 h 451381"/>
              <a:gd name="connsiteX8" fmla="*/ 50779 w 361083"/>
              <a:gd name="connsiteY8" fmla="*/ 270807 h 451381"/>
              <a:gd name="connsiteX9" fmla="*/ 310304 w 361083"/>
              <a:gd name="connsiteY9" fmla="*/ 270807 h 451381"/>
              <a:gd name="connsiteX10" fmla="*/ 310304 w 361083"/>
              <a:gd name="connsiteY10" fmla="*/ 304660 h 451381"/>
              <a:gd name="connsiteX11" fmla="*/ 50779 w 361083"/>
              <a:gd name="connsiteY11" fmla="*/ 304660 h 451381"/>
              <a:gd name="connsiteX12" fmla="*/ 33853 w 361083"/>
              <a:gd name="connsiteY12" fmla="*/ 321586 h 451381"/>
              <a:gd name="connsiteX13" fmla="*/ 33853 w 361083"/>
              <a:gd name="connsiteY13" fmla="*/ 342063 h 451381"/>
              <a:gd name="connsiteX14" fmla="*/ 51527 w 361083"/>
              <a:gd name="connsiteY14" fmla="*/ 380569 h 451381"/>
              <a:gd name="connsiteX15" fmla="*/ 180468 w 361083"/>
              <a:gd name="connsiteY15" fmla="*/ 417529 h 451381"/>
              <a:gd name="connsiteX16" fmla="*/ 309530 w 361083"/>
              <a:gd name="connsiteY16" fmla="*/ 380542 h 451381"/>
              <a:gd name="connsiteX17" fmla="*/ 327231 w 361083"/>
              <a:gd name="connsiteY17" fmla="*/ 342013 h 451381"/>
              <a:gd name="connsiteX18" fmla="*/ 327231 w 361083"/>
              <a:gd name="connsiteY18" fmla="*/ 321586 h 451381"/>
              <a:gd name="connsiteX19" fmla="*/ 310304 w 361083"/>
              <a:gd name="connsiteY19" fmla="*/ 304660 h 451381"/>
              <a:gd name="connsiteX20" fmla="*/ 178177 w 361083"/>
              <a:gd name="connsiteY20" fmla="*/ 155 h 451381"/>
              <a:gd name="connsiteX21" fmla="*/ 180475 w 361083"/>
              <a:gd name="connsiteY21" fmla="*/ 0 h 451381"/>
              <a:gd name="connsiteX22" fmla="*/ 197245 w 361083"/>
              <a:gd name="connsiteY22" fmla="*/ 14630 h 451381"/>
              <a:gd name="connsiteX23" fmla="*/ 197401 w 361083"/>
              <a:gd name="connsiteY23" fmla="*/ 16926 h 451381"/>
              <a:gd name="connsiteX24" fmla="*/ 197383 w 361083"/>
              <a:gd name="connsiteY24" fmla="*/ 33830 h 451381"/>
              <a:gd name="connsiteX25" fmla="*/ 276384 w 361083"/>
              <a:gd name="connsiteY25" fmla="*/ 33842 h 451381"/>
              <a:gd name="connsiteX26" fmla="*/ 327163 w 361083"/>
              <a:gd name="connsiteY26" fmla="*/ 84621 h 451381"/>
              <a:gd name="connsiteX27" fmla="*/ 327163 w 361083"/>
              <a:gd name="connsiteY27" fmla="*/ 186282 h 451381"/>
              <a:gd name="connsiteX28" fmla="*/ 276384 w 361083"/>
              <a:gd name="connsiteY28" fmla="*/ 237061 h 451381"/>
              <a:gd name="connsiteX29" fmla="*/ 84551 w 361083"/>
              <a:gd name="connsiteY29" fmla="*/ 237061 h 451381"/>
              <a:gd name="connsiteX30" fmla="*/ 33773 w 361083"/>
              <a:gd name="connsiteY30" fmla="*/ 186282 h 451381"/>
              <a:gd name="connsiteX31" fmla="*/ 33773 w 361083"/>
              <a:gd name="connsiteY31" fmla="*/ 84621 h 451381"/>
              <a:gd name="connsiteX32" fmla="*/ 84551 w 361083"/>
              <a:gd name="connsiteY32" fmla="*/ 33842 h 451381"/>
              <a:gd name="connsiteX33" fmla="*/ 163531 w 361083"/>
              <a:gd name="connsiteY33" fmla="*/ 33830 h 451381"/>
              <a:gd name="connsiteX34" fmla="*/ 163549 w 361083"/>
              <a:gd name="connsiteY34" fmla="*/ 16926 h 451381"/>
              <a:gd name="connsiteX35" fmla="*/ 178177 w 361083"/>
              <a:gd name="connsiteY35" fmla="*/ 155 h 451381"/>
              <a:gd name="connsiteX36" fmla="*/ 180475 w 361083"/>
              <a:gd name="connsiteY36" fmla="*/ 0 h 451381"/>
              <a:gd name="connsiteX37" fmla="*/ 178177 w 361083"/>
              <a:gd name="connsiteY37" fmla="*/ 155 h 451381"/>
              <a:gd name="connsiteX38" fmla="*/ 276384 w 361083"/>
              <a:gd name="connsiteY38" fmla="*/ 67694 h 451381"/>
              <a:gd name="connsiteX39" fmla="*/ 84551 w 361083"/>
              <a:gd name="connsiteY39" fmla="*/ 67694 h 451381"/>
              <a:gd name="connsiteX40" fmla="*/ 67625 w 361083"/>
              <a:gd name="connsiteY40" fmla="*/ 84621 h 451381"/>
              <a:gd name="connsiteX41" fmla="*/ 67625 w 361083"/>
              <a:gd name="connsiteY41" fmla="*/ 186282 h 451381"/>
              <a:gd name="connsiteX42" fmla="*/ 84551 w 361083"/>
              <a:gd name="connsiteY42" fmla="*/ 203208 h 451381"/>
              <a:gd name="connsiteX43" fmla="*/ 276384 w 361083"/>
              <a:gd name="connsiteY43" fmla="*/ 203208 h 451381"/>
              <a:gd name="connsiteX44" fmla="*/ 293310 w 361083"/>
              <a:gd name="connsiteY44" fmla="*/ 186282 h 451381"/>
              <a:gd name="connsiteX45" fmla="*/ 293310 w 361083"/>
              <a:gd name="connsiteY45" fmla="*/ 84621 h 451381"/>
              <a:gd name="connsiteX46" fmla="*/ 276384 w 361083"/>
              <a:gd name="connsiteY46" fmla="*/ 67694 h 451381"/>
              <a:gd name="connsiteX47" fmla="*/ 129672 w 361083"/>
              <a:gd name="connsiteY47" fmla="*/ 101547 h 451381"/>
              <a:gd name="connsiteX48" fmla="*/ 157866 w 361083"/>
              <a:gd name="connsiteY48" fmla="*/ 129741 h 451381"/>
              <a:gd name="connsiteX49" fmla="*/ 129672 w 361083"/>
              <a:gd name="connsiteY49" fmla="*/ 157936 h 451381"/>
              <a:gd name="connsiteX50" fmla="*/ 101478 w 361083"/>
              <a:gd name="connsiteY50" fmla="*/ 129741 h 451381"/>
              <a:gd name="connsiteX51" fmla="*/ 129672 w 361083"/>
              <a:gd name="connsiteY51" fmla="*/ 101547 h 451381"/>
              <a:gd name="connsiteX52" fmla="*/ 231067 w 361083"/>
              <a:gd name="connsiteY52" fmla="*/ 101547 h 451381"/>
              <a:gd name="connsiteX53" fmla="*/ 259261 w 361083"/>
              <a:gd name="connsiteY53" fmla="*/ 129741 h 451381"/>
              <a:gd name="connsiteX54" fmla="*/ 231067 w 361083"/>
              <a:gd name="connsiteY54" fmla="*/ 157936 h 451381"/>
              <a:gd name="connsiteX55" fmla="*/ 202872 w 361083"/>
              <a:gd name="connsiteY55" fmla="*/ 129741 h 451381"/>
              <a:gd name="connsiteX56" fmla="*/ 231067 w 361083"/>
              <a:gd name="connsiteY56" fmla="*/ 101547 h 451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</a:cxnLst>
            <a:rect l="l" t="t" r="r" b="b"/>
            <a:pathLst>
              <a:path w="361083" h="451381">
                <a:moveTo>
                  <a:pt x="310304" y="270807"/>
                </a:moveTo>
                <a:cubicBezTo>
                  <a:pt x="338350" y="270807"/>
                  <a:pt x="361083" y="293543"/>
                  <a:pt x="361083" y="321586"/>
                </a:cubicBezTo>
                <a:lnTo>
                  <a:pt x="361083" y="342013"/>
                </a:lnTo>
                <a:cubicBezTo>
                  <a:pt x="361083" y="366696"/>
                  <a:pt x="350309" y="390149"/>
                  <a:pt x="331579" y="406227"/>
                </a:cubicBezTo>
                <a:cubicBezTo>
                  <a:pt x="296251" y="436557"/>
                  <a:pt x="245691" y="451382"/>
                  <a:pt x="180468" y="451382"/>
                </a:cubicBezTo>
                <a:cubicBezTo>
                  <a:pt x="115256" y="451382"/>
                  <a:pt x="64729" y="436563"/>
                  <a:pt x="29458" y="406238"/>
                </a:cubicBezTo>
                <a:cubicBezTo>
                  <a:pt x="10757" y="390161"/>
                  <a:pt x="0" y="366726"/>
                  <a:pt x="0" y="342063"/>
                </a:cubicBezTo>
                <a:lnTo>
                  <a:pt x="0" y="321586"/>
                </a:lnTo>
                <a:cubicBezTo>
                  <a:pt x="0" y="293543"/>
                  <a:pt x="22735" y="270807"/>
                  <a:pt x="50779" y="270807"/>
                </a:cubicBezTo>
                <a:lnTo>
                  <a:pt x="310304" y="270807"/>
                </a:lnTo>
                <a:close/>
                <a:moveTo>
                  <a:pt x="310304" y="304660"/>
                </a:moveTo>
                <a:lnTo>
                  <a:pt x="50779" y="304660"/>
                </a:lnTo>
                <a:cubicBezTo>
                  <a:pt x="41431" y="304660"/>
                  <a:pt x="33853" y="312239"/>
                  <a:pt x="33853" y="321586"/>
                </a:cubicBezTo>
                <a:lnTo>
                  <a:pt x="33853" y="342063"/>
                </a:lnTo>
                <a:cubicBezTo>
                  <a:pt x="33853" y="356861"/>
                  <a:pt x="40307" y="370921"/>
                  <a:pt x="51527" y="380569"/>
                </a:cubicBezTo>
                <a:cubicBezTo>
                  <a:pt x="79920" y="404979"/>
                  <a:pt x="122710" y="417529"/>
                  <a:pt x="180468" y="417529"/>
                </a:cubicBezTo>
                <a:cubicBezTo>
                  <a:pt x="238241" y="417529"/>
                  <a:pt x="281074" y="404972"/>
                  <a:pt x="309530" y="380542"/>
                </a:cubicBezTo>
                <a:cubicBezTo>
                  <a:pt x="320765" y="370894"/>
                  <a:pt x="327231" y="356822"/>
                  <a:pt x="327231" y="342013"/>
                </a:cubicBezTo>
                <a:lnTo>
                  <a:pt x="327231" y="321586"/>
                </a:lnTo>
                <a:cubicBezTo>
                  <a:pt x="327231" y="312239"/>
                  <a:pt x="319652" y="304660"/>
                  <a:pt x="310304" y="304660"/>
                </a:cubicBezTo>
                <a:close/>
                <a:moveTo>
                  <a:pt x="178177" y="155"/>
                </a:moveTo>
                <a:lnTo>
                  <a:pt x="180475" y="0"/>
                </a:lnTo>
                <a:cubicBezTo>
                  <a:pt x="189044" y="0"/>
                  <a:pt x="196126" y="6368"/>
                  <a:pt x="197245" y="14630"/>
                </a:cubicBezTo>
                <a:lnTo>
                  <a:pt x="197401" y="16926"/>
                </a:lnTo>
                <a:lnTo>
                  <a:pt x="197383" y="33830"/>
                </a:lnTo>
                <a:lnTo>
                  <a:pt x="276384" y="33842"/>
                </a:lnTo>
                <a:cubicBezTo>
                  <a:pt x="304427" y="33842"/>
                  <a:pt x="327163" y="56576"/>
                  <a:pt x="327163" y="84621"/>
                </a:cubicBezTo>
                <a:lnTo>
                  <a:pt x="327163" y="186282"/>
                </a:lnTo>
                <a:cubicBezTo>
                  <a:pt x="327163" y="214325"/>
                  <a:pt x="304427" y="237061"/>
                  <a:pt x="276384" y="237061"/>
                </a:cubicBezTo>
                <a:lnTo>
                  <a:pt x="84551" y="237061"/>
                </a:lnTo>
                <a:cubicBezTo>
                  <a:pt x="56507" y="237061"/>
                  <a:pt x="33773" y="214325"/>
                  <a:pt x="33773" y="186282"/>
                </a:cubicBezTo>
                <a:lnTo>
                  <a:pt x="33773" y="84621"/>
                </a:lnTo>
                <a:cubicBezTo>
                  <a:pt x="33773" y="56576"/>
                  <a:pt x="56507" y="33842"/>
                  <a:pt x="84551" y="33842"/>
                </a:cubicBezTo>
                <a:lnTo>
                  <a:pt x="163531" y="33830"/>
                </a:lnTo>
                <a:lnTo>
                  <a:pt x="163549" y="16926"/>
                </a:lnTo>
                <a:cubicBezTo>
                  <a:pt x="163549" y="8357"/>
                  <a:pt x="169915" y="1275"/>
                  <a:pt x="178177" y="155"/>
                </a:cubicBezTo>
                <a:lnTo>
                  <a:pt x="180475" y="0"/>
                </a:lnTo>
                <a:lnTo>
                  <a:pt x="178177" y="155"/>
                </a:lnTo>
                <a:close/>
                <a:moveTo>
                  <a:pt x="276384" y="67694"/>
                </a:moveTo>
                <a:lnTo>
                  <a:pt x="84551" y="67694"/>
                </a:lnTo>
                <a:cubicBezTo>
                  <a:pt x="75203" y="67694"/>
                  <a:pt x="67625" y="75272"/>
                  <a:pt x="67625" y="84621"/>
                </a:cubicBezTo>
                <a:lnTo>
                  <a:pt x="67625" y="186282"/>
                </a:lnTo>
                <a:cubicBezTo>
                  <a:pt x="67625" y="195630"/>
                  <a:pt x="75203" y="203208"/>
                  <a:pt x="84551" y="203208"/>
                </a:cubicBezTo>
                <a:lnTo>
                  <a:pt x="276384" y="203208"/>
                </a:lnTo>
                <a:cubicBezTo>
                  <a:pt x="285732" y="203208"/>
                  <a:pt x="293310" y="195630"/>
                  <a:pt x="293310" y="186282"/>
                </a:cubicBezTo>
                <a:lnTo>
                  <a:pt x="293310" y="84621"/>
                </a:lnTo>
                <a:cubicBezTo>
                  <a:pt x="293310" y="75272"/>
                  <a:pt x="285732" y="67694"/>
                  <a:pt x="276384" y="67694"/>
                </a:cubicBezTo>
                <a:close/>
                <a:moveTo>
                  <a:pt x="129672" y="101547"/>
                </a:moveTo>
                <a:cubicBezTo>
                  <a:pt x="145243" y="101547"/>
                  <a:pt x="157866" y="114170"/>
                  <a:pt x="157866" y="129741"/>
                </a:cubicBezTo>
                <a:cubicBezTo>
                  <a:pt x="157866" y="145313"/>
                  <a:pt x="145243" y="157936"/>
                  <a:pt x="129672" y="157936"/>
                </a:cubicBezTo>
                <a:cubicBezTo>
                  <a:pt x="114101" y="157936"/>
                  <a:pt x="101478" y="145313"/>
                  <a:pt x="101478" y="129741"/>
                </a:cubicBezTo>
                <a:cubicBezTo>
                  <a:pt x="101478" y="114170"/>
                  <a:pt x="114101" y="101547"/>
                  <a:pt x="129672" y="101547"/>
                </a:cubicBezTo>
                <a:close/>
                <a:moveTo>
                  <a:pt x="231067" y="101547"/>
                </a:moveTo>
                <a:cubicBezTo>
                  <a:pt x="246639" y="101547"/>
                  <a:pt x="259261" y="114170"/>
                  <a:pt x="259261" y="129741"/>
                </a:cubicBezTo>
                <a:cubicBezTo>
                  <a:pt x="259261" y="145313"/>
                  <a:pt x="246639" y="157936"/>
                  <a:pt x="231067" y="157936"/>
                </a:cubicBezTo>
                <a:cubicBezTo>
                  <a:pt x="215494" y="157936"/>
                  <a:pt x="202872" y="145313"/>
                  <a:pt x="202872" y="129741"/>
                </a:cubicBezTo>
                <a:cubicBezTo>
                  <a:pt x="202872" y="114170"/>
                  <a:pt x="215494" y="101547"/>
                  <a:pt x="231067" y="101547"/>
                </a:cubicBezTo>
                <a:close/>
              </a:path>
            </a:pathLst>
          </a:custGeom>
          <a:solidFill>
            <a:schemeClr val="accent3">
              <a:lumMod val="20000"/>
              <a:lumOff val="80000"/>
            </a:schemeClr>
          </a:solidFill>
          <a:ln w="15081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765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cs typeface="Arial"/>
              <a:sym typeface="Arial"/>
            </a:endParaRPr>
          </a:p>
        </p:txBody>
      </p:sp>
      <p:sp>
        <p:nvSpPr>
          <p:cNvPr id="48" name="Graphic 8">
            <a:extLst>
              <a:ext uri="{FF2B5EF4-FFF2-40B4-BE49-F238E27FC236}">
                <a16:creationId xmlns:a16="http://schemas.microsoft.com/office/drawing/2014/main" id="{45E28B42-5BEF-805C-411C-98F1490A71E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7695649" y="708903"/>
            <a:ext cx="221586" cy="276998"/>
          </a:xfrm>
          <a:custGeom>
            <a:avLst/>
            <a:gdLst>
              <a:gd name="connsiteX0" fmla="*/ 310304 w 361083"/>
              <a:gd name="connsiteY0" fmla="*/ 270807 h 451381"/>
              <a:gd name="connsiteX1" fmla="*/ 361083 w 361083"/>
              <a:gd name="connsiteY1" fmla="*/ 321586 h 451381"/>
              <a:gd name="connsiteX2" fmla="*/ 361083 w 361083"/>
              <a:gd name="connsiteY2" fmla="*/ 342013 h 451381"/>
              <a:gd name="connsiteX3" fmla="*/ 331579 w 361083"/>
              <a:gd name="connsiteY3" fmla="*/ 406227 h 451381"/>
              <a:gd name="connsiteX4" fmla="*/ 180468 w 361083"/>
              <a:gd name="connsiteY4" fmla="*/ 451382 h 451381"/>
              <a:gd name="connsiteX5" fmla="*/ 29458 w 361083"/>
              <a:gd name="connsiteY5" fmla="*/ 406238 h 451381"/>
              <a:gd name="connsiteX6" fmla="*/ 0 w 361083"/>
              <a:gd name="connsiteY6" fmla="*/ 342063 h 451381"/>
              <a:gd name="connsiteX7" fmla="*/ 0 w 361083"/>
              <a:gd name="connsiteY7" fmla="*/ 321586 h 451381"/>
              <a:gd name="connsiteX8" fmla="*/ 50779 w 361083"/>
              <a:gd name="connsiteY8" fmla="*/ 270807 h 451381"/>
              <a:gd name="connsiteX9" fmla="*/ 310304 w 361083"/>
              <a:gd name="connsiteY9" fmla="*/ 270807 h 451381"/>
              <a:gd name="connsiteX10" fmla="*/ 310304 w 361083"/>
              <a:gd name="connsiteY10" fmla="*/ 304660 h 451381"/>
              <a:gd name="connsiteX11" fmla="*/ 50779 w 361083"/>
              <a:gd name="connsiteY11" fmla="*/ 304660 h 451381"/>
              <a:gd name="connsiteX12" fmla="*/ 33853 w 361083"/>
              <a:gd name="connsiteY12" fmla="*/ 321586 h 451381"/>
              <a:gd name="connsiteX13" fmla="*/ 33853 w 361083"/>
              <a:gd name="connsiteY13" fmla="*/ 342063 h 451381"/>
              <a:gd name="connsiteX14" fmla="*/ 51527 w 361083"/>
              <a:gd name="connsiteY14" fmla="*/ 380569 h 451381"/>
              <a:gd name="connsiteX15" fmla="*/ 180468 w 361083"/>
              <a:gd name="connsiteY15" fmla="*/ 417529 h 451381"/>
              <a:gd name="connsiteX16" fmla="*/ 309530 w 361083"/>
              <a:gd name="connsiteY16" fmla="*/ 380542 h 451381"/>
              <a:gd name="connsiteX17" fmla="*/ 327231 w 361083"/>
              <a:gd name="connsiteY17" fmla="*/ 342013 h 451381"/>
              <a:gd name="connsiteX18" fmla="*/ 327231 w 361083"/>
              <a:gd name="connsiteY18" fmla="*/ 321586 h 451381"/>
              <a:gd name="connsiteX19" fmla="*/ 310304 w 361083"/>
              <a:gd name="connsiteY19" fmla="*/ 304660 h 451381"/>
              <a:gd name="connsiteX20" fmla="*/ 178177 w 361083"/>
              <a:gd name="connsiteY20" fmla="*/ 155 h 451381"/>
              <a:gd name="connsiteX21" fmla="*/ 180475 w 361083"/>
              <a:gd name="connsiteY21" fmla="*/ 0 h 451381"/>
              <a:gd name="connsiteX22" fmla="*/ 197245 w 361083"/>
              <a:gd name="connsiteY22" fmla="*/ 14630 h 451381"/>
              <a:gd name="connsiteX23" fmla="*/ 197401 w 361083"/>
              <a:gd name="connsiteY23" fmla="*/ 16926 h 451381"/>
              <a:gd name="connsiteX24" fmla="*/ 197383 w 361083"/>
              <a:gd name="connsiteY24" fmla="*/ 33830 h 451381"/>
              <a:gd name="connsiteX25" fmla="*/ 276384 w 361083"/>
              <a:gd name="connsiteY25" fmla="*/ 33842 h 451381"/>
              <a:gd name="connsiteX26" fmla="*/ 327163 w 361083"/>
              <a:gd name="connsiteY26" fmla="*/ 84621 h 451381"/>
              <a:gd name="connsiteX27" fmla="*/ 327163 w 361083"/>
              <a:gd name="connsiteY27" fmla="*/ 186282 h 451381"/>
              <a:gd name="connsiteX28" fmla="*/ 276384 w 361083"/>
              <a:gd name="connsiteY28" fmla="*/ 237061 h 451381"/>
              <a:gd name="connsiteX29" fmla="*/ 84551 w 361083"/>
              <a:gd name="connsiteY29" fmla="*/ 237061 h 451381"/>
              <a:gd name="connsiteX30" fmla="*/ 33773 w 361083"/>
              <a:gd name="connsiteY30" fmla="*/ 186282 h 451381"/>
              <a:gd name="connsiteX31" fmla="*/ 33773 w 361083"/>
              <a:gd name="connsiteY31" fmla="*/ 84621 h 451381"/>
              <a:gd name="connsiteX32" fmla="*/ 84551 w 361083"/>
              <a:gd name="connsiteY32" fmla="*/ 33842 h 451381"/>
              <a:gd name="connsiteX33" fmla="*/ 163531 w 361083"/>
              <a:gd name="connsiteY33" fmla="*/ 33830 h 451381"/>
              <a:gd name="connsiteX34" fmla="*/ 163549 w 361083"/>
              <a:gd name="connsiteY34" fmla="*/ 16926 h 451381"/>
              <a:gd name="connsiteX35" fmla="*/ 178177 w 361083"/>
              <a:gd name="connsiteY35" fmla="*/ 155 h 451381"/>
              <a:gd name="connsiteX36" fmla="*/ 180475 w 361083"/>
              <a:gd name="connsiteY36" fmla="*/ 0 h 451381"/>
              <a:gd name="connsiteX37" fmla="*/ 178177 w 361083"/>
              <a:gd name="connsiteY37" fmla="*/ 155 h 451381"/>
              <a:gd name="connsiteX38" fmla="*/ 276384 w 361083"/>
              <a:gd name="connsiteY38" fmla="*/ 67694 h 451381"/>
              <a:gd name="connsiteX39" fmla="*/ 84551 w 361083"/>
              <a:gd name="connsiteY39" fmla="*/ 67694 h 451381"/>
              <a:gd name="connsiteX40" fmla="*/ 67625 w 361083"/>
              <a:gd name="connsiteY40" fmla="*/ 84621 h 451381"/>
              <a:gd name="connsiteX41" fmla="*/ 67625 w 361083"/>
              <a:gd name="connsiteY41" fmla="*/ 186282 h 451381"/>
              <a:gd name="connsiteX42" fmla="*/ 84551 w 361083"/>
              <a:gd name="connsiteY42" fmla="*/ 203208 h 451381"/>
              <a:gd name="connsiteX43" fmla="*/ 276384 w 361083"/>
              <a:gd name="connsiteY43" fmla="*/ 203208 h 451381"/>
              <a:gd name="connsiteX44" fmla="*/ 293310 w 361083"/>
              <a:gd name="connsiteY44" fmla="*/ 186282 h 451381"/>
              <a:gd name="connsiteX45" fmla="*/ 293310 w 361083"/>
              <a:gd name="connsiteY45" fmla="*/ 84621 h 451381"/>
              <a:gd name="connsiteX46" fmla="*/ 276384 w 361083"/>
              <a:gd name="connsiteY46" fmla="*/ 67694 h 451381"/>
              <a:gd name="connsiteX47" fmla="*/ 129672 w 361083"/>
              <a:gd name="connsiteY47" fmla="*/ 101547 h 451381"/>
              <a:gd name="connsiteX48" fmla="*/ 157866 w 361083"/>
              <a:gd name="connsiteY48" fmla="*/ 129741 h 451381"/>
              <a:gd name="connsiteX49" fmla="*/ 129672 w 361083"/>
              <a:gd name="connsiteY49" fmla="*/ 157936 h 451381"/>
              <a:gd name="connsiteX50" fmla="*/ 101478 w 361083"/>
              <a:gd name="connsiteY50" fmla="*/ 129741 h 451381"/>
              <a:gd name="connsiteX51" fmla="*/ 129672 w 361083"/>
              <a:gd name="connsiteY51" fmla="*/ 101547 h 451381"/>
              <a:gd name="connsiteX52" fmla="*/ 231067 w 361083"/>
              <a:gd name="connsiteY52" fmla="*/ 101547 h 451381"/>
              <a:gd name="connsiteX53" fmla="*/ 259261 w 361083"/>
              <a:gd name="connsiteY53" fmla="*/ 129741 h 451381"/>
              <a:gd name="connsiteX54" fmla="*/ 231067 w 361083"/>
              <a:gd name="connsiteY54" fmla="*/ 157936 h 451381"/>
              <a:gd name="connsiteX55" fmla="*/ 202872 w 361083"/>
              <a:gd name="connsiteY55" fmla="*/ 129741 h 451381"/>
              <a:gd name="connsiteX56" fmla="*/ 231067 w 361083"/>
              <a:gd name="connsiteY56" fmla="*/ 101547 h 451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</a:cxnLst>
            <a:rect l="l" t="t" r="r" b="b"/>
            <a:pathLst>
              <a:path w="361083" h="451381">
                <a:moveTo>
                  <a:pt x="310304" y="270807"/>
                </a:moveTo>
                <a:cubicBezTo>
                  <a:pt x="338350" y="270807"/>
                  <a:pt x="361083" y="293543"/>
                  <a:pt x="361083" y="321586"/>
                </a:cubicBezTo>
                <a:lnTo>
                  <a:pt x="361083" y="342013"/>
                </a:lnTo>
                <a:cubicBezTo>
                  <a:pt x="361083" y="366696"/>
                  <a:pt x="350309" y="390149"/>
                  <a:pt x="331579" y="406227"/>
                </a:cubicBezTo>
                <a:cubicBezTo>
                  <a:pt x="296251" y="436557"/>
                  <a:pt x="245691" y="451382"/>
                  <a:pt x="180468" y="451382"/>
                </a:cubicBezTo>
                <a:cubicBezTo>
                  <a:pt x="115256" y="451382"/>
                  <a:pt x="64729" y="436563"/>
                  <a:pt x="29458" y="406238"/>
                </a:cubicBezTo>
                <a:cubicBezTo>
                  <a:pt x="10757" y="390161"/>
                  <a:pt x="0" y="366726"/>
                  <a:pt x="0" y="342063"/>
                </a:cubicBezTo>
                <a:lnTo>
                  <a:pt x="0" y="321586"/>
                </a:lnTo>
                <a:cubicBezTo>
                  <a:pt x="0" y="293543"/>
                  <a:pt x="22735" y="270807"/>
                  <a:pt x="50779" y="270807"/>
                </a:cubicBezTo>
                <a:lnTo>
                  <a:pt x="310304" y="270807"/>
                </a:lnTo>
                <a:close/>
                <a:moveTo>
                  <a:pt x="310304" y="304660"/>
                </a:moveTo>
                <a:lnTo>
                  <a:pt x="50779" y="304660"/>
                </a:lnTo>
                <a:cubicBezTo>
                  <a:pt x="41431" y="304660"/>
                  <a:pt x="33853" y="312239"/>
                  <a:pt x="33853" y="321586"/>
                </a:cubicBezTo>
                <a:lnTo>
                  <a:pt x="33853" y="342063"/>
                </a:lnTo>
                <a:cubicBezTo>
                  <a:pt x="33853" y="356861"/>
                  <a:pt x="40307" y="370921"/>
                  <a:pt x="51527" y="380569"/>
                </a:cubicBezTo>
                <a:cubicBezTo>
                  <a:pt x="79920" y="404979"/>
                  <a:pt x="122710" y="417529"/>
                  <a:pt x="180468" y="417529"/>
                </a:cubicBezTo>
                <a:cubicBezTo>
                  <a:pt x="238241" y="417529"/>
                  <a:pt x="281074" y="404972"/>
                  <a:pt x="309530" y="380542"/>
                </a:cubicBezTo>
                <a:cubicBezTo>
                  <a:pt x="320765" y="370894"/>
                  <a:pt x="327231" y="356822"/>
                  <a:pt x="327231" y="342013"/>
                </a:cubicBezTo>
                <a:lnTo>
                  <a:pt x="327231" y="321586"/>
                </a:lnTo>
                <a:cubicBezTo>
                  <a:pt x="327231" y="312239"/>
                  <a:pt x="319652" y="304660"/>
                  <a:pt x="310304" y="304660"/>
                </a:cubicBezTo>
                <a:close/>
                <a:moveTo>
                  <a:pt x="178177" y="155"/>
                </a:moveTo>
                <a:lnTo>
                  <a:pt x="180475" y="0"/>
                </a:lnTo>
                <a:cubicBezTo>
                  <a:pt x="189044" y="0"/>
                  <a:pt x="196126" y="6368"/>
                  <a:pt x="197245" y="14630"/>
                </a:cubicBezTo>
                <a:lnTo>
                  <a:pt x="197401" y="16926"/>
                </a:lnTo>
                <a:lnTo>
                  <a:pt x="197383" y="33830"/>
                </a:lnTo>
                <a:lnTo>
                  <a:pt x="276384" y="33842"/>
                </a:lnTo>
                <a:cubicBezTo>
                  <a:pt x="304427" y="33842"/>
                  <a:pt x="327163" y="56576"/>
                  <a:pt x="327163" y="84621"/>
                </a:cubicBezTo>
                <a:lnTo>
                  <a:pt x="327163" y="186282"/>
                </a:lnTo>
                <a:cubicBezTo>
                  <a:pt x="327163" y="214325"/>
                  <a:pt x="304427" y="237061"/>
                  <a:pt x="276384" y="237061"/>
                </a:cubicBezTo>
                <a:lnTo>
                  <a:pt x="84551" y="237061"/>
                </a:lnTo>
                <a:cubicBezTo>
                  <a:pt x="56507" y="237061"/>
                  <a:pt x="33773" y="214325"/>
                  <a:pt x="33773" y="186282"/>
                </a:cubicBezTo>
                <a:lnTo>
                  <a:pt x="33773" y="84621"/>
                </a:lnTo>
                <a:cubicBezTo>
                  <a:pt x="33773" y="56576"/>
                  <a:pt x="56507" y="33842"/>
                  <a:pt x="84551" y="33842"/>
                </a:cubicBezTo>
                <a:lnTo>
                  <a:pt x="163531" y="33830"/>
                </a:lnTo>
                <a:lnTo>
                  <a:pt x="163549" y="16926"/>
                </a:lnTo>
                <a:cubicBezTo>
                  <a:pt x="163549" y="8357"/>
                  <a:pt x="169915" y="1275"/>
                  <a:pt x="178177" y="155"/>
                </a:cubicBezTo>
                <a:lnTo>
                  <a:pt x="180475" y="0"/>
                </a:lnTo>
                <a:lnTo>
                  <a:pt x="178177" y="155"/>
                </a:lnTo>
                <a:close/>
                <a:moveTo>
                  <a:pt x="276384" y="67694"/>
                </a:moveTo>
                <a:lnTo>
                  <a:pt x="84551" y="67694"/>
                </a:lnTo>
                <a:cubicBezTo>
                  <a:pt x="75203" y="67694"/>
                  <a:pt x="67625" y="75272"/>
                  <a:pt x="67625" y="84621"/>
                </a:cubicBezTo>
                <a:lnTo>
                  <a:pt x="67625" y="186282"/>
                </a:lnTo>
                <a:cubicBezTo>
                  <a:pt x="67625" y="195630"/>
                  <a:pt x="75203" y="203208"/>
                  <a:pt x="84551" y="203208"/>
                </a:cubicBezTo>
                <a:lnTo>
                  <a:pt x="276384" y="203208"/>
                </a:lnTo>
                <a:cubicBezTo>
                  <a:pt x="285732" y="203208"/>
                  <a:pt x="293310" y="195630"/>
                  <a:pt x="293310" y="186282"/>
                </a:cubicBezTo>
                <a:lnTo>
                  <a:pt x="293310" y="84621"/>
                </a:lnTo>
                <a:cubicBezTo>
                  <a:pt x="293310" y="75272"/>
                  <a:pt x="285732" y="67694"/>
                  <a:pt x="276384" y="67694"/>
                </a:cubicBezTo>
                <a:close/>
                <a:moveTo>
                  <a:pt x="129672" y="101547"/>
                </a:moveTo>
                <a:cubicBezTo>
                  <a:pt x="145243" y="101547"/>
                  <a:pt x="157866" y="114170"/>
                  <a:pt x="157866" y="129741"/>
                </a:cubicBezTo>
                <a:cubicBezTo>
                  <a:pt x="157866" y="145313"/>
                  <a:pt x="145243" y="157936"/>
                  <a:pt x="129672" y="157936"/>
                </a:cubicBezTo>
                <a:cubicBezTo>
                  <a:pt x="114101" y="157936"/>
                  <a:pt x="101478" y="145313"/>
                  <a:pt x="101478" y="129741"/>
                </a:cubicBezTo>
                <a:cubicBezTo>
                  <a:pt x="101478" y="114170"/>
                  <a:pt x="114101" y="101547"/>
                  <a:pt x="129672" y="101547"/>
                </a:cubicBezTo>
                <a:close/>
                <a:moveTo>
                  <a:pt x="231067" y="101547"/>
                </a:moveTo>
                <a:cubicBezTo>
                  <a:pt x="246639" y="101547"/>
                  <a:pt x="259261" y="114170"/>
                  <a:pt x="259261" y="129741"/>
                </a:cubicBezTo>
                <a:cubicBezTo>
                  <a:pt x="259261" y="145313"/>
                  <a:pt x="246639" y="157936"/>
                  <a:pt x="231067" y="157936"/>
                </a:cubicBezTo>
                <a:cubicBezTo>
                  <a:pt x="215494" y="157936"/>
                  <a:pt x="202872" y="145313"/>
                  <a:pt x="202872" y="129741"/>
                </a:cubicBezTo>
                <a:cubicBezTo>
                  <a:pt x="202872" y="114170"/>
                  <a:pt x="215494" y="101547"/>
                  <a:pt x="231067" y="101547"/>
                </a:cubicBezTo>
                <a:close/>
              </a:path>
            </a:pathLst>
          </a:custGeom>
          <a:solidFill>
            <a:schemeClr val="accent3">
              <a:lumMod val="20000"/>
              <a:lumOff val="80000"/>
            </a:schemeClr>
          </a:solidFill>
          <a:ln w="15081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765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cs typeface="Arial"/>
              <a:sym typeface="Arial"/>
            </a:endParaRPr>
          </a:p>
        </p:txBody>
      </p:sp>
      <p:sp>
        <p:nvSpPr>
          <p:cNvPr id="49" name="Graphic 8">
            <a:extLst>
              <a:ext uri="{FF2B5EF4-FFF2-40B4-BE49-F238E27FC236}">
                <a16:creationId xmlns:a16="http://schemas.microsoft.com/office/drawing/2014/main" id="{C379E93B-C260-6537-F0C0-2589737F1D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5003728" y="1438879"/>
            <a:ext cx="137216" cy="171530"/>
          </a:xfrm>
          <a:custGeom>
            <a:avLst/>
            <a:gdLst>
              <a:gd name="connsiteX0" fmla="*/ 310304 w 361083"/>
              <a:gd name="connsiteY0" fmla="*/ 270807 h 451381"/>
              <a:gd name="connsiteX1" fmla="*/ 361083 w 361083"/>
              <a:gd name="connsiteY1" fmla="*/ 321586 h 451381"/>
              <a:gd name="connsiteX2" fmla="*/ 361083 w 361083"/>
              <a:gd name="connsiteY2" fmla="*/ 342013 h 451381"/>
              <a:gd name="connsiteX3" fmla="*/ 331579 w 361083"/>
              <a:gd name="connsiteY3" fmla="*/ 406227 h 451381"/>
              <a:gd name="connsiteX4" fmla="*/ 180468 w 361083"/>
              <a:gd name="connsiteY4" fmla="*/ 451382 h 451381"/>
              <a:gd name="connsiteX5" fmla="*/ 29458 w 361083"/>
              <a:gd name="connsiteY5" fmla="*/ 406238 h 451381"/>
              <a:gd name="connsiteX6" fmla="*/ 0 w 361083"/>
              <a:gd name="connsiteY6" fmla="*/ 342063 h 451381"/>
              <a:gd name="connsiteX7" fmla="*/ 0 w 361083"/>
              <a:gd name="connsiteY7" fmla="*/ 321586 h 451381"/>
              <a:gd name="connsiteX8" fmla="*/ 50779 w 361083"/>
              <a:gd name="connsiteY8" fmla="*/ 270807 h 451381"/>
              <a:gd name="connsiteX9" fmla="*/ 310304 w 361083"/>
              <a:gd name="connsiteY9" fmla="*/ 270807 h 451381"/>
              <a:gd name="connsiteX10" fmla="*/ 310304 w 361083"/>
              <a:gd name="connsiteY10" fmla="*/ 304660 h 451381"/>
              <a:gd name="connsiteX11" fmla="*/ 50779 w 361083"/>
              <a:gd name="connsiteY11" fmla="*/ 304660 h 451381"/>
              <a:gd name="connsiteX12" fmla="*/ 33853 w 361083"/>
              <a:gd name="connsiteY12" fmla="*/ 321586 h 451381"/>
              <a:gd name="connsiteX13" fmla="*/ 33853 w 361083"/>
              <a:gd name="connsiteY13" fmla="*/ 342063 h 451381"/>
              <a:gd name="connsiteX14" fmla="*/ 51527 w 361083"/>
              <a:gd name="connsiteY14" fmla="*/ 380569 h 451381"/>
              <a:gd name="connsiteX15" fmla="*/ 180468 w 361083"/>
              <a:gd name="connsiteY15" fmla="*/ 417529 h 451381"/>
              <a:gd name="connsiteX16" fmla="*/ 309530 w 361083"/>
              <a:gd name="connsiteY16" fmla="*/ 380542 h 451381"/>
              <a:gd name="connsiteX17" fmla="*/ 327231 w 361083"/>
              <a:gd name="connsiteY17" fmla="*/ 342013 h 451381"/>
              <a:gd name="connsiteX18" fmla="*/ 327231 w 361083"/>
              <a:gd name="connsiteY18" fmla="*/ 321586 h 451381"/>
              <a:gd name="connsiteX19" fmla="*/ 310304 w 361083"/>
              <a:gd name="connsiteY19" fmla="*/ 304660 h 451381"/>
              <a:gd name="connsiteX20" fmla="*/ 178177 w 361083"/>
              <a:gd name="connsiteY20" fmla="*/ 155 h 451381"/>
              <a:gd name="connsiteX21" fmla="*/ 180475 w 361083"/>
              <a:gd name="connsiteY21" fmla="*/ 0 h 451381"/>
              <a:gd name="connsiteX22" fmla="*/ 197245 w 361083"/>
              <a:gd name="connsiteY22" fmla="*/ 14630 h 451381"/>
              <a:gd name="connsiteX23" fmla="*/ 197401 w 361083"/>
              <a:gd name="connsiteY23" fmla="*/ 16926 h 451381"/>
              <a:gd name="connsiteX24" fmla="*/ 197383 w 361083"/>
              <a:gd name="connsiteY24" fmla="*/ 33830 h 451381"/>
              <a:gd name="connsiteX25" fmla="*/ 276384 w 361083"/>
              <a:gd name="connsiteY25" fmla="*/ 33842 h 451381"/>
              <a:gd name="connsiteX26" fmla="*/ 327163 w 361083"/>
              <a:gd name="connsiteY26" fmla="*/ 84621 h 451381"/>
              <a:gd name="connsiteX27" fmla="*/ 327163 w 361083"/>
              <a:gd name="connsiteY27" fmla="*/ 186282 h 451381"/>
              <a:gd name="connsiteX28" fmla="*/ 276384 w 361083"/>
              <a:gd name="connsiteY28" fmla="*/ 237061 h 451381"/>
              <a:gd name="connsiteX29" fmla="*/ 84551 w 361083"/>
              <a:gd name="connsiteY29" fmla="*/ 237061 h 451381"/>
              <a:gd name="connsiteX30" fmla="*/ 33773 w 361083"/>
              <a:gd name="connsiteY30" fmla="*/ 186282 h 451381"/>
              <a:gd name="connsiteX31" fmla="*/ 33773 w 361083"/>
              <a:gd name="connsiteY31" fmla="*/ 84621 h 451381"/>
              <a:gd name="connsiteX32" fmla="*/ 84551 w 361083"/>
              <a:gd name="connsiteY32" fmla="*/ 33842 h 451381"/>
              <a:gd name="connsiteX33" fmla="*/ 163531 w 361083"/>
              <a:gd name="connsiteY33" fmla="*/ 33830 h 451381"/>
              <a:gd name="connsiteX34" fmla="*/ 163549 w 361083"/>
              <a:gd name="connsiteY34" fmla="*/ 16926 h 451381"/>
              <a:gd name="connsiteX35" fmla="*/ 178177 w 361083"/>
              <a:gd name="connsiteY35" fmla="*/ 155 h 451381"/>
              <a:gd name="connsiteX36" fmla="*/ 180475 w 361083"/>
              <a:gd name="connsiteY36" fmla="*/ 0 h 451381"/>
              <a:gd name="connsiteX37" fmla="*/ 178177 w 361083"/>
              <a:gd name="connsiteY37" fmla="*/ 155 h 451381"/>
              <a:gd name="connsiteX38" fmla="*/ 276384 w 361083"/>
              <a:gd name="connsiteY38" fmla="*/ 67694 h 451381"/>
              <a:gd name="connsiteX39" fmla="*/ 84551 w 361083"/>
              <a:gd name="connsiteY39" fmla="*/ 67694 h 451381"/>
              <a:gd name="connsiteX40" fmla="*/ 67625 w 361083"/>
              <a:gd name="connsiteY40" fmla="*/ 84621 h 451381"/>
              <a:gd name="connsiteX41" fmla="*/ 67625 w 361083"/>
              <a:gd name="connsiteY41" fmla="*/ 186282 h 451381"/>
              <a:gd name="connsiteX42" fmla="*/ 84551 w 361083"/>
              <a:gd name="connsiteY42" fmla="*/ 203208 h 451381"/>
              <a:gd name="connsiteX43" fmla="*/ 276384 w 361083"/>
              <a:gd name="connsiteY43" fmla="*/ 203208 h 451381"/>
              <a:gd name="connsiteX44" fmla="*/ 293310 w 361083"/>
              <a:gd name="connsiteY44" fmla="*/ 186282 h 451381"/>
              <a:gd name="connsiteX45" fmla="*/ 293310 w 361083"/>
              <a:gd name="connsiteY45" fmla="*/ 84621 h 451381"/>
              <a:gd name="connsiteX46" fmla="*/ 276384 w 361083"/>
              <a:gd name="connsiteY46" fmla="*/ 67694 h 451381"/>
              <a:gd name="connsiteX47" fmla="*/ 129672 w 361083"/>
              <a:gd name="connsiteY47" fmla="*/ 101547 h 451381"/>
              <a:gd name="connsiteX48" fmla="*/ 157866 w 361083"/>
              <a:gd name="connsiteY48" fmla="*/ 129741 h 451381"/>
              <a:gd name="connsiteX49" fmla="*/ 129672 w 361083"/>
              <a:gd name="connsiteY49" fmla="*/ 157936 h 451381"/>
              <a:gd name="connsiteX50" fmla="*/ 101478 w 361083"/>
              <a:gd name="connsiteY50" fmla="*/ 129741 h 451381"/>
              <a:gd name="connsiteX51" fmla="*/ 129672 w 361083"/>
              <a:gd name="connsiteY51" fmla="*/ 101547 h 451381"/>
              <a:gd name="connsiteX52" fmla="*/ 231067 w 361083"/>
              <a:gd name="connsiteY52" fmla="*/ 101547 h 451381"/>
              <a:gd name="connsiteX53" fmla="*/ 259261 w 361083"/>
              <a:gd name="connsiteY53" fmla="*/ 129741 h 451381"/>
              <a:gd name="connsiteX54" fmla="*/ 231067 w 361083"/>
              <a:gd name="connsiteY54" fmla="*/ 157936 h 451381"/>
              <a:gd name="connsiteX55" fmla="*/ 202872 w 361083"/>
              <a:gd name="connsiteY55" fmla="*/ 129741 h 451381"/>
              <a:gd name="connsiteX56" fmla="*/ 231067 w 361083"/>
              <a:gd name="connsiteY56" fmla="*/ 101547 h 451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</a:cxnLst>
            <a:rect l="l" t="t" r="r" b="b"/>
            <a:pathLst>
              <a:path w="361083" h="451381">
                <a:moveTo>
                  <a:pt x="310304" y="270807"/>
                </a:moveTo>
                <a:cubicBezTo>
                  <a:pt x="338350" y="270807"/>
                  <a:pt x="361083" y="293543"/>
                  <a:pt x="361083" y="321586"/>
                </a:cubicBezTo>
                <a:lnTo>
                  <a:pt x="361083" y="342013"/>
                </a:lnTo>
                <a:cubicBezTo>
                  <a:pt x="361083" y="366696"/>
                  <a:pt x="350309" y="390149"/>
                  <a:pt x="331579" y="406227"/>
                </a:cubicBezTo>
                <a:cubicBezTo>
                  <a:pt x="296251" y="436557"/>
                  <a:pt x="245691" y="451382"/>
                  <a:pt x="180468" y="451382"/>
                </a:cubicBezTo>
                <a:cubicBezTo>
                  <a:pt x="115256" y="451382"/>
                  <a:pt x="64729" y="436563"/>
                  <a:pt x="29458" y="406238"/>
                </a:cubicBezTo>
                <a:cubicBezTo>
                  <a:pt x="10757" y="390161"/>
                  <a:pt x="0" y="366726"/>
                  <a:pt x="0" y="342063"/>
                </a:cubicBezTo>
                <a:lnTo>
                  <a:pt x="0" y="321586"/>
                </a:lnTo>
                <a:cubicBezTo>
                  <a:pt x="0" y="293543"/>
                  <a:pt x="22735" y="270807"/>
                  <a:pt x="50779" y="270807"/>
                </a:cubicBezTo>
                <a:lnTo>
                  <a:pt x="310304" y="270807"/>
                </a:lnTo>
                <a:close/>
                <a:moveTo>
                  <a:pt x="310304" y="304660"/>
                </a:moveTo>
                <a:lnTo>
                  <a:pt x="50779" y="304660"/>
                </a:lnTo>
                <a:cubicBezTo>
                  <a:pt x="41431" y="304660"/>
                  <a:pt x="33853" y="312239"/>
                  <a:pt x="33853" y="321586"/>
                </a:cubicBezTo>
                <a:lnTo>
                  <a:pt x="33853" y="342063"/>
                </a:lnTo>
                <a:cubicBezTo>
                  <a:pt x="33853" y="356861"/>
                  <a:pt x="40307" y="370921"/>
                  <a:pt x="51527" y="380569"/>
                </a:cubicBezTo>
                <a:cubicBezTo>
                  <a:pt x="79920" y="404979"/>
                  <a:pt x="122710" y="417529"/>
                  <a:pt x="180468" y="417529"/>
                </a:cubicBezTo>
                <a:cubicBezTo>
                  <a:pt x="238241" y="417529"/>
                  <a:pt x="281074" y="404972"/>
                  <a:pt x="309530" y="380542"/>
                </a:cubicBezTo>
                <a:cubicBezTo>
                  <a:pt x="320765" y="370894"/>
                  <a:pt x="327231" y="356822"/>
                  <a:pt x="327231" y="342013"/>
                </a:cubicBezTo>
                <a:lnTo>
                  <a:pt x="327231" y="321586"/>
                </a:lnTo>
                <a:cubicBezTo>
                  <a:pt x="327231" y="312239"/>
                  <a:pt x="319652" y="304660"/>
                  <a:pt x="310304" y="304660"/>
                </a:cubicBezTo>
                <a:close/>
                <a:moveTo>
                  <a:pt x="178177" y="155"/>
                </a:moveTo>
                <a:lnTo>
                  <a:pt x="180475" y="0"/>
                </a:lnTo>
                <a:cubicBezTo>
                  <a:pt x="189044" y="0"/>
                  <a:pt x="196126" y="6368"/>
                  <a:pt x="197245" y="14630"/>
                </a:cubicBezTo>
                <a:lnTo>
                  <a:pt x="197401" y="16926"/>
                </a:lnTo>
                <a:lnTo>
                  <a:pt x="197383" y="33830"/>
                </a:lnTo>
                <a:lnTo>
                  <a:pt x="276384" y="33842"/>
                </a:lnTo>
                <a:cubicBezTo>
                  <a:pt x="304427" y="33842"/>
                  <a:pt x="327163" y="56576"/>
                  <a:pt x="327163" y="84621"/>
                </a:cubicBezTo>
                <a:lnTo>
                  <a:pt x="327163" y="186282"/>
                </a:lnTo>
                <a:cubicBezTo>
                  <a:pt x="327163" y="214325"/>
                  <a:pt x="304427" y="237061"/>
                  <a:pt x="276384" y="237061"/>
                </a:cubicBezTo>
                <a:lnTo>
                  <a:pt x="84551" y="237061"/>
                </a:lnTo>
                <a:cubicBezTo>
                  <a:pt x="56507" y="237061"/>
                  <a:pt x="33773" y="214325"/>
                  <a:pt x="33773" y="186282"/>
                </a:cubicBezTo>
                <a:lnTo>
                  <a:pt x="33773" y="84621"/>
                </a:lnTo>
                <a:cubicBezTo>
                  <a:pt x="33773" y="56576"/>
                  <a:pt x="56507" y="33842"/>
                  <a:pt x="84551" y="33842"/>
                </a:cubicBezTo>
                <a:lnTo>
                  <a:pt x="163531" y="33830"/>
                </a:lnTo>
                <a:lnTo>
                  <a:pt x="163549" y="16926"/>
                </a:lnTo>
                <a:cubicBezTo>
                  <a:pt x="163549" y="8357"/>
                  <a:pt x="169915" y="1275"/>
                  <a:pt x="178177" y="155"/>
                </a:cubicBezTo>
                <a:lnTo>
                  <a:pt x="180475" y="0"/>
                </a:lnTo>
                <a:lnTo>
                  <a:pt x="178177" y="155"/>
                </a:lnTo>
                <a:close/>
                <a:moveTo>
                  <a:pt x="276384" y="67694"/>
                </a:moveTo>
                <a:lnTo>
                  <a:pt x="84551" y="67694"/>
                </a:lnTo>
                <a:cubicBezTo>
                  <a:pt x="75203" y="67694"/>
                  <a:pt x="67625" y="75272"/>
                  <a:pt x="67625" y="84621"/>
                </a:cubicBezTo>
                <a:lnTo>
                  <a:pt x="67625" y="186282"/>
                </a:lnTo>
                <a:cubicBezTo>
                  <a:pt x="67625" y="195630"/>
                  <a:pt x="75203" y="203208"/>
                  <a:pt x="84551" y="203208"/>
                </a:cubicBezTo>
                <a:lnTo>
                  <a:pt x="276384" y="203208"/>
                </a:lnTo>
                <a:cubicBezTo>
                  <a:pt x="285732" y="203208"/>
                  <a:pt x="293310" y="195630"/>
                  <a:pt x="293310" y="186282"/>
                </a:cubicBezTo>
                <a:lnTo>
                  <a:pt x="293310" y="84621"/>
                </a:lnTo>
                <a:cubicBezTo>
                  <a:pt x="293310" y="75272"/>
                  <a:pt x="285732" y="67694"/>
                  <a:pt x="276384" y="67694"/>
                </a:cubicBezTo>
                <a:close/>
                <a:moveTo>
                  <a:pt x="129672" y="101547"/>
                </a:moveTo>
                <a:cubicBezTo>
                  <a:pt x="145243" y="101547"/>
                  <a:pt x="157866" y="114170"/>
                  <a:pt x="157866" y="129741"/>
                </a:cubicBezTo>
                <a:cubicBezTo>
                  <a:pt x="157866" y="145313"/>
                  <a:pt x="145243" y="157936"/>
                  <a:pt x="129672" y="157936"/>
                </a:cubicBezTo>
                <a:cubicBezTo>
                  <a:pt x="114101" y="157936"/>
                  <a:pt x="101478" y="145313"/>
                  <a:pt x="101478" y="129741"/>
                </a:cubicBezTo>
                <a:cubicBezTo>
                  <a:pt x="101478" y="114170"/>
                  <a:pt x="114101" y="101547"/>
                  <a:pt x="129672" y="101547"/>
                </a:cubicBezTo>
                <a:close/>
                <a:moveTo>
                  <a:pt x="231067" y="101547"/>
                </a:moveTo>
                <a:cubicBezTo>
                  <a:pt x="246639" y="101547"/>
                  <a:pt x="259261" y="114170"/>
                  <a:pt x="259261" y="129741"/>
                </a:cubicBezTo>
                <a:cubicBezTo>
                  <a:pt x="259261" y="145313"/>
                  <a:pt x="246639" y="157936"/>
                  <a:pt x="231067" y="157936"/>
                </a:cubicBezTo>
                <a:cubicBezTo>
                  <a:pt x="215494" y="157936"/>
                  <a:pt x="202872" y="145313"/>
                  <a:pt x="202872" y="129741"/>
                </a:cubicBezTo>
                <a:cubicBezTo>
                  <a:pt x="202872" y="114170"/>
                  <a:pt x="215494" y="101547"/>
                  <a:pt x="231067" y="101547"/>
                </a:cubicBezTo>
                <a:close/>
              </a:path>
            </a:pathLst>
          </a:custGeom>
          <a:solidFill>
            <a:schemeClr val="accent3">
              <a:lumMod val="20000"/>
              <a:lumOff val="80000"/>
            </a:schemeClr>
          </a:solidFill>
          <a:ln w="15081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765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cs typeface="Arial"/>
              <a:sym typeface="Arial"/>
            </a:endParaRPr>
          </a:p>
        </p:txBody>
      </p:sp>
      <p:sp>
        <p:nvSpPr>
          <p:cNvPr id="50" name="Graphic 8">
            <a:extLst>
              <a:ext uri="{FF2B5EF4-FFF2-40B4-BE49-F238E27FC236}">
                <a16:creationId xmlns:a16="http://schemas.microsoft.com/office/drawing/2014/main" id="{D5B2455C-23D2-C290-DFE7-FA311177DC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4618712" y="1780083"/>
            <a:ext cx="137216" cy="171530"/>
          </a:xfrm>
          <a:custGeom>
            <a:avLst/>
            <a:gdLst>
              <a:gd name="connsiteX0" fmla="*/ 310304 w 361083"/>
              <a:gd name="connsiteY0" fmla="*/ 270807 h 451381"/>
              <a:gd name="connsiteX1" fmla="*/ 361083 w 361083"/>
              <a:gd name="connsiteY1" fmla="*/ 321586 h 451381"/>
              <a:gd name="connsiteX2" fmla="*/ 361083 w 361083"/>
              <a:gd name="connsiteY2" fmla="*/ 342013 h 451381"/>
              <a:gd name="connsiteX3" fmla="*/ 331579 w 361083"/>
              <a:gd name="connsiteY3" fmla="*/ 406227 h 451381"/>
              <a:gd name="connsiteX4" fmla="*/ 180468 w 361083"/>
              <a:gd name="connsiteY4" fmla="*/ 451382 h 451381"/>
              <a:gd name="connsiteX5" fmla="*/ 29458 w 361083"/>
              <a:gd name="connsiteY5" fmla="*/ 406238 h 451381"/>
              <a:gd name="connsiteX6" fmla="*/ 0 w 361083"/>
              <a:gd name="connsiteY6" fmla="*/ 342063 h 451381"/>
              <a:gd name="connsiteX7" fmla="*/ 0 w 361083"/>
              <a:gd name="connsiteY7" fmla="*/ 321586 h 451381"/>
              <a:gd name="connsiteX8" fmla="*/ 50779 w 361083"/>
              <a:gd name="connsiteY8" fmla="*/ 270807 h 451381"/>
              <a:gd name="connsiteX9" fmla="*/ 310304 w 361083"/>
              <a:gd name="connsiteY9" fmla="*/ 270807 h 451381"/>
              <a:gd name="connsiteX10" fmla="*/ 310304 w 361083"/>
              <a:gd name="connsiteY10" fmla="*/ 304660 h 451381"/>
              <a:gd name="connsiteX11" fmla="*/ 50779 w 361083"/>
              <a:gd name="connsiteY11" fmla="*/ 304660 h 451381"/>
              <a:gd name="connsiteX12" fmla="*/ 33853 w 361083"/>
              <a:gd name="connsiteY12" fmla="*/ 321586 h 451381"/>
              <a:gd name="connsiteX13" fmla="*/ 33853 w 361083"/>
              <a:gd name="connsiteY13" fmla="*/ 342063 h 451381"/>
              <a:gd name="connsiteX14" fmla="*/ 51527 w 361083"/>
              <a:gd name="connsiteY14" fmla="*/ 380569 h 451381"/>
              <a:gd name="connsiteX15" fmla="*/ 180468 w 361083"/>
              <a:gd name="connsiteY15" fmla="*/ 417529 h 451381"/>
              <a:gd name="connsiteX16" fmla="*/ 309530 w 361083"/>
              <a:gd name="connsiteY16" fmla="*/ 380542 h 451381"/>
              <a:gd name="connsiteX17" fmla="*/ 327231 w 361083"/>
              <a:gd name="connsiteY17" fmla="*/ 342013 h 451381"/>
              <a:gd name="connsiteX18" fmla="*/ 327231 w 361083"/>
              <a:gd name="connsiteY18" fmla="*/ 321586 h 451381"/>
              <a:gd name="connsiteX19" fmla="*/ 310304 w 361083"/>
              <a:gd name="connsiteY19" fmla="*/ 304660 h 451381"/>
              <a:gd name="connsiteX20" fmla="*/ 178177 w 361083"/>
              <a:gd name="connsiteY20" fmla="*/ 155 h 451381"/>
              <a:gd name="connsiteX21" fmla="*/ 180475 w 361083"/>
              <a:gd name="connsiteY21" fmla="*/ 0 h 451381"/>
              <a:gd name="connsiteX22" fmla="*/ 197245 w 361083"/>
              <a:gd name="connsiteY22" fmla="*/ 14630 h 451381"/>
              <a:gd name="connsiteX23" fmla="*/ 197401 w 361083"/>
              <a:gd name="connsiteY23" fmla="*/ 16926 h 451381"/>
              <a:gd name="connsiteX24" fmla="*/ 197383 w 361083"/>
              <a:gd name="connsiteY24" fmla="*/ 33830 h 451381"/>
              <a:gd name="connsiteX25" fmla="*/ 276384 w 361083"/>
              <a:gd name="connsiteY25" fmla="*/ 33842 h 451381"/>
              <a:gd name="connsiteX26" fmla="*/ 327163 w 361083"/>
              <a:gd name="connsiteY26" fmla="*/ 84621 h 451381"/>
              <a:gd name="connsiteX27" fmla="*/ 327163 w 361083"/>
              <a:gd name="connsiteY27" fmla="*/ 186282 h 451381"/>
              <a:gd name="connsiteX28" fmla="*/ 276384 w 361083"/>
              <a:gd name="connsiteY28" fmla="*/ 237061 h 451381"/>
              <a:gd name="connsiteX29" fmla="*/ 84551 w 361083"/>
              <a:gd name="connsiteY29" fmla="*/ 237061 h 451381"/>
              <a:gd name="connsiteX30" fmla="*/ 33773 w 361083"/>
              <a:gd name="connsiteY30" fmla="*/ 186282 h 451381"/>
              <a:gd name="connsiteX31" fmla="*/ 33773 w 361083"/>
              <a:gd name="connsiteY31" fmla="*/ 84621 h 451381"/>
              <a:gd name="connsiteX32" fmla="*/ 84551 w 361083"/>
              <a:gd name="connsiteY32" fmla="*/ 33842 h 451381"/>
              <a:gd name="connsiteX33" fmla="*/ 163531 w 361083"/>
              <a:gd name="connsiteY33" fmla="*/ 33830 h 451381"/>
              <a:gd name="connsiteX34" fmla="*/ 163549 w 361083"/>
              <a:gd name="connsiteY34" fmla="*/ 16926 h 451381"/>
              <a:gd name="connsiteX35" fmla="*/ 178177 w 361083"/>
              <a:gd name="connsiteY35" fmla="*/ 155 h 451381"/>
              <a:gd name="connsiteX36" fmla="*/ 180475 w 361083"/>
              <a:gd name="connsiteY36" fmla="*/ 0 h 451381"/>
              <a:gd name="connsiteX37" fmla="*/ 178177 w 361083"/>
              <a:gd name="connsiteY37" fmla="*/ 155 h 451381"/>
              <a:gd name="connsiteX38" fmla="*/ 276384 w 361083"/>
              <a:gd name="connsiteY38" fmla="*/ 67694 h 451381"/>
              <a:gd name="connsiteX39" fmla="*/ 84551 w 361083"/>
              <a:gd name="connsiteY39" fmla="*/ 67694 h 451381"/>
              <a:gd name="connsiteX40" fmla="*/ 67625 w 361083"/>
              <a:gd name="connsiteY40" fmla="*/ 84621 h 451381"/>
              <a:gd name="connsiteX41" fmla="*/ 67625 w 361083"/>
              <a:gd name="connsiteY41" fmla="*/ 186282 h 451381"/>
              <a:gd name="connsiteX42" fmla="*/ 84551 w 361083"/>
              <a:gd name="connsiteY42" fmla="*/ 203208 h 451381"/>
              <a:gd name="connsiteX43" fmla="*/ 276384 w 361083"/>
              <a:gd name="connsiteY43" fmla="*/ 203208 h 451381"/>
              <a:gd name="connsiteX44" fmla="*/ 293310 w 361083"/>
              <a:gd name="connsiteY44" fmla="*/ 186282 h 451381"/>
              <a:gd name="connsiteX45" fmla="*/ 293310 w 361083"/>
              <a:gd name="connsiteY45" fmla="*/ 84621 h 451381"/>
              <a:gd name="connsiteX46" fmla="*/ 276384 w 361083"/>
              <a:gd name="connsiteY46" fmla="*/ 67694 h 451381"/>
              <a:gd name="connsiteX47" fmla="*/ 129672 w 361083"/>
              <a:gd name="connsiteY47" fmla="*/ 101547 h 451381"/>
              <a:gd name="connsiteX48" fmla="*/ 157866 w 361083"/>
              <a:gd name="connsiteY48" fmla="*/ 129741 h 451381"/>
              <a:gd name="connsiteX49" fmla="*/ 129672 w 361083"/>
              <a:gd name="connsiteY49" fmla="*/ 157936 h 451381"/>
              <a:gd name="connsiteX50" fmla="*/ 101478 w 361083"/>
              <a:gd name="connsiteY50" fmla="*/ 129741 h 451381"/>
              <a:gd name="connsiteX51" fmla="*/ 129672 w 361083"/>
              <a:gd name="connsiteY51" fmla="*/ 101547 h 451381"/>
              <a:gd name="connsiteX52" fmla="*/ 231067 w 361083"/>
              <a:gd name="connsiteY52" fmla="*/ 101547 h 451381"/>
              <a:gd name="connsiteX53" fmla="*/ 259261 w 361083"/>
              <a:gd name="connsiteY53" fmla="*/ 129741 h 451381"/>
              <a:gd name="connsiteX54" fmla="*/ 231067 w 361083"/>
              <a:gd name="connsiteY54" fmla="*/ 157936 h 451381"/>
              <a:gd name="connsiteX55" fmla="*/ 202872 w 361083"/>
              <a:gd name="connsiteY55" fmla="*/ 129741 h 451381"/>
              <a:gd name="connsiteX56" fmla="*/ 231067 w 361083"/>
              <a:gd name="connsiteY56" fmla="*/ 101547 h 451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</a:cxnLst>
            <a:rect l="l" t="t" r="r" b="b"/>
            <a:pathLst>
              <a:path w="361083" h="451381">
                <a:moveTo>
                  <a:pt x="310304" y="270807"/>
                </a:moveTo>
                <a:cubicBezTo>
                  <a:pt x="338350" y="270807"/>
                  <a:pt x="361083" y="293543"/>
                  <a:pt x="361083" y="321586"/>
                </a:cubicBezTo>
                <a:lnTo>
                  <a:pt x="361083" y="342013"/>
                </a:lnTo>
                <a:cubicBezTo>
                  <a:pt x="361083" y="366696"/>
                  <a:pt x="350309" y="390149"/>
                  <a:pt x="331579" y="406227"/>
                </a:cubicBezTo>
                <a:cubicBezTo>
                  <a:pt x="296251" y="436557"/>
                  <a:pt x="245691" y="451382"/>
                  <a:pt x="180468" y="451382"/>
                </a:cubicBezTo>
                <a:cubicBezTo>
                  <a:pt x="115256" y="451382"/>
                  <a:pt x="64729" y="436563"/>
                  <a:pt x="29458" y="406238"/>
                </a:cubicBezTo>
                <a:cubicBezTo>
                  <a:pt x="10757" y="390161"/>
                  <a:pt x="0" y="366726"/>
                  <a:pt x="0" y="342063"/>
                </a:cubicBezTo>
                <a:lnTo>
                  <a:pt x="0" y="321586"/>
                </a:lnTo>
                <a:cubicBezTo>
                  <a:pt x="0" y="293543"/>
                  <a:pt x="22735" y="270807"/>
                  <a:pt x="50779" y="270807"/>
                </a:cubicBezTo>
                <a:lnTo>
                  <a:pt x="310304" y="270807"/>
                </a:lnTo>
                <a:close/>
                <a:moveTo>
                  <a:pt x="310304" y="304660"/>
                </a:moveTo>
                <a:lnTo>
                  <a:pt x="50779" y="304660"/>
                </a:lnTo>
                <a:cubicBezTo>
                  <a:pt x="41431" y="304660"/>
                  <a:pt x="33853" y="312239"/>
                  <a:pt x="33853" y="321586"/>
                </a:cubicBezTo>
                <a:lnTo>
                  <a:pt x="33853" y="342063"/>
                </a:lnTo>
                <a:cubicBezTo>
                  <a:pt x="33853" y="356861"/>
                  <a:pt x="40307" y="370921"/>
                  <a:pt x="51527" y="380569"/>
                </a:cubicBezTo>
                <a:cubicBezTo>
                  <a:pt x="79920" y="404979"/>
                  <a:pt x="122710" y="417529"/>
                  <a:pt x="180468" y="417529"/>
                </a:cubicBezTo>
                <a:cubicBezTo>
                  <a:pt x="238241" y="417529"/>
                  <a:pt x="281074" y="404972"/>
                  <a:pt x="309530" y="380542"/>
                </a:cubicBezTo>
                <a:cubicBezTo>
                  <a:pt x="320765" y="370894"/>
                  <a:pt x="327231" y="356822"/>
                  <a:pt x="327231" y="342013"/>
                </a:cubicBezTo>
                <a:lnTo>
                  <a:pt x="327231" y="321586"/>
                </a:lnTo>
                <a:cubicBezTo>
                  <a:pt x="327231" y="312239"/>
                  <a:pt x="319652" y="304660"/>
                  <a:pt x="310304" y="304660"/>
                </a:cubicBezTo>
                <a:close/>
                <a:moveTo>
                  <a:pt x="178177" y="155"/>
                </a:moveTo>
                <a:lnTo>
                  <a:pt x="180475" y="0"/>
                </a:lnTo>
                <a:cubicBezTo>
                  <a:pt x="189044" y="0"/>
                  <a:pt x="196126" y="6368"/>
                  <a:pt x="197245" y="14630"/>
                </a:cubicBezTo>
                <a:lnTo>
                  <a:pt x="197401" y="16926"/>
                </a:lnTo>
                <a:lnTo>
                  <a:pt x="197383" y="33830"/>
                </a:lnTo>
                <a:lnTo>
                  <a:pt x="276384" y="33842"/>
                </a:lnTo>
                <a:cubicBezTo>
                  <a:pt x="304427" y="33842"/>
                  <a:pt x="327163" y="56576"/>
                  <a:pt x="327163" y="84621"/>
                </a:cubicBezTo>
                <a:lnTo>
                  <a:pt x="327163" y="186282"/>
                </a:lnTo>
                <a:cubicBezTo>
                  <a:pt x="327163" y="214325"/>
                  <a:pt x="304427" y="237061"/>
                  <a:pt x="276384" y="237061"/>
                </a:cubicBezTo>
                <a:lnTo>
                  <a:pt x="84551" y="237061"/>
                </a:lnTo>
                <a:cubicBezTo>
                  <a:pt x="56507" y="237061"/>
                  <a:pt x="33773" y="214325"/>
                  <a:pt x="33773" y="186282"/>
                </a:cubicBezTo>
                <a:lnTo>
                  <a:pt x="33773" y="84621"/>
                </a:lnTo>
                <a:cubicBezTo>
                  <a:pt x="33773" y="56576"/>
                  <a:pt x="56507" y="33842"/>
                  <a:pt x="84551" y="33842"/>
                </a:cubicBezTo>
                <a:lnTo>
                  <a:pt x="163531" y="33830"/>
                </a:lnTo>
                <a:lnTo>
                  <a:pt x="163549" y="16926"/>
                </a:lnTo>
                <a:cubicBezTo>
                  <a:pt x="163549" y="8357"/>
                  <a:pt x="169915" y="1275"/>
                  <a:pt x="178177" y="155"/>
                </a:cubicBezTo>
                <a:lnTo>
                  <a:pt x="180475" y="0"/>
                </a:lnTo>
                <a:lnTo>
                  <a:pt x="178177" y="155"/>
                </a:lnTo>
                <a:close/>
                <a:moveTo>
                  <a:pt x="276384" y="67694"/>
                </a:moveTo>
                <a:lnTo>
                  <a:pt x="84551" y="67694"/>
                </a:lnTo>
                <a:cubicBezTo>
                  <a:pt x="75203" y="67694"/>
                  <a:pt x="67625" y="75272"/>
                  <a:pt x="67625" y="84621"/>
                </a:cubicBezTo>
                <a:lnTo>
                  <a:pt x="67625" y="186282"/>
                </a:lnTo>
                <a:cubicBezTo>
                  <a:pt x="67625" y="195630"/>
                  <a:pt x="75203" y="203208"/>
                  <a:pt x="84551" y="203208"/>
                </a:cubicBezTo>
                <a:lnTo>
                  <a:pt x="276384" y="203208"/>
                </a:lnTo>
                <a:cubicBezTo>
                  <a:pt x="285732" y="203208"/>
                  <a:pt x="293310" y="195630"/>
                  <a:pt x="293310" y="186282"/>
                </a:cubicBezTo>
                <a:lnTo>
                  <a:pt x="293310" y="84621"/>
                </a:lnTo>
                <a:cubicBezTo>
                  <a:pt x="293310" y="75272"/>
                  <a:pt x="285732" y="67694"/>
                  <a:pt x="276384" y="67694"/>
                </a:cubicBezTo>
                <a:close/>
                <a:moveTo>
                  <a:pt x="129672" y="101547"/>
                </a:moveTo>
                <a:cubicBezTo>
                  <a:pt x="145243" y="101547"/>
                  <a:pt x="157866" y="114170"/>
                  <a:pt x="157866" y="129741"/>
                </a:cubicBezTo>
                <a:cubicBezTo>
                  <a:pt x="157866" y="145313"/>
                  <a:pt x="145243" y="157936"/>
                  <a:pt x="129672" y="157936"/>
                </a:cubicBezTo>
                <a:cubicBezTo>
                  <a:pt x="114101" y="157936"/>
                  <a:pt x="101478" y="145313"/>
                  <a:pt x="101478" y="129741"/>
                </a:cubicBezTo>
                <a:cubicBezTo>
                  <a:pt x="101478" y="114170"/>
                  <a:pt x="114101" y="101547"/>
                  <a:pt x="129672" y="101547"/>
                </a:cubicBezTo>
                <a:close/>
                <a:moveTo>
                  <a:pt x="231067" y="101547"/>
                </a:moveTo>
                <a:cubicBezTo>
                  <a:pt x="246639" y="101547"/>
                  <a:pt x="259261" y="114170"/>
                  <a:pt x="259261" y="129741"/>
                </a:cubicBezTo>
                <a:cubicBezTo>
                  <a:pt x="259261" y="145313"/>
                  <a:pt x="246639" y="157936"/>
                  <a:pt x="231067" y="157936"/>
                </a:cubicBezTo>
                <a:cubicBezTo>
                  <a:pt x="215494" y="157936"/>
                  <a:pt x="202872" y="145313"/>
                  <a:pt x="202872" y="129741"/>
                </a:cubicBezTo>
                <a:cubicBezTo>
                  <a:pt x="202872" y="114170"/>
                  <a:pt x="215494" y="101547"/>
                  <a:pt x="231067" y="101547"/>
                </a:cubicBezTo>
                <a:close/>
              </a:path>
            </a:pathLst>
          </a:custGeom>
          <a:solidFill>
            <a:schemeClr val="accent3">
              <a:lumMod val="20000"/>
              <a:lumOff val="80000"/>
            </a:schemeClr>
          </a:solidFill>
          <a:ln w="15081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765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cs typeface="Arial"/>
              <a:sym typeface="Arial"/>
            </a:endParaRPr>
          </a:p>
        </p:txBody>
      </p:sp>
      <p:sp>
        <p:nvSpPr>
          <p:cNvPr id="51" name="Graphic 8">
            <a:extLst>
              <a:ext uri="{FF2B5EF4-FFF2-40B4-BE49-F238E27FC236}">
                <a16:creationId xmlns:a16="http://schemas.microsoft.com/office/drawing/2014/main" id="{D32FEA17-C186-87B6-0FC5-20FCF630E9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5388743" y="1780083"/>
            <a:ext cx="137216" cy="171530"/>
          </a:xfrm>
          <a:custGeom>
            <a:avLst/>
            <a:gdLst>
              <a:gd name="connsiteX0" fmla="*/ 310304 w 361083"/>
              <a:gd name="connsiteY0" fmla="*/ 270807 h 451381"/>
              <a:gd name="connsiteX1" fmla="*/ 361083 w 361083"/>
              <a:gd name="connsiteY1" fmla="*/ 321586 h 451381"/>
              <a:gd name="connsiteX2" fmla="*/ 361083 w 361083"/>
              <a:gd name="connsiteY2" fmla="*/ 342013 h 451381"/>
              <a:gd name="connsiteX3" fmla="*/ 331579 w 361083"/>
              <a:gd name="connsiteY3" fmla="*/ 406227 h 451381"/>
              <a:gd name="connsiteX4" fmla="*/ 180468 w 361083"/>
              <a:gd name="connsiteY4" fmla="*/ 451382 h 451381"/>
              <a:gd name="connsiteX5" fmla="*/ 29458 w 361083"/>
              <a:gd name="connsiteY5" fmla="*/ 406238 h 451381"/>
              <a:gd name="connsiteX6" fmla="*/ 0 w 361083"/>
              <a:gd name="connsiteY6" fmla="*/ 342063 h 451381"/>
              <a:gd name="connsiteX7" fmla="*/ 0 w 361083"/>
              <a:gd name="connsiteY7" fmla="*/ 321586 h 451381"/>
              <a:gd name="connsiteX8" fmla="*/ 50779 w 361083"/>
              <a:gd name="connsiteY8" fmla="*/ 270807 h 451381"/>
              <a:gd name="connsiteX9" fmla="*/ 310304 w 361083"/>
              <a:gd name="connsiteY9" fmla="*/ 270807 h 451381"/>
              <a:gd name="connsiteX10" fmla="*/ 310304 w 361083"/>
              <a:gd name="connsiteY10" fmla="*/ 304660 h 451381"/>
              <a:gd name="connsiteX11" fmla="*/ 50779 w 361083"/>
              <a:gd name="connsiteY11" fmla="*/ 304660 h 451381"/>
              <a:gd name="connsiteX12" fmla="*/ 33853 w 361083"/>
              <a:gd name="connsiteY12" fmla="*/ 321586 h 451381"/>
              <a:gd name="connsiteX13" fmla="*/ 33853 w 361083"/>
              <a:gd name="connsiteY13" fmla="*/ 342063 h 451381"/>
              <a:gd name="connsiteX14" fmla="*/ 51527 w 361083"/>
              <a:gd name="connsiteY14" fmla="*/ 380569 h 451381"/>
              <a:gd name="connsiteX15" fmla="*/ 180468 w 361083"/>
              <a:gd name="connsiteY15" fmla="*/ 417529 h 451381"/>
              <a:gd name="connsiteX16" fmla="*/ 309530 w 361083"/>
              <a:gd name="connsiteY16" fmla="*/ 380542 h 451381"/>
              <a:gd name="connsiteX17" fmla="*/ 327231 w 361083"/>
              <a:gd name="connsiteY17" fmla="*/ 342013 h 451381"/>
              <a:gd name="connsiteX18" fmla="*/ 327231 w 361083"/>
              <a:gd name="connsiteY18" fmla="*/ 321586 h 451381"/>
              <a:gd name="connsiteX19" fmla="*/ 310304 w 361083"/>
              <a:gd name="connsiteY19" fmla="*/ 304660 h 451381"/>
              <a:gd name="connsiteX20" fmla="*/ 178177 w 361083"/>
              <a:gd name="connsiteY20" fmla="*/ 155 h 451381"/>
              <a:gd name="connsiteX21" fmla="*/ 180475 w 361083"/>
              <a:gd name="connsiteY21" fmla="*/ 0 h 451381"/>
              <a:gd name="connsiteX22" fmla="*/ 197245 w 361083"/>
              <a:gd name="connsiteY22" fmla="*/ 14630 h 451381"/>
              <a:gd name="connsiteX23" fmla="*/ 197401 w 361083"/>
              <a:gd name="connsiteY23" fmla="*/ 16926 h 451381"/>
              <a:gd name="connsiteX24" fmla="*/ 197383 w 361083"/>
              <a:gd name="connsiteY24" fmla="*/ 33830 h 451381"/>
              <a:gd name="connsiteX25" fmla="*/ 276384 w 361083"/>
              <a:gd name="connsiteY25" fmla="*/ 33842 h 451381"/>
              <a:gd name="connsiteX26" fmla="*/ 327163 w 361083"/>
              <a:gd name="connsiteY26" fmla="*/ 84621 h 451381"/>
              <a:gd name="connsiteX27" fmla="*/ 327163 w 361083"/>
              <a:gd name="connsiteY27" fmla="*/ 186282 h 451381"/>
              <a:gd name="connsiteX28" fmla="*/ 276384 w 361083"/>
              <a:gd name="connsiteY28" fmla="*/ 237061 h 451381"/>
              <a:gd name="connsiteX29" fmla="*/ 84551 w 361083"/>
              <a:gd name="connsiteY29" fmla="*/ 237061 h 451381"/>
              <a:gd name="connsiteX30" fmla="*/ 33773 w 361083"/>
              <a:gd name="connsiteY30" fmla="*/ 186282 h 451381"/>
              <a:gd name="connsiteX31" fmla="*/ 33773 w 361083"/>
              <a:gd name="connsiteY31" fmla="*/ 84621 h 451381"/>
              <a:gd name="connsiteX32" fmla="*/ 84551 w 361083"/>
              <a:gd name="connsiteY32" fmla="*/ 33842 h 451381"/>
              <a:gd name="connsiteX33" fmla="*/ 163531 w 361083"/>
              <a:gd name="connsiteY33" fmla="*/ 33830 h 451381"/>
              <a:gd name="connsiteX34" fmla="*/ 163549 w 361083"/>
              <a:gd name="connsiteY34" fmla="*/ 16926 h 451381"/>
              <a:gd name="connsiteX35" fmla="*/ 178177 w 361083"/>
              <a:gd name="connsiteY35" fmla="*/ 155 h 451381"/>
              <a:gd name="connsiteX36" fmla="*/ 180475 w 361083"/>
              <a:gd name="connsiteY36" fmla="*/ 0 h 451381"/>
              <a:gd name="connsiteX37" fmla="*/ 178177 w 361083"/>
              <a:gd name="connsiteY37" fmla="*/ 155 h 451381"/>
              <a:gd name="connsiteX38" fmla="*/ 276384 w 361083"/>
              <a:gd name="connsiteY38" fmla="*/ 67694 h 451381"/>
              <a:gd name="connsiteX39" fmla="*/ 84551 w 361083"/>
              <a:gd name="connsiteY39" fmla="*/ 67694 h 451381"/>
              <a:gd name="connsiteX40" fmla="*/ 67625 w 361083"/>
              <a:gd name="connsiteY40" fmla="*/ 84621 h 451381"/>
              <a:gd name="connsiteX41" fmla="*/ 67625 w 361083"/>
              <a:gd name="connsiteY41" fmla="*/ 186282 h 451381"/>
              <a:gd name="connsiteX42" fmla="*/ 84551 w 361083"/>
              <a:gd name="connsiteY42" fmla="*/ 203208 h 451381"/>
              <a:gd name="connsiteX43" fmla="*/ 276384 w 361083"/>
              <a:gd name="connsiteY43" fmla="*/ 203208 h 451381"/>
              <a:gd name="connsiteX44" fmla="*/ 293310 w 361083"/>
              <a:gd name="connsiteY44" fmla="*/ 186282 h 451381"/>
              <a:gd name="connsiteX45" fmla="*/ 293310 w 361083"/>
              <a:gd name="connsiteY45" fmla="*/ 84621 h 451381"/>
              <a:gd name="connsiteX46" fmla="*/ 276384 w 361083"/>
              <a:gd name="connsiteY46" fmla="*/ 67694 h 451381"/>
              <a:gd name="connsiteX47" fmla="*/ 129672 w 361083"/>
              <a:gd name="connsiteY47" fmla="*/ 101547 h 451381"/>
              <a:gd name="connsiteX48" fmla="*/ 157866 w 361083"/>
              <a:gd name="connsiteY48" fmla="*/ 129741 h 451381"/>
              <a:gd name="connsiteX49" fmla="*/ 129672 w 361083"/>
              <a:gd name="connsiteY49" fmla="*/ 157936 h 451381"/>
              <a:gd name="connsiteX50" fmla="*/ 101478 w 361083"/>
              <a:gd name="connsiteY50" fmla="*/ 129741 h 451381"/>
              <a:gd name="connsiteX51" fmla="*/ 129672 w 361083"/>
              <a:gd name="connsiteY51" fmla="*/ 101547 h 451381"/>
              <a:gd name="connsiteX52" fmla="*/ 231067 w 361083"/>
              <a:gd name="connsiteY52" fmla="*/ 101547 h 451381"/>
              <a:gd name="connsiteX53" fmla="*/ 259261 w 361083"/>
              <a:gd name="connsiteY53" fmla="*/ 129741 h 451381"/>
              <a:gd name="connsiteX54" fmla="*/ 231067 w 361083"/>
              <a:gd name="connsiteY54" fmla="*/ 157936 h 451381"/>
              <a:gd name="connsiteX55" fmla="*/ 202872 w 361083"/>
              <a:gd name="connsiteY55" fmla="*/ 129741 h 451381"/>
              <a:gd name="connsiteX56" fmla="*/ 231067 w 361083"/>
              <a:gd name="connsiteY56" fmla="*/ 101547 h 451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</a:cxnLst>
            <a:rect l="l" t="t" r="r" b="b"/>
            <a:pathLst>
              <a:path w="361083" h="451381">
                <a:moveTo>
                  <a:pt x="310304" y="270807"/>
                </a:moveTo>
                <a:cubicBezTo>
                  <a:pt x="338350" y="270807"/>
                  <a:pt x="361083" y="293543"/>
                  <a:pt x="361083" y="321586"/>
                </a:cubicBezTo>
                <a:lnTo>
                  <a:pt x="361083" y="342013"/>
                </a:lnTo>
                <a:cubicBezTo>
                  <a:pt x="361083" y="366696"/>
                  <a:pt x="350309" y="390149"/>
                  <a:pt x="331579" y="406227"/>
                </a:cubicBezTo>
                <a:cubicBezTo>
                  <a:pt x="296251" y="436557"/>
                  <a:pt x="245691" y="451382"/>
                  <a:pt x="180468" y="451382"/>
                </a:cubicBezTo>
                <a:cubicBezTo>
                  <a:pt x="115256" y="451382"/>
                  <a:pt x="64729" y="436563"/>
                  <a:pt x="29458" y="406238"/>
                </a:cubicBezTo>
                <a:cubicBezTo>
                  <a:pt x="10757" y="390161"/>
                  <a:pt x="0" y="366726"/>
                  <a:pt x="0" y="342063"/>
                </a:cubicBezTo>
                <a:lnTo>
                  <a:pt x="0" y="321586"/>
                </a:lnTo>
                <a:cubicBezTo>
                  <a:pt x="0" y="293543"/>
                  <a:pt x="22735" y="270807"/>
                  <a:pt x="50779" y="270807"/>
                </a:cubicBezTo>
                <a:lnTo>
                  <a:pt x="310304" y="270807"/>
                </a:lnTo>
                <a:close/>
                <a:moveTo>
                  <a:pt x="310304" y="304660"/>
                </a:moveTo>
                <a:lnTo>
                  <a:pt x="50779" y="304660"/>
                </a:lnTo>
                <a:cubicBezTo>
                  <a:pt x="41431" y="304660"/>
                  <a:pt x="33853" y="312239"/>
                  <a:pt x="33853" y="321586"/>
                </a:cubicBezTo>
                <a:lnTo>
                  <a:pt x="33853" y="342063"/>
                </a:lnTo>
                <a:cubicBezTo>
                  <a:pt x="33853" y="356861"/>
                  <a:pt x="40307" y="370921"/>
                  <a:pt x="51527" y="380569"/>
                </a:cubicBezTo>
                <a:cubicBezTo>
                  <a:pt x="79920" y="404979"/>
                  <a:pt x="122710" y="417529"/>
                  <a:pt x="180468" y="417529"/>
                </a:cubicBezTo>
                <a:cubicBezTo>
                  <a:pt x="238241" y="417529"/>
                  <a:pt x="281074" y="404972"/>
                  <a:pt x="309530" y="380542"/>
                </a:cubicBezTo>
                <a:cubicBezTo>
                  <a:pt x="320765" y="370894"/>
                  <a:pt x="327231" y="356822"/>
                  <a:pt x="327231" y="342013"/>
                </a:cubicBezTo>
                <a:lnTo>
                  <a:pt x="327231" y="321586"/>
                </a:lnTo>
                <a:cubicBezTo>
                  <a:pt x="327231" y="312239"/>
                  <a:pt x="319652" y="304660"/>
                  <a:pt x="310304" y="304660"/>
                </a:cubicBezTo>
                <a:close/>
                <a:moveTo>
                  <a:pt x="178177" y="155"/>
                </a:moveTo>
                <a:lnTo>
                  <a:pt x="180475" y="0"/>
                </a:lnTo>
                <a:cubicBezTo>
                  <a:pt x="189044" y="0"/>
                  <a:pt x="196126" y="6368"/>
                  <a:pt x="197245" y="14630"/>
                </a:cubicBezTo>
                <a:lnTo>
                  <a:pt x="197401" y="16926"/>
                </a:lnTo>
                <a:lnTo>
                  <a:pt x="197383" y="33830"/>
                </a:lnTo>
                <a:lnTo>
                  <a:pt x="276384" y="33842"/>
                </a:lnTo>
                <a:cubicBezTo>
                  <a:pt x="304427" y="33842"/>
                  <a:pt x="327163" y="56576"/>
                  <a:pt x="327163" y="84621"/>
                </a:cubicBezTo>
                <a:lnTo>
                  <a:pt x="327163" y="186282"/>
                </a:lnTo>
                <a:cubicBezTo>
                  <a:pt x="327163" y="214325"/>
                  <a:pt x="304427" y="237061"/>
                  <a:pt x="276384" y="237061"/>
                </a:cubicBezTo>
                <a:lnTo>
                  <a:pt x="84551" y="237061"/>
                </a:lnTo>
                <a:cubicBezTo>
                  <a:pt x="56507" y="237061"/>
                  <a:pt x="33773" y="214325"/>
                  <a:pt x="33773" y="186282"/>
                </a:cubicBezTo>
                <a:lnTo>
                  <a:pt x="33773" y="84621"/>
                </a:lnTo>
                <a:cubicBezTo>
                  <a:pt x="33773" y="56576"/>
                  <a:pt x="56507" y="33842"/>
                  <a:pt x="84551" y="33842"/>
                </a:cubicBezTo>
                <a:lnTo>
                  <a:pt x="163531" y="33830"/>
                </a:lnTo>
                <a:lnTo>
                  <a:pt x="163549" y="16926"/>
                </a:lnTo>
                <a:cubicBezTo>
                  <a:pt x="163549" y="8357"/>
                  <a:pt x="169915" y="1275"/>
                  <a:pt x="178177" y="155"/>
                </a:cubicBezTo>
                <a:lnTo>
                  <a:pt x="180475" y="0"/>
                </a:lnTo>
                <a:lnTo>
                  <a:pt x="178177" y="155"/>
                </a:lnTo>
                <a:close/>
                <a:moveTo>
                  <a:pt x="276384" y="67694"/>
                </a:moveTo>
                <a:lnTo>
                  <a:pt x="84551" y="67694"/>
                </a:lnTo>
                <a:cubicBezTo>
                  <a:pt x="75203" y="67694"/>
                  <a:pt x="67625" y="75272"/>
                  <a:pt x="67625" y="84621"/>
                </a:cubicBezTo>
                <a:lnTo>
                  <a:pt x="67625" y="186282"/>
                </a:lnTo>
                <a:cubicBezTo>
                  <a:pt x="67625" y="195630"/>
                  <a:pt x="75203" y="203208"/>
                  <a:pt x="84551" y="203208"/>
                </a:cubicBezTo>
                <a:lnTo>
                  <a:pt x="276384" y="203208"/>
                </a:lnTo>
                <a:cubicBezTo>
                  <a:pt x="285732" y="203208"/>
                  <a:pt x="293310" y="195630"/>
                  <a:pt x="293310" y="186282"/>
                </a:cubicBezTo>
                <a:lnTo>
                  <a:pt x="293310" y="84621"/>
                </a:lnTo>
                <a:cubicBezTo>
                  <a:pt x="293310" y="75272"/>
                  <a:pt x="285732" y="67694"/>
                  <a:pt x="276384" y="67694"/>
                </a:cubicBezTo>
                <a:close/>
                <a:moveTo>
                  <a:pt x="129672" y="101547"/>
                </a:moveTo>
                <a:cubicBezTo>
                  <a:pt x="145243" y="101547"/>
                  <a:pt x="157866" y="114170"/>
                  <a:pt x="157866" y="129741"/>
                </a:cubicBezTo>
                <a:cubicBezTo>
                  <a:pt x="157866" y="145313"/>
                  <a:pt x="145243" y="157936"/>
                  <a:pt x="129672" y="157936"/>
                </a:cubicBezTo>
                <a:cubicBezTo>
                  <a:pt x="114101" y="157936"/>
                  <a:pt x="101478" y="145313"/>
                  <a:pt x="101478" y="129741"/>
                </a:cubicBezTo>
                <a:cubicBezTo>
                  <a:pt x="101478" y="114170"/>
                  <a:pt x="114101" y="101547"/>
                  <a:pt x="129672" y="101547"/>
                </a:cubicBezTo>
                <a:close/>
                <a:moveTo>
                  <a:pt x="231067" y="101547"/>
                </a:moveTo>
                <a:cubicBezTo>
                  <a:pt x="246639" y="101547"/>
                  <a:pt x="259261" y="114170"/>
                  <a:pt x="259261" y="129741"/>
                </a:cubicBezTo>
                <a:cubicBezTo>
                  <a:pt x="259261" y="145313"/>
                  <a:pt x="246639" y="157936"/>
                  <a:pt x="231067" y="157936"/>
                </a:cubicBezTo>
                <a:cubicBezTo>
                  <a:pt x="215494" y="157936"/>
                  <a:pt x="202872" y="145313"/>
                  <a:pt x="202872" y="129741"/>
                </a:cubicBezTo>
                <a:cubicBezTo>
                  <a:pt x="202872" y="114170"/>
                  <a:pt x="215494" y="101547"/>
                  <a:pt x="231067" y="101547"/>
                </a:cubicBezTo>
                <a:close/>
              </a:path>
            </a:pathLst>
          </a:custGeom>
          <a:solidFill>
            <a:schemeClr val="accent3">
              <a:lumMod val="20000"/>
              <a:lumOff val="80000"/>
            </a:schemeClr>
          </a:solidFill>
          <a:ln w="15081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765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cs typeface="Arial"/>
              <a:sym typeface="Arial"/>
            </a:endParaRPr>
          </a:p>
        </p:txBody>
      </p:sp>
      <p:sp>
        <p:nvSpPr>
          <p:cNvPr id="52" name="Graphic 8">
            <a:extLst>
              <a:ext uri="{FF2B5EF4-FFF2-40B4-BE49-F238E27FC236}">
                <a16:creationId xmlns:a16="http://schemas.microsoft.com/office/drawing/2014/main" id="{E49D597C-5C49-79F8-5148-5132CFC0DBC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9173472" y="1438879"/>
            <a:ext cx="137216" cy="171530"/>
          </a:xfrm>
          <a:custGeom>
            <a:avLst/>
            <a:gdLst>
              <a:gd name="connsiteX0" fmla="*/ 310304 w 361083"/>
              <a:gd name="connsiteY0" fmla="*/ 270807 h 451381"/>
              <a:gd name="connsiteX1" fmla="*/ 361083 w 361083"/>
              <a:gd name="connsiteY1" fmla="*/ 321586 h 451381"/>
              <a:gd name="connsiteX2" fmla="*/ 361083 w 361083"/>
              <a:gd name="connsiteY2" fmla="*/ 342013 h 451381"/>
              <a:gd name="connsiteX3" fmla="*/ 331579 w 361083"/>
              <a:gd name="connsiteY3" fmla="*/ 406227 h 451381"/>
              <a:gd name="connsiteX4" fmla="*/ 180468 w 361083"/>
              <a:gd name="connsiteY4" fmla="*/ 451382 h 451381"/>
              <a:gd name="connsiteX5" fmla="*/ 29458 w 361083"/>
              <a:gd name="connsiteY5" fmla="*/ 406238 h 451381"/>
              <a:gd name="connsiteX6" fmla="*/ 0 w 361083"/>
              <a:gd name="connsiteY6" fmla="*/ 342063 h 451381"/>
              <a:gd name="connsiteX7" fmla="*/ 0 w 361083"/>
              <a:gd name="connsiteY7" fmla="*/ 321586 h 451381"/>
              <a:gd name="connsiteX8" fmla="*/ 50779 w 361083"/>
              <a:gd name="connsiteY8" fmla="*/ 270807 h 451381"/>
              <a:gd name="connsiteX9" fmla="*/ 310304 w 361083"/>
              <a:gd name="connsiteY9" fmla="*/ 270807 h 451381"/>
              <a:gd name="connsiteX10" fmla="*/ 310304 w 361083"/>
              <a:gd name="connsiteY10" fmla="*/ 304660 h 451381"/>
              <a:gd name="connsiteX11" fmla="*/ 50779 w 361083"/>
              <a:gd name="connsiteY11" fmla="*/ 304660 h 451381"/>
              <a:gd name="connsiteX12" fmla="*/ 33853 w 361083"/>
              <a:gd name="connsiteY12" fmla="*/ 321586 h 451381"/>
              <a:gd name="connsiteX13" fmla="*/ 33853 w 361083"/>
              <a:gd name="connsiteY13" fmla="*/ 342063 h 451381"/>
              <a:gd name="connsiteX14" fmla="*/ 51527 w 361083"/>
              <a:gd name="connsiteY14" fmla="*/ 380569 h 451381"/>
              <a:gd name="connsiteX15" fmla="*/ 180468 w 361083"/>
              <a:gd name="connsiteY15" fmla="*/ 417529 h 451381"/>
              <a:gd name="connsiteX16" fmla="*/ 309530 w 361083"/>
              <a:gd name="connsiteY16" fmla="*/ 380542 h 451381"/>
              <a:gd name="connsiteX17" fmla="*/ 327231 w 361083"/>
              <a:gd name="connsiteY17" fmla="*/ 342013 h 451381"/>
              <a:gd name="connsiteX18" fmla="*/ 327231 w 361083"/>
              <a:gd name="connsiteY18" fmla="*/ 321586 h 451381"/>
              <a:gd name="connsiteX19" fmla="*/ 310304 w 361083"/>
              <a:gd name="connsiteY19" fmla="*/ 304660 h 451381"/>
              <a:gd name="connsiteX20" fmla="*/ 178177 w 361083"/>
              <a:gd name="connsiteY20" fmla="*/ 155 h 451381"/>
              <a:gd name="connsiteX21" fmla="*/ 180475 w 361083"/>
              <a:gd name="connsiteY21" fmla="*/ 0 h 451381"/>
              <a:gd name="connsiteX22" fmla="*/ 197245 w 361083"/>
              <a:gd name="connsiteY22" fmla="*/ 14630 h 451381"/>
              <a:gd name="connsiteX23" fmla="*/ 197401 w 361083"/>
              <a:gd name="connsiteY23" fmla="*/ 16926 h 451381"/>
              <a:gd name="connsiteX24" fmla="*/ 197383 w 361083"/>
              <a:gd name="connsiteY24" fmla="*/ 33830 h 451381"/>
              <a:gd name="connsiteX25" fmla="*/ 276384 w 361083"/>
              <a:gd name="connsiteY25" fmla="*/ 33842 h 451381"/>
              <a:gd name="connsiteX26" fmla="*/ 327163 w 361083"/>
              <a:gd name="connsiteY26" fmla="*/ 84621 h 451381"/>
              <a:gd name="connsiteX27" fmla="*/ 327163 w 361083"/>
              <a:gd name="connsiteY27" fmla="*/ 186282 h 451381"/>
              <a:gd name="connsiteX28" fmla="*/ 276384 w 361083"/>
              <a:gd name="connsiteY28" fmla="*/ 237061 h 451381"/>
              <a:gd name="connsiteX29" fmla="*/ 84551 w 361083"/>
              <a:gd name="connsiteY29" fmla="*/ 237061 h 451381"/>
              <a:gd name="connsiteX30" fmla="*/ 33773 w 361083"/>
              <a:gd name="connsiteY30" fmla="*/ 186282 h 451381"/>
              <a:gd name="connsiteX31" fmla="*/ 33773 w 361083"/>
              <a:gd name="connsiteY31" fmla="*/ 84621 h 451381"/>
              <a:gd name="connsiteX32" fmla="*/ 84551 w 361083"/>
              <a:gd name="connsiteY32" fmla="*/ 33842 h 451381"/>
              <a:gd name="connsiteX33" fmla="*/ 163531 w 361083"/>
              <a:gd name="connsiteY33" fmla="*/ 33830 h 451381"/>
              <a:gd name="connsiteX34" fmla="*/ 163549 w 361083"/>
              <a:gd name="connsiteY34" fmla="*/ 16926 h 451381"/>
              <a:gd name="connsiteX35" fmla="*/ 178177 w 361083"/>
              <a:gd name="connsiteY35" fmla="*/ 155 h 451381"/>
              <a:gd name="connsiteX36" fmla="*/ 180475 w 361083"/>
              <a:gd name="connsiteY36" fmla="*/ 0 h 451381"/>
              <a:gd name="connsiteX37" fmla="*/ 178177 w 361083"/>
              <a:gd name="connsiteY37" fmla="*/ 155 h 451381"/>
              <a:gd name="connsiteX38" fmla="*/ 276384 w 361083"/>
              <a:gd name="connsiteY38" fmla="*/ 67694 h 451381"/>
              <a:gd name="connsiteX39" fmla="*/ 84551 w 361083"/>
              <a:gd name="connsiteY39" fmla="*/ 67694 h 451381"/>
              <a:gd name="connsiteX40" fmla="*/ 67625 w 361083"/>
              <a:gd name="connsiteY40" fmla="*/ 84621 h 451381"/>
              <a:gd name="connsiteX41" fmla="*/ 67625 w 361083"/>
              <a:gd name="connsiteY41" fmla="*/ 186282 h 451381"/>
              <a:gd name="connsiteX42" fmla="*/ 84551 w 361083"/>
              <a:gd name="connsiteY42" fmla="*/ 203208 h 451381"/>
              <a:gd name="connsiteX43" fmla="*/ 276384 w 361083"/>
              <a:gd name="connsiteY43" fmla="*/ 203208 h 451381"/>
              <a:gd name="connsiteX44" fmla="*/ 293310 w 361083"/>
              <a:gd name="connsiteY44" fmla="*/ 186282 h 451381"/>
              <a:gd name="connsiteX45" fmla="*/ 293310 w 361083"/>
              <a:gd name="connsiteY45" fmla="*/ 84621 h 451381"/>
              <a:gd name="connsiteX46" fmla="*/ 276384 w 361083"/>
              <a:gd name="connsiteY46" fmla="*/ 67694 h 451381"/>
              <a:gd name="connsiteX47" fmla="*/ 129672 w 361083"/>
              <a:gd name="connsiteY47" fmla="*/ 101547 h 451381"/>
              <a:gd name="connsiteX48" fmla="*/ 157866 w 361083"/>
              <a:gd name="connsiteY48" fmla="*/ 129741 h 451381"/>
              <a:gd name="connsiteX49" fmla="*/ 129672 w 361083"/>
              <a:gd name="connsiteY49" fmla="*/ 157936 h 451381"/>
              <a:gd name="connsiteX50" fmla="*/ 101478 w 361083"/>
              <a:gd name="connsiteY50" fmla="*/ 129741 h 451381"/>
              <a:gd name="connsiteX51" fmla="*/ 129672 w 361083"/>
              <a:gd name="connsiteY51" fmla="*/ 101547 h 451381"/>
              <a:gd name="connsiteX52" fmla="*/ 231067 w 361083"/>
              <a:gd name="connsiteY52" fmla="*/ 101547 h 451381"/>
              <a:gd name="connsiteX53" fmla="*/ 259261 w 361083"/>
              <a:gd name="connsiteY53" fmla="*/ 129741 h 451381"/>
              <a:gd name="connsiteX54" fmla="*/ 231067 w 361083"/>
              <a:gd name="connsiteY54" fmla="*/ 157936 h 451381"/>
              <a:gd name="connsiteX55" fmla="*/ 202872 w 361083"/>
              <a:gd name="connsiteY55" fmla="*/ 129741 h 451381"/>
              <a:gd name="connsiteX56" fmla="*/ 231067 w 361083"/>
              <a:gd name="connsiteY56" fmla="*/ 101547 h 451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</a:cxnLst>
            <a:rect l="l" t="t" r="r" b="b"/>
            <a:pathLst>
              <a:path w="361083" h="451381">
                <a:moveTo>
                  <a:pt x="310304" y="270807"/>
                </a:moveTo>
                <a:cubicBezTo>
                  <a:pt x="338350" y="270807"/>
                  <a:pt x="361083" y="293543"/>
                  <a:pt x="361083" y="321586"/>
                </a:cubicBezTo>
                <a:lnTo>
                  <a:pt x="361083" y="342013"/>
                </a:lnTo>
                <a:cubicBezTo>
                  <a:pt x="361083" y="366696"/>
                  <a:pt x="350309" y="390149"/>
                  <a:pt x="331579" y="406227"/>
                </a:cubicBezTo>
                <a:cubicBezTo>
                  <a:pt x="296251" y="436557"/>
                  <a:pt x="245691" y="451382"/>
                  <a:pt x="180468" y="451382"/>
                </a:cubicBezTo>
                <a:cubicBezTo>
                  <a:pt x="115256" y="451382"/>
                  <a:pt x="64729" y="436563"/>
                  <a:pt x="29458" y="406238"/>
                </a:cubicBezTo>
                <a:cubicBezTo>
                  <a:pt x="10757" y="390161"/>
                  <a:pt x="0" y="366726"/>
                  <a:pt x="0" y="342063"/>
                </a:cubicBezTo>
                <a:lnTo>
                  <a:pt x="0" y="321586"/>
                </a:lnTo>
                <a:cubicBezTo>
                  <a:pt x="0" y="293543"/>
                  <a:pt x="22735" y="270807"/>
                  <a:pt x="50779" y="270807"/>
                </a:cubicBezTo>
                <a:lnTo>
                  <a:pt x="310304" y="270807"/>
                </a:lnTo>
                <a:close/>
                <a:moveTo>
                  <a:pt x="310304" y="304660"/>
                </a:moveTo>
                <a:lnTo>
                  <a:pt x="50779" y="304660"/>
                </a:lnTo>
                <a:cubicBezTo>
                  <a:pt x="41431" y="304660"/>
                  <a:pt x="33853" y="312239"/>
                  <a:pt x="33853" y="321586"/>
                </a:cubicBezTo>
                <a:lnTo>
                  <a:pt x="33853" y="342063"/>
                </a:lnTo>
                <a:cubicBezTo>
                  <a:pt x="33853" y="356861"/>
                  <a:pt x="40307" y="370921"/>
                  <a:pt x="51527" y="380569"/>
                </a:cubicBezTo>
                <a:cubicBezTo>
                  <a:pt x="79920" y="404979"/>
                  <a:pt x="122710" y="417529"/>
                  <a:pt x="180468" y="417529"/>
                </a:cubicBezTo>
                <a:cubicBezTo>
                  <a:pt x="238241" y="417529"/>
                  <a:pt x="281074" y="404972"/>
                  <a:pt x="309530" y="380542"/>
                </a:cubicBezTo>
                <a:cubicBezTo>
                  <a:pt x="320765" y="370894"/>
                  <a:pt x="327231" y="356822"/>
                  <a:pt x="327231" y="342013"/>
                </a:cubicBezTo>
                <a:lnTo>
                  <a:pt x="327231" y="321586"/>
                </a:lnTo>
                <a:cubicBezTo>
                  <a:pt x="327231" y="312239"/>
                  <a:pt x="319652" y="304660"/>
                  <a:pt x="310304" y="304660"/>
                </a:cubicBezTo>
                <a:close/>
                <a:moveTo>
                  <a:pt x="178177" y="155"/>
                </a:moveTo>
                <a:lnTo>
                  <a:pt x="180475" y="0"/>
                </a:lnTo>
                <a:cubicBezTo>
                  <a:pt x="189044" y="0"/>
                  <a:pt x="196126" y="6368"/>
                  <a:pt x="197245" y="14630"/>
                </a:cubicBezTo>
                <a:lnTo>
                  <a:pt x="197401" y="16926"/>
                </a:lnTo>
                <a:lnTo>
                  <a:pt x="197383" y="33830"/>
                </a:lnTo>
                <a:lnTo>
                  <a:pt x="276384" y="33842"/>
                </a:lnTo>
                <a:cubicBezTo>
                  <a:pt x="304427" y="33842"/>
                  <a:pt x="327163" y="56576"/>
                  <a:pt x="327163" y="84621"/>
                </a:cubicBezTo>
                <a:lnTo>
                  <a:pt x="327163" y="186282"/>
                </a:lnTo>
                <a:cubicBezTo>
                  <a:pt x="327163" y="214325"/>
                  <a:pt x="304427" y="237061"/>
                  <a:pt x="276384" y="237061"/>
                </a:cubicBezTo>
                <a:lnTo>
                  <a:pt x="84551" y="237061"/>
                </a:lnTo>
                <a:cubicBezTo>
                  <a:pt x="56507" y="237061"/>
                  <a:pt x="33773" y="214325"/>
                  <a:pt x="33773" y="186282"/>
                </a:cubicBezTo>
                <a:lnTo>
                  <a:pt x="33773" y="84621"/>
                </a:lnTo>
                <a:cubicBezTo>
                  <a:pt x="33773" y="56576"/>
                  <a:pt x="56507" y="33842"/>
                  <a:pt x="84551" y="33842"/>
                </a:cubicBezTo>
                <a:lnTo>
                  <a:pt x="163531" y="33830"/>
                </a:lnTo>
                <a:lnTo>
                  <a:pt x="163549" y="16926"/>
                </a:lnTo>
                <a:cubicBezTo>
                  <a:pt x="163549" y="8357"/>
                  <a:pt x="169915" y="1275"/>
                  <a:pt x="178177" y="155"/>
                </a:cubicBezTo>
                <a:lnTo>
                  <a:pt x="180475" y="0"/>
                </a:lnTo>
                <a:lnTo>
                  <a:pt x="178177" y="155"/>
                </a:lnTo>
                <a:close/>
                <a:moveTo>
                  <a:pt x="276384" y="67694"/>
                </a:moveTo>
                <a:lnTo>
                  <a:pt x="84551" y="67694"/>
                </a:lnTo>
                <a:cubicBezTo>
                  <a:pt x="75203" y="67694"/>
                  <a:pt x="67625" y="75272"/>
                  <a:pt x="67625" y="84621"/>
                </a:cubicBezTo>
                <a:lnTo>
                  <a:pt x="67625" y="186282"/>
                </a:lnTo>
                <a:cubicBezTo>
                  <a:pt x="67625" y="195630"/>
                  <a:pt x="75203" y="203208"/>
                  <a:pt x="84551" y="203208"/>
                </a:cubicBezTo>
                <a:lnTo>
                  <a:pt x="276384" y="203208"/>
                </a:lnTo>
                <a:cubicBezTo>
                  <a:pt x="285732" y="203208"/>
                  <a:pt x="293310" y="195630"/>
                  <a:pt x="293310" y="186282"/>
                </a:cubicBezTo>
                <a:lnTo>
                  <a:pt x="293310" y="84621"/>
                </a:lnTo>
                <a:cubicBezTo>
                  <a:pt x="293310" y="75272"/>
                  <a:pt x="285732" y="67694"/>
                  <a:pt x="276384" y="67694"/>
                </a:cubicBezTo>
                <a:close/>
                <a:moveTo>
                  <a:pt x="129672" y="101547"/>
                </a:moveTo>
                <a:cubicBezTo>
                  <a:pt x="145243" y="101547"/>
                  <a:pt x="157866" y="114170"/>
                  <a:pt x="157866" y="129741"/>
                </a:cubicBezTo>
                <a:cubicBezTo>
                  <a:pt x="157866" y="145313"/>
                  <a:pt x="145243" y="157936"/>
                  <a:pt x="129672" y="157936"/>
                </a:cubicBezTo>
                <a:cubicBezTo>
                  <a:pt x="114101" y="157936"/>
                  <a:pt x="101478" y="145313"/>
                  <a:pt x="101478" y="129741"/>
                </a:cubicBezTo>
                <a:cubicBezTo>
                  <a:pt x="101478" y="114170"/>
                  <a:pt x="114101" y="101547"/>
                  <a:pt x="129672" y="101547"/>
                </a:cubicBezTo>
                <a:close/>
                <a:moveTo>
                  <a:pt x="231067" y="101547"/>
                </a:moveTo>
                <a:cubicBezTo>
                  <a:pt x="246639" y="101547"/>
                  <a:pt x="259261" y="114170"/>
                  <a:pt x="259261" y="129741"/>
                </a:cubicBezTo>
                <a:cubicBezTo>
                  <a:pt x="259261" y="145313"/>
                  <a:pt x="246639" y="157936"/>
                  <a:pt x="231067" y="157936"/>
                </a:cubicBezTo>
                <a:cubicBezTo>
                  <a:pt x="215494" y="157936"/>
                  <a:pt x="202872" y="145313"/>
                  <a:pt x="202872" y="129741"/>
                </a:cubicBezTo>
                <a:cubicBezTo>
                  <a:pt x="202872" y="114170"/>
                  <a:pt x="215494" y="101547"/>
                  <a:pt x="231067" y="101547"/>
                </a:cubicBezTo>
                <a:close/>
              </a:path>
            </a:pathLst>
          </a:custGeom>
          <a:solidFill>
            <a:schemeClr val="accent3">
              <a:lumMod val="20000"/>
              <a:lumOff val="80000"/>
            </a:schemeClr>
          </a:solidFill>
          <a:ln w="15081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765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cs typeface="Arial"/>
              <a:sym typeface="Arial"/>
            </a:endParaRPr>
          </a:p>
        </p:txBody>
      </p:sp>
      <p:sp>
        <p:nvSpPr>
          <p:cNvPr id="53" name="Graphic 8">
            <a:extLst>
              <a:ext uri="{FF2B5EF4-FFF2-40B4-BE49-F238E27FC236}">
                <a16:creationId xmlns:a16="http://schemas.microsoft.com/office/drawing/2014/main" id="{BC6F4D55-2652-98AC-1C1F-9A64FF8D35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8788456" y="1780083"/>
            <a:ext cx="137216" cy="171530"/>
          </a:xfrm>
          <a:custGeom>
            <a:avLst/>
            <a:gdLst>
              <a:gd name="connsiteX0" fmla="*/ 310304 w 361083"/>
              <a:gd name="connsiteY0" fmla="*/ 270807 h 451381"/>
              <a:gd name="connsiteX1" fmla="*/ 361083 w 361083"/>
              <a:gd name="connsiteY1" fmla="*/ 321586 h 451381"/>
              <a:gd name="connsiteX2" fmla="*/ 361083 w 361083"/>
              <a:gd name="connsiteY2" fmla="*/ 342013 h 451381"/>
              <a:gd name="connsiteX3" fmla="*/ 331579 w 361083"/>
              <a:gd name="connsiteY3" fmla="*/ 406227 h 451381"/>
              <a:gd name="connsiteX4" fmla="*/ 180468 w 361083"/>
              <a:gd name="connsiteY4" fmla="*/ 451382 h 451381"/>
              <a:gd name="connsiteX5" fmla="*/ 29458 w 361083"/>
              <a:gd name="connsiteY5" fmla="*/ 406238 h 451381"/>
              <a:gd name="connsiteX6" fmla="*/ 0 w 361083"/>
              <a:gd name="connsiteY6" fmla="*/ 342063 h 451381"/>
              <a:gd name="connsiteX7" fmla="*/ 0 w 361083"/>
              <a:gd name="connsiteY7" fmla="*/ 321586 h 451381"/>
              <a:gd name="connsiteX8" fmla="*/ 50779 w 361083"/>
              <a:gd name="connsiteY8" fmla="*/ 270807 h 451381"/>
              <a:gd name="connsiteX9" fmla="*/ 310304 w 361083"/>
              <a:gd name="connsiteY9" fmla="*/ 270807 h 451381"/>
              <a:gd name="connsiteX10" fmla="*/ 310304 w 361083"/>
              <a:gd name="connsiteY10" fmla="*/ 304660 h 451381"/>
              <a:gd name="connsiteX11" fmla="*/ 50779 w 361083"/>
              <a:gd name="connsiteY11" fmla="*/ 304660 h 451381"/>
              <a:gd name="connsiteX12" fmla="*/ 33853 w 361083"/>
              <a:gd name="connsiteY12" fmla="*/ 321586 h 451381"/>
              <a:gd name="connsiteX13" fmla="*/ 33853 w 361083"/>
              <a:gd name="connsiteY13" fmla="*/ 342063 h 451381"/>
              <a:gd name="connsiteX14" fmla="*/ 51527 w 361083"/>
              <a:gd name="connsiteY14" fmla="*/ 380569 h 451381"/>
              <a:gd name="connsiteX15" fmla="*/ 180468 w 361083"/>
              <a:gd name="connsiteY15" fmla="*/ 417529 h 451381"/>
              <a:gd name="connsiteX16" fmla="*/ 309530 w 361083"/>
              <a:gd name="connsiteY16" fmla="*/ 380542 h 451381"/>
              <a:gd name="connsiteX17" fmla="*/ 327231 w 361083"/>
              <a:gd name="connsiteY17" fmla="*/ 342013 h 451381"/>
              <a:gd name="connsiteX18" fmla="*/ 327231 w 361083"/>
              <a:gd name="connsiteY18" fmla="*/ 321586 h 451381"/>
              <a:gd name="connsiteX19" fmla="*/ 310304 w 361083"/>
              <a:gd name="connsiteY19" fmla="*/ 304660 h 451381"/>
              <a:gd name="connsiteX20" fmla="*/ 178177 w 361083"/>
              <a:gd name="connsiteY20" fmla="*/ 155 h 451381"/>
              <a:gd name="connsiteX21" fmla="*/ 180475 w 361083"/>
              <a:gd name="connsiteY21" fmla="*/ 0 h 451381"/>
              <a:gd name="connsiteX22" fmla="*/ 197245 w 361083"/>
              <a:gd name="connsiteY22" fmla="*/ 14630 h 451381"/>
              <a:gd name="connsiteX23" fmla="*/ 197401 w 361083"/>
              <a:gd name="connsiteY23" fmla="*/ 16926 h 451381"/>
              <a:gd name="connsiteX24" fmla="*/ 197383 w 361083"/>
              <a:gd name="connsiteY24" fmla="*/ 33830 h 451381"/>
              <a:gd name="connsiteX25" fmla="*/ 276384 w 361083"/>
              <a:gd name="connsiteY25" fmla="*/ 33842 h 451381"/>
              <a:gd name="connsiteX26" fmla="*/ 327163 w 361083"/>
              <a:gd name="connsiteY26" fmla="*/ 84621 h 451381"/>
              <a:gd name="connsiteX27" fmla="*/ 327163 w 361083"/>
              <a:gd name="connsiteY27" fmla="*/ 186282 h 451381"/>
              <a:gd name="connsiteX28" fmla="*/ 276384 w 361083"/>
              <a:gd name="connsiteY28" fmla="*/ 237061 h 451381"/>
              <a:gd name="connsiteX29" fmla="*/ 84551 w 361083"/>
              <a:gd name="connsiteY29" fmla="*/ 237061 h 451381"/>
              <a:gd name="connsiteX30" fmla="*/ 33773 w 361083"/>
              <a:gd name="connsiteY30" fmla="*/ 186282 h 451381"/>
              <a:gd name="connsiteX31" fmla="*/ 33773 w 361083"/>
              <a:gd name="connsiteY31" fmla="*/ 84621 h 451381"/>
              <a:gd name="connsiteX32" fmla="*/ 84551 w 361083"/>
              <a:gd name="connsiteY32" fmla="*/ 33842 h 451381"/>
              <a:gd name="connsiteX33" fmla="*/ 163531 w 361083"/>
              <a:gd name="connsiteY33" fmla="*/ 33830 h 451381"/>
              <a:gd name="connsiteX34" fmla="*/ 163549 w 361083"/>
              <a:gd name="connsiteY34" fmla="*/ 16926 h 451381"/>
              <a:gd name="connsiteX35" fmla="*/ 178177 w 361083"/>
              <a:gd name="connsiteY35" fmla="*/ 155 h 451381"/>
              <a:gd name="connsiteX36" fmla="*/ 180475 w 361083"/>
              <a:gd name="connsiteY36" fmla="*/ 0 h 451381"/>
              <a:gd name="connsiteX37" fmla="*/ 178177 w 361083"/>
              <a:gd name="connsiteY37" fmla="*/ 155 h 451381"/>
              <a:gd name="connsiteX38" fmla="*/ 276384 w 361083"/>
              <a:gd name="connsiteY38" fmla="*/ 67694 h 451381"/>
              <a:gd name="connsiteX39" fmla="*/ 84551 w 361083"/>
              <a:gd name="connsiteY39" fmla="*/ 67694 h 451381"/>
              <a:gd name="connsiteX40" fmla="*/ 67625 w 361083"/>
              <a:gd name="connsiteY40" fmla="*/ 84621 h 451381"/>
              <a:gd name="connsiteX41" fmla="*/ 67625 w 361083"/>
              <a:gd name="connsiteY41" fmla="*/ 186282 h 451381"/>
              <a:gd name="connsiteX42" fmla="*/ 84551 w 361083"/>
              <a:gd name="connsiteY42" fmla="*/ 203208 h 451381"/>
              <a:gd name="connsiteX43" fmla="*/ 276384 w 361083"/>
              <a:gd name="connsiteY43" fmla="*/ 203208 h 451381"/>
              <a:gd name="connsiteX44" fmla="*/ 293310 w 361083"/>
              <a:gd name="connsiteY44" fmla="*/ 186282 h 451381"/>
              <a:gd name="connsiteX45" fmla="*/ 293310 w 361083"/>
              <a:gd name="connsiteY45" fmla="*/ 84621 h 451381"/>
              <a:gd name="connsiteX46" fmla="*/ 276384 w 361083"/>
              <a:gd name="connsiteY46" fmla="*/ 67694 h 451381"/>
              <a:gd name="connsiteX47" fmla="*/ 129672 w 361083"/>
              <a:gd name="connsiteY47" fmla="*/ 101547 h 451381"/>
              <a:gd name="connsiteX48" fmla="*/ 157866 w 361083"/>
              <a:gd name="connsiteY48" fmla="*/ 129741 h 451381"/>
              <a:gd name="connsiteX49" fmla="*/ 129672 w 361083"/>
              <a:gd name="connsiteY49" fmla="*/ 157936 h 451381"/>
              <a:gd name="connsiteX50" fmla="*/ 101478 w 361083"/>
              <a:gd name="connsiteY50" fmla="*/ 129741 h 451381"/>
              <a:gd name="connsiteX51" fmla="*/ 129672 w 361083"/>
              <a:gd name="connsiteY51" fmla="*/ 101547 h 451381"/>
              <a:gd name="connsiteX52" fmla="*/ 231067 w 361083"/>
              <a:gd name="connsiteY52" fmla="*/ 101547 h 451381"/>
              <a:gd name="connsiteX53" fmla="*/ 259261 w 361083"/>
              <a:gd name="connsiteY53" fmla="*/ 129741 h 451381"/>
              <a:gd name="connsiteX54" fmla="*/ 231067 w 361083"/>
              <a:gd name="connsiteY54" fmla="*/ 157936 h 451381"/>
              <a:gd name="connsiteX55" fmla="*/ 202872 w 361083"/>
              <a:gd name="connsiteY55" fmla="*/ 129741 h 451381"/>
              <a:gd name="connsiteX56" fmla="*/ 231067 w 361083"/>
              <a:gd name="connsiteY56" fmla="*/ 101547 h 451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</a:cxnLst>
            <a:rect l="l" t="t" r="r" b="b"/>
            <a:pathLst>
              <a:path w="361083" h="451381">
                <a:moveTo>
                  <a:pt x="310304" y="270807"/>
                </a:moveTo>
                <a:cubicBezTo>
                  <a:pt x="338350" y="270807"/>
                  <a:pt x="361083" y="293543"/>
                  <a:pt x="361083" y="321586"/>
                </a:cubicBezTo>
                <a:lnTo>
                  <a:pt x="361083" y="342013"/>
                </a:lnTo>
                <a:cubicBezTo>
                  <a:pt x="361083" y="366696"/>
                  <a:pt x="350309" y="390149"/>
                  <a:pt x="331579" y="406227"/>
                </a:cubicBezTo>
                <a:cubicBezTo>
                  <a:pt x="296251" y="436557"/>
                  <a:pt x="245691" y="451382"/>
                  <a:pt x="180468" y="451382"/>
                </a:cubicBezTo>
                <a:cubicBezTo>
                  <a:pt x="115256" y="451382"/>
                  <a:pt x="64729" y="436563"/>
                  <a:pt x="29458" y="406238"/>
                </a:cubicBezTo>
                <a:cubicBezTo>
                  <a:pt x="10757" y="390161"/>
                  <a:pt x="0" y="366726"/>
                  <a:pt x="0" y="342063"/>
                </a:cubicBezTo>
                <a:lnTo>
                  <a:pt x="0" y="321586"/>
                </a:lnTo>
                <a:cubicBezTo>
                  <a:pt x="0" y="293543"/>
                  <a:pt x="22735" y="270807"/>
                  <a:pt x="50779" y="270807"/>
                </a:cubicBezTo>
                <a:lnTo>
                  <a:pt x="310304" y="270807"/>
                </a:lnTo>
                <a:close/>
                <a:moveTo>
                  <a:pt x="310304" y="304660"/>
                </a:moveTo>
                <a:lnTo>
                  <a:pt x="50779" y="304660"/>
                </a:lnTo>
                <a:cubicBezTo>
                  <a:pt x="41431" y="304660"/>
                  <a:pt x="33853" y="312239"/>
                  <a:pt x="33853" y="321586"/>
                </a:cubicBezTo>
                <a:lnTo>
                  <a:pt x="33853" y="342063"/>
                </a:lnTo>
                <a:cubicBezTo>
                  <a:pt x="33853" y="356861"/>
                  <a:pt x="40307" y="370921"/>
                  <a:pt x="51527" y="380569"/>
                </a:cubicBezTo>
                <a:cubicBezTo>
                  <a:pt x="79920" y="404979"/>
                  <a:pt x="122710" y="417529"/>
                  <a:pt x="180468" y="417529"/>
                </a:cubicBezTo>
                <a:cubicBezTo>
                  <a:pt x="238241" y="417529"/>
                  <a:pt x="281074" y="404972"/>
                  <a:pt x="309530" y="380542"/>
                </a:cubicBezTo>
                <a:cubicBezTo>
                  <a:pt x="320765" y="370894"/>
                  <a:pt x="327231" y="356822"/>
                  <a:pt x="327231" y="342013"/>
                </a:cubicBezTo>
                <a:lnTo>
                  <a:pt x="327231" y="321586"/>
                </a:lnTo>
                <a:cubicBezTo>
                  <a:pt x="327231" y="312239"/>
                  <a:pt x="319652" y="304660"/>
                  <a:pt x="310304" y="304660"/>
                </a:cubicBezTo>
                <a:close/>
                <a:moveTo>
                  <a:pt x="178177" y="155"/>
                </a:moveTo>
                <a:lnTo>
                  <a:pt x="180475" y="0"/>
                </a:lnTo>
                <a:cubicBezTo>
                  <a:pt x="189044" y="0"/>
                  <a:pt x="196126" y="6368"/>
                  <a:pt x="197245" y="14630"/>
                </a:cubicBezTo>
                <a:lnTo>
                  <a:pt x="197401" y="16926"/>
                </a:lnTo>
                <a:lnTo>
                  <a:pt x="197383" y="33830"/>
                </a:lnTo>
                <a:lnTo>
                  <a:pt x="276384" y="33842"/>
                </a:lnTo>
                <a:cubicBezTo>
                  <a:pt x="304427" y="33842"/>
                  <a:pt x="327163" y="56576"/>
                  <a:pt x="327163" y="84621"/>
                </a:cubicBezTo>
                <a:lnTo>
                  <a:pt x="327163" y="186282"/>
                </a:lnTo>
                <a:cubicBezTo>
                  <a:pt x="327163" y="214325"/>
                  <a:pt x="304427" y="237061"/>
                  <a:pt x="276384" y="237061"/>
                </a:cubicBezTo>
                <a:lnTo>
                  <a:pt x="84551" y="237061"/>
                </a:lnTo>
                <a:cubicBezTo>
                  <a:pt x="56507" y="237061"/>
                  <a:pt x="33773" y="214325"/>
                  <a:pt x="33773" y="186282"/>
                </a:cubicBezTo>
                <a:lnTo>
                  <a:pt x="33773" y="84621"/>
                </a:lnTo>
                <a:cubicBezTo>
                  <a:pt x="33773" y="56576"/>
                  <a:pt x="56507" y="33842"/>
                  <a:pt x="84551" y="33842"/>
                </a:cubicBezTo>
                <a:lnTo>
                  <a:pt x="163531" y="33830"/>
                </a:lnTo>
                <a:lnTo>
                  <a:pt x="163549" y="16926"/>
                </a:lnTo>
                <a:cubicBezTo>
                  <a:pt x="163549" y="8357"/>
                  <a:pt x="169915" y="1275"/>
                  <a:pt x="178177" y="155"/>
                </a:cubicBezTo>
                <a:lnTo>
                  <a:pt x="180475" y="0"/>
                </a:lnTo>
                <a:lnTo>
                  <a:pt x="178177" y="155"/>
                </a:lnTo>
                <a:close/>
                <a:moveTo>
                  <a:pt x="276384" y="67694"/>
                </a:moveTo>
                <a:lnTo>
                  <a:pt x="84551" y="67694"/>
                </a:lnTo>
                <a:cubicBezTo>
                  <a:pt x="75203" y="67694"/>
                  <a:pt x="67625" y="75272"/>
                  <a:pt x="67625" y="84621"/>
                </a:cubicBezTo>
                <a:lnTo>
                  <a:pt x="67625" y="186282"/>
                </a:lnTo>
                <a:cubicBezTo>
                  <a:pt x="67625" y="195630"/>
                  <a:pt x="75203" y="203208"/>
                  <a:pt x="84551" y="203208"/>
                </a:cubicBezTo>
                <a:lnTo>
                  <a:pt x="276384" y="203208"/>
                </a:lnTo>
                <a:cubicBezTo>
                  <a:pt x="285732" y="203208"/>
                  <a:pt x="293310" y="195630"/>
                  <a:pt x="293310" y="186282"/>
                </a:cubicBezTo>
                <a:lnTo>
                  <a:pt x="293310" y="84621"/>
                </a:lnTo>
                <a:cubicBezTo>
                  <a:pt x="293310" y="75272"/>
                  <a:pt x="285732" y="67694"/>
                  <a:pt x="276384" y="67694"/>
                </a:cubicBezTo>
                <a:close/>
                <a:moveTo>
                  <a:pt x="129672" y="101547"/>
                </a:moveTo>
                <a:cubicBezTo>
                  <a:pt x="145243" y="101547"/>
                  <a:pt x="157866" y="114170"/>
                  <a:pt x="157866" y="129741"/>
                </a:cubicBezTo>
                <a:cubicBezTo>
                  <a:pt x="157866" y="145313"/>
                  <a:pt x="145243" y="157936"/>
                  <a:pt x="129672" y="157936"/>
                </a:cubicBezTo>
                <a:cubicBezTo>
                  <a:pt x="114101" y="157936"/>
                  <a:pt x="101478" y="145313"/>
                  <a:pt x="101478" y="129741"/>
                </a:cubicBezTo>
                <a:cubicBezTo>
                  <a:pt x="101478" y="114170"/>
                  <a:pt x="114101" y="101547"/>
                  <a:pt x="129672" y="101547"/>
                </a:cubicBezTo>
                <a:close/>
                <a:moveTo>
                  <a:pt x="231067" y="101547"/>
                </a:moveTo>
                <a:cubicBezTo>
                  <a:pt x="246639" y="101547"/>
                  <a:pt x="259261" y="114170"/>
                  <a:pt x="259261" y="129741"/>
                </a:cubicBezTo>
                <a:cubicBezTo>
                  <a:pt x="259261" y="145313"/>
                  <a:pt x="246639" y="157936"/>
                  <a:pt x="231067" y="157936"/>
                </a:cubicBezTo>
                <a:cubicBezTo>
                  <a:pt x="215494" y="157936"/>
                  <a:pt x="202872" y="145313"/>
                  <a:pt x="202872" y="129741"/>
                </a:cubicBezTo>
                <a:cubicBezTo>
                  <a:pt x="202872" y="114170"/>
                  <a:pt x="215494" y="101547"/>
                  <a:pt x="231067" y="101547"/>
                </a:cubicBezTo>
                <a:close/>
              </a:path>
            </a:pathLst>
          </a:custGeom>
          <a:solidFill>
            <a:schemeClr val="accent3">
              <a:lumMod val="20000"/>
              <a:lumOff val="80000"/>
            </a:schemeClr>
          </a:solidFill>
          <a:ln w="15081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765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cs typeface="Arial"/>
              <a:sym typeface="Arial"/>
            </a:endParaRPr>
          </a:p>
        </p:txBody>
      </p:sp>
      <p:sp>
        <p:nvSpPr>
          <p:cNvPr id="54" name="Graphic 8">
            <a:extLst>
              <a:ext uri="{FF2B5EF4-FFF2-40B4-BE49-F238E27FC236}">
                <a16:creationId xmlns:a16="http://schemas.microsoft.com/office/drawing/2014/main" id="{CDABE325-0C5F-DD7A-7FF6-91DB6666F6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9558488" y="1780083"/>
            <a:ext cx="137216" cy="171530"/>
          </a:xfrm>
          <a:custGeom>
            <a:avLst/>
            <a:gdLst>
              <a:gd name="connsiteX0" fmla="*/ 310304 w 361083"/>
              <a:gd name="connsiteY0" fmla="*/ 270807 h 451381"/>
              <a:gd name="connsiteX1" fmla="*/ 361083 w 361083"/>
              <a:gd name="connsiteY1" fmla="*/ 321586 h 451381"/>
              <a:gd name="connsiteX2" fmla="*/ 361083 w 361083"/>
              <a:gd name="connsiteY2" fmla="*/ 342013 h 451381"/>
              <a:gd name="connsiteX3" fmla="*/ 331579 w 361083"/>
              <a:gd name="connsiteY3" fmla="*/ 406227 h 451381"/>
              <a:gd name="connsiteX4" fmla="*/ 180468 w 361083"/>
              <a:gd name="connsiteY4" fmla="*/ 451382 h 451381"/>
              <a:gd name="connsiteX5" fmla="*/ 29458 w 361083"/>
              <a:gd name="connsiteY5" fmla="*/ 406238 h 451381"/>
              <a:gd name="connsiteX6" fmla="*/ 0 w 361083"/>
              <a:gd name="connsiteY6" fmla="*/ 342063 h 451381"/>
              <a:gd name="connsiteX7" fmla="*/ 0 w 361083"/>
              <a:gd name="connsiteY7" fmla="*/ 321586 h 451381"/>
              <a:gd name="connsiteX8" fmla="*/ 50779 w 361083"/>
              <a:gd name="connsiteY8" fmla="*/ 270807 h 451381"/>
              <a:gd name="connsiteX9" fmla="*/ 310304 w 361083"/>
              <a:gd name="connsiteY9" fmla="*/ 270807 h 451381"/>
              <a:gd name="connsiteX10" fmla="*/ 310304 w 361083"/>
              <a:gd name="connsiteY10" fmla="*/ 304660 h 451381"/>
              <a:gd name="connsiteX11" fmla="*/ 50779 w 361083"/>
              <a:gd name="connsiteY11" fmla="*/ 304660 h 451381"/>
              <a:gd name="connsiteX12" fmla="*/ 33853 w 361083"/>
              <a:gd name="connsiteY12" fmla="*/ 321586 h 451381"/>
              <a:gd name="connsiteX13" fmla="*/ 33853 w 361083"/>
              <a:gd name="connsiteY13" fmla="*/ 342063 h 451381"/>
              <a:gd name="connsiteX14" fmla="*/ 51527 w 361083"/>
              <a:gd name="connsiteY14" fmla="*/ 380569 h 451381"/>
              <a:gd name="connsiteX15" fmla="*/ 180468 w 361083"/>
              <a:gd name="connsiteY15" fmla="*/ 417529 h 451381"/>
              <a:gd name="connsiteX16" fmla="*/ 309530 w 361083"/>
              <a:gd name="connsiteY16" fmla="*/ 380542 h 451381"/>
              <a:gd name="connsiteX17" fmla="*/ 327231 w 361083"/>
              <a:gd name="connsiteY17" fmla="*/ 342013 h 451381"/>
              <a:gd name="connsiteX18" fmla="*/ 327231 w 361083"/>
              <a:gd name="connsiteY18" fmla="*/ 321586 h 451381"/>
              <a:gd name="connsiteX19" fmla="*/ 310304 w 361083"/>
              <a:gd name="connsiteY19" fmla="*/ 304660 h 451381"/>
              <a:gd name="connsiteX20" fmla="*/ 178177 w 361083"/>
              <a:gd name="connsiteY20" fmla="*/ 155 h 451381"/>
              <a:gd name="connsiteX21" fmla="*/ 180475 w 361083"/>
              <a:gd name="connsiteY21" fmla="*/ 0 h 451381"/>
              <a:gd name="connsiteX22" fmla="*/ 197245 w 361083"/>
              <a:gd name="connsiteY22" fmla="*/ 14630 h 451381"/>
              <a:gd name="connsiteX23" fmla="*/ 197401 w 361083"/>
              <a:gd name="connsiteY23" fmla="*/ 16926 h 451381"/>
              <a:gd name="connsiteX24" fmla="*/ 197383 w 361083"/>
              <a:gd name="connsiteY24" fmla="*/ 33830 h 451381"/>
              <a:gd name="connsiteX25" fmla="*/ 276384 w 361083"/>
              <a:gd name="connsiteY25" fmla="*/ 33842 h 451381"/>
              <a:gd name="connsiteX26" fmla="*/ 327163 w 361083"/>
              <a:gd name="connsiteY26" fmla="*/ 84621 h 451381"/>
              <a:gd name="connsiteX27" fmla="*/ 327163 w 361083"/>
              <a:gd name="connsiteY27" fmla="*/ 186282 h 451381"/>
              <a:gd name="connsiteX28" fmla="*/ 276384 w 361083"/>
              <a:gd name="connsiteY28" fmla="*/ 237061 h 451381"/>
              <a:gd name="connsiteX29" fmla="*/ 84551 w 361083"/>
              <a:gd name="connsiteY29" fmla="*/ 237061 h 451381"/>
              <a:gd name="connsiteX30" fmla="*/ 33773 w 361083"/>
              <a:gd name="connsiteY30" fmla="*/ 186282 h 451381"/>
              <a:gd name="connsiteX31" fmla="*/ 33773 w 361083"/>
              <a:gd name="connsiteY31" fmla="*/ 84621 h 451381"/>
              <a:gd name="connsiteX32" fmla="*/ 84551 w 361083"/>
              <a:gd name="connsiteY32" fmla="*/ 33842 h 451381"/>
              <a:gd name="connsiteX33" fmla="*/ 163531 w 361083"/>
              <a:gd name="connsiteY33" fmla="*/ 33830 h 451381"/>
              <a:gd name="connsiteX34" fmla="*/ 163549 w 361083"/>
              <a:gd name="connsiteY34" fmla="*/ 16926 h 451381"/>
              <a:gd name="connsiteX35" fmla="*/ 178177 w 361083"/>
              <a:gd name="connsiteY35" fmla="*/ 155 h 451381"/>
              <a:gd name="connsiteX36" fmla="*/ 180475 w 361083"/>
              <a:gd name="connsiteY36" fmla="*/ 0 h 451381"/>
              <a:gd name="connsiteX37" fmla="*/ 178177 w 361083"/>
              <a:gd name="connsiteY37" fmla="*/ 155 h 451381"/>
              <a:gd name="connsiteX38" fmla="*/ 276384 w 361083"/>
              <a:gd name="connsiteY38" fmla="*/ 67694 h 451381"/>
              <a:gd name="connsiteX39" fmla="*/ 84551 w 361083"/>
              <a:gd name="connsiteY39" fmla="*/ 67694 h 451381"/>
              <a:gd name="connsiteX40" fmla="*/ 67625 w 361083"/>
              <a:gd name="connsiteY40" fmla="*/ 84621 h 451381"/>
              <a:gd name="connsiteX41" fmla="*/ 67625 w 361083"/>
              <a:gd name="connsiteY41" fmla="*/ 186282 h 451381"/>
              <a:gd name="connsiteX42" fmla="*/ 84551 w 361083"/>
              <a:gd name="connsiteY42" fmla="*/ 203208 h 451381"/>
              <a:gd name="connsiteX43" fmla="*/ 276384 w 361083"/>
              <a:gd name="connsiteY43" fmla="*/ 203208 h 451381"/>
              <a:gd name="connsiteX44" fmla="*/ 293310 w 361083"/>
              <a:gd name="connsiteY44" fmla="*/ 186282 h 451381"/>
              <a:gd name="connsiteX45" fmla="*/ 293310 w 361083"/>
              <a:gd name="connsiteY45" fmla="*/ 84621 h 451381"/>
              <a:gd name="connsiteX46" fmla="*/ 276384 w 361083"/>
              <a:gd name="connsiteY46" fmla="*/ 67694 h 451381"/>
              <a:gd name="connsiteX47" fmla="*/ 129672 w 361083"/>
              <a:gd name="connsiteY47" fmla="*/ 101547 h 451381"/>
              <a:gd name="connsiteX48" fmla="*/ 157866 w 361083"/>
              <a:gd name="connsiteY48" fmla="*/ 129741 h 451381"/>
              <a:gd name="connsiteX49" fmla="*/ 129672 w 361083"/>
              <a:gd name="connsiteY49" fmla="*/ 157936 h 451381"/>
              <a:gd name="connsiteX50" fmla="*/ 101478 w 361083"/>
              <a:gd name="connsiteY50" fmla="*/ 129741 h 451381"/>
              <a:gd name="connsiteX51" fmla="*/ 129672 w 361083"/>
              <a:gd name="connsiteY51" fmla="*/ 101547 h 451381"/>
              <a:gd name="connsiteX52" fmla="*/ 231067 w 361083"/>
              <a:gd name="connsiteY52" fmla="*/ 101547 h 451381"/>
              <a:gd name="connsiteX53" fmla="*/ 259261 w 361083"/>
              <a:gd name="connsiteY53" fmla="*/ 129741 h 451381"/>
              <a:gd name="connsiteX54" fmla="*/ 231067 w 361083"/>
              <a:gd name="connsiteY54" fmla="*/ 157936 h 451381"/>
              <a:gd name="connsiteX55" fmla="*/ 202872 w 361083"/>
              <a:gd name="connsiteY55" fmla="*/ 129741 h 451381"/>
              <a:gd name="connsiteX56" fmla="*/ 231067 w 361083"/>
              <a:gd name="connsiteY56" fmla="*/ 101547 h 451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</a:cxnLst>
            <a:rect l="l" t="t" r="r" b="b"/>
            <a:pathLst>
              <a:path w="361083" h="451381">
                <a:moveTo>
                  <a:pt x="310304" y="270807"/>
                </a:moveTo>
                <a:cubicBezTo>
                  <a:pt x="338350" y="270807"/>
                  <a:pt x="361083" y="293543"/>
                  <a:pt x="361083" y="321586"/>
                </a:cubicBezTo>
                <a:lnTo>
                  <a:pt x="361083" y="342013"/>
                </a:lnTo>
                <a:cubicBezTo>
                  <a:pt x="361083" y="366696"/>
                  <a:pt x="350309" y="390149"/>
                  <a:pt x="331579" y="406227"/>
                </a:cubicBezTo>
                <a:cubicBezTo>
                  <a:pt x="296251" y="436557"/>
                  <a:pt x="245691" y="451382"/>
                  <a:pt x="180468" y="451382"/>
                </a:cubicBezTo>
                <a:cubicBezTo>
                  <a:pt x="115256" y="451382"/>
                  <a:pt x="64729" y="436563"/>
                  <a:pt x="29458" y="406238"/>
                </a:cubicBezTo>
                <a:cubicBezTo>
                  <a:pt x="10757" y="390161"/>
                  <a:pt x="0" y="366726"/>
                  <a:pt x="0" y="342063"/>
                </a:cubicBezTo>
                <a:lnTo>
                  <a:pt x="0" y="321586"/>
                </a:lnTo>
                <a:cubicBezTo>
                  <a:pt x="0" y="293543"/>
                  <a:pt x="22735" y="270807"/>
                  <a:pt x="50779" y="270807"/>
                </a:cubicBezTo>
                <a:lnTo>
                  <a:pt x="310304" y="270807"/>
                </a:lnTo>
                <a:close/>
                <a:moveTo>
                  <a:pt x="310304" y="304660"/>
                </a:moveTo>
                <a:lnTo>
                  <a:pt x="50779" y="304660"/>
                </a:lnTo>
                <a:cubicBezTo>
                  <a:pt x="41431" y="304660"/>
                  <a:pt x="33853" y="312239"/>
                  <a:pt x="33853" y="321586"/>
                </a:cubicBezTo>
                <a:lnTo>
                  <a:pt x="33853" y="342063"/>
                </a:lnTo>
                <a:cubicBezTo>
                  <a:pt x="33853" y="356861"/>
                  <a:pt x="40307" y="370921"/>
                  <a:pt x="51527" y="380569"/>
                </a:cubicBezTo>
                <a:cubicBezTo>
                  <a:pt x="79920" y="404979"/>
                  <a:pt x="122710" y="417529"/>
                  <a:pt x="180468" y="417529"/>
                </a:cubicBezTo>
                <a:cubicBezTo>
                  <a:pt x="238241" y="417529"/>
                  <a:pt x="281074" y="404972"/>
                  <a:pt x="309530" y="380542"/>
                </a:cubicBezTo>
                <a:cubicBezTo>
                  <a:pt x="320765" y="370894"/>
                  <a:pt x="327231" y="356822"/>
                  <a:pt x="327231" y="342013"/>
                </a:cubicBezTo>
                <a:lnTo>
                  <a:pt x="327231" y="321586"/>
                </a:lnTo>
                <a:cubicBezTo>
                  <a:pt x="327231" y="312239"/>
                  <a:pt x="319652" y="304660"/>
                  <a:pt x="310304" y="304660"/>
                </a:cubicBezTo>
                <a:close/>
                <a:moveTo>
                  <a:pt x="178177" y="155"/>
                </a:moveTo>
                <a:lnTo>
                  <a:pt x="180475" y="0"/>
                </a:lnTo>
                <a:cubicBezTo>
                  <a:pt x="189044" y="0"/>
                  <a:pt x="196126" y="6368"/>
                  <a:pt x="197245" y="14630"/>
                </a:cubicBezTo>
                <a:lnTo>
                  <a:pt x="197401" y="16926"/>
                </a:lnTo>
                <a:lnTo>
                  <a:pt x="197383" y="33830"/>
                </a:lnTo>
                <a:lnTo>
                  <a:pt x="276384" y="33842"/>
                </a:lnTo>
                <a:cubicBezTo>
                  <a:pt x="304427" y="33842"/>
                  <a:pt x="327163" y="56576"/>
                  <a:pt x="327163" y="84621"/>
                </a:cubicBezTo>
                <a:lnTo>
                  <a:pt x="327163" y="186282"/>
                </a:lnTo>
                <a:cubicBezTo>
                  <a:pt x="327163" y="214325"/>
                  <a:pt x="304427" y="237061"/>
                  <a:pt x="276384" y="237061"/>
                </a:cubicBezTo>
                <a:lnTo>
                  <a:pt x="84551" y="237061"/>
                </a:lnTo>
                <a:cubicBezTo>
                  <a:pt x="56507" y="237061"/>
                  <a:pt x="33773" y="214325"/>
                  <a:pt x="33773" y="186282"/>
                </a:cubicBezTo>
                <a:lnTo>
                  <a:pt x="33773" y="84621"/>
                </a:lnTo>
                <a:cubicBezTo>
                  <a:pt x="33773" y="56576"/>
                  <a:pt x="56507" y="33842"/>
                  <a:pt x="84551" y="33842"/>
                </a:cubicBezTo>
                <a:lnTo>
                  <a:pt x="163531" y="33830"/>
                </a:lnTo>
                <a:lnTo>
                  <a:pt x="163549" y="16926"/>
                </a:lnTo>
                <a:cubicBezTo>
                  <a:pt x="163549" y="8357"/>
                  <a:pt x="169915" y="1275"/>
                  <a:pt x="178177" y="155"/>
                </a:cubicBezTo>
                <a:lnTo>
                  <a:pt x="180475" y="0"/>
                </a:lnTo>
                <a:lnTo>
                  <a:pt x="178177" y="155"/>
                </a:lnTo>
                <a:close/>
                <a:moveTo>
                  <a:pt x="276384" y="67694"/>
                </a:moveTo>
                <a:lnTo>
                  <a:pt x="84551" y="67694"/>
                </a:lnTo>
                <a:cubicBezTo>
                  <a:pt x="75203" y="67694"/>
                  <a:pt x="67625" y="75272"/>
                  <a:pt x="67625" y="84621"/>
                </a:cubicBezTo>
                <a:lnTo>
                  <a:pt x="67625" y="186282"/>
                </a:lnTo>
                <a:cubicBezTo>
                  <a:pt x="67625" y="195630"/>
                  <a:pt x="75203" y="203208"/>
                  <a:pt x="84551" y="203208"/>
                </a:cubicBezTo>
                <a:lnTo>
                  <a:pt x="276384" y="203208"/>
                </a:lnTo>
                <a:cubicBezTo>
                  <a:pt x="285732" y="203208"/>
                  <a:pt x="293310" y="195630"/>
                  <a:pt x="293310" y="186282"/>
                </a:cubicBezTo>
                <a:lnTo>
                  <a:pt x="293310" y="84621"/>
                </a:lnTo>
                <a:cubicBezTo>
                  <a:pt x="293310" y="75272"/>
                  <a:pt x="285732" y="67694"/>
                  <a:pt x="276384" y="67694"/>
                </a:cubicBezTo>
                <a:close/>
                <a:moveTo>
                  <a:pt x="129672" y="101547"/>
                </a:moveTo>
                <a:cubicBezTo>
                  <a:pt x="145243" y="101547"/>
                  <a:pt x="157866" y="114170"/>
                  <a:pt x="157866" y="129741"/>
                </a:cubicBezTo>
                <a:cubicBezTo>
                  <a:pt x="157866" y="145313"/>
                  <a:pt x="145243" y="157936"/>
                  <a:pt x="129672" y="157936"/>
                </a:cubicBezTo>
                <a:cubicBezTo>
                  <a:pt x="114101" y="157936"/>
                  <a:pt x="101478" y="145313"/>
                  <a:pt x="101478" y="129741"/>
                </a:cubicBezTo>
                <a:cubicBezTo>
                  <a:pt x="101478" y="114170"/>
                  <a:pt x="114101" y="101547"/>
                  <a:pt x="129672" y="101547"/>
                </a:cubicBezTo>
                <a:close/>
                <a:moveTo>
                  <a:pt x="231067" y="101547"/>
                </a:moveTo>
                <a:cubicBezTo>
                  <a:pt x="246639" y="101547"/>
                  <a:pt x="259261" y="114170"/>
                  <a:pt x="259261" y="129741"/>
                </a:cubicBezTo>
                <a:cubicBezTo>
                  <a:pt x="259261" y="145313"/>
                  <a:pt x="246639" y="157936"/>
                  <a:pt x="231067" y="157936"/>
                </a:cubicBezTo>
                <a:cubicBezTo>
                  <a:pt x="215494" y="157936"/>
                  <a:pt x="202872" y="145313"/>
                  <a:pt x="202872" y="129741"/>
                </a:cubicBezTo>
                <a:cubicBezTo>
                  <a:pt x="202872" y="114170"/>
                  <a:pt x="215494" y="101547"/>
                  <a:pt x="231067" y="101547"/>
                </a:cubicBezTo>
                <a:close/>
              </a:path>
            </a:pathLst>
          </a:custGeom>
          <a:solidFill>
            <a:schemeClr val="accent3">
              <a:lumMod val="20000"/>
              <a:lumOff val="80000"/>
            </a:schemeClr>
          </a:solidFill>
          <a:ln w="15081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765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cs typeface="Arial"/>
              <a:sym typeface="Arial"/>
            </a:endParaRPr>
          </a:p>
        </p:txBody>
      </p:sp>
      <p:sp>
        <p:nvSpPr>
          <p:cNvPr id="56" name="Text Placeholder 1">
            <a:extLst>
              <a:ext uri="{FF2B5EF4-FFF2-40B4-BE49-F238E27FC236}">
                <a16:creationId xmlns:a16="http://schemas.microsoft.com/office/drawing/2014/main" id="{4DE3E2EA-F3C0-1459-ACD0-7DB4AA6D7C4D}"/>
              </a:ext>
            </a:extLst>
          </p:cNvPr>
          <p:cNvSpPr txBox="1">
            <a:spLocks/>
          </p:cNvSpPr>
          <p:nvPr/>
        </p:nvSpPr>
        <p:spPr>
          <a:xfrm rot="5400000">
            <a:off x="5216412" y="3163399"/>
            <a:ext cx="3051969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solidFill>
                  <a:schemeClr val="tx1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  <a:sym typeface="Arial"/>
              </a:rPr>
              <a:t>Organizational or technological boundaries</a:t>
            </a:r>
          </a:p>
        </p:txBody>
      </p:sp>
      <p:sp>
        <p:nvSpPr>
          <p:cNvPr id="58" name="Rectangle: Rounded Corners 57">
            <a:extLst>
              <a:ext uri="{FF2B5EF4-FFF2-40B4-BE49-F238E27FC236}">
                <a16:creationId xmlns:a16="http://schemas.microsoft.com/office/drawing/2014/main" id="{774D5389-7701-6DFE-E81C-DB2D7DE731D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 bwMode="auto">
          <a:xfrm>
            <a:off x="3437860" y="3773584"/>
            <a:ext cx="2277036" cy="507202"/>
          </a:xfrm>
          <a:prstGeom prst="roundRect">
            <a:avLst>
              <a:gd name="adj" fmla="val 12710"/>
            </a:avLst>
          </a:prstGeom>
          <a:noFill/>
          <a:ln w="6350">
            <a:solidFill>
              <a:schemeClr val="accent2">
                <a:lumMod val="60000"/>
                <a:lumOff val="4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2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  <a:sym typeface="Arial"/>
            </a:endParaRPr>
          </a:p>
        </p:txBody>
      </p:sp>
      <p:sp>
        <p:nvSpPr>
          <p:cNvPr id="59" name="Text Placeholder 1">
            <a:extLst>
              <a:ext uri="{FF2B5EF4-FFF2-40B4-BE49-F238E27FC236}">
                <a16:creationId xmlns:a16="http://schemas.microsoft.com/office/drawing/2014/main" id="{833C6F2F-DFE1-1E4B-1FD8-31EAA1223CE9}"/>
              </a:ext>
            </a:extLst>
          </p:cNvPr>
          <p:cNvSpPr txBox="1">
            <a:spLocks/>
          </p:cNvSpPr>
          <p:nvPr/>
        </p:nvSpPr>
        <p:spPr>
          <a:xfrm>
            <a:off x="3562169" y="3892061"/>
            <a:ext cx="203554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solidFill>
                  <a:schemeClr val="tx1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  <a:sym typeface="Arial"/>
              </a:rPr>
              <a:t>Database</a:t>
            </a:r>
          </a:p>
        </p:txBody>
      </p:sp>
      <p:sp>
        <p:nvSpPr>
          <p:cNvPr id="66" name="Rectangle: Rounded Corners 65">
            <a:extLst>
              <a:ext uri="{FF2B5EF4-FFF2-40B4-BE49-F238E27FC236}">
                <a16:creationId xmlns:a16="http://schemas.microsoft.com/office/drawing/2014/main" id="{BEAD592A-F59B-E635-F25B-583DD6AB1C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 bwMode="auto">
          <a:xfrm>
            <a:off x="7568630" y="2373727"/>
            <a:ext cx="2277036" cy="507201"/>
          </a:xfrm>
          <a:prstGeom prst="roundRect">
            <a:avLst>
              <a:gd name="adj" fmla="val 12710"/>
            </a:avLst>
          </a:prstGeom>
          <a:noFill/>
          <a:ln w="6350">
            <a:solidFill>
              <a:srgbClr val="00B05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2000" b="0" i="0" u="none" strike="noStrike" kern="0" cap="none" spc="0" normalizeH="0" baseline="0" noProof="0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  <a:sym typeface="Arial"/>
            </a:endParaRPr>
          </a:p>
        </p:txBody>
      </p:sp>
      <p:sp>
        <p:nvSpPr>
          <p:cNvPr id="67" name="Rectangle: Rounded Corners 66">
            <a:extLst>
              <a:ext uri="{FF2B5EF4-FFF2-40B4-BE49-F238E27FC236}">
                <a16:creationId xmlns:a16="http://schemas.microsoft.com/office/drawing/2014/main" id="{8516E7CB-D8C1-98B9-82F6-8EE3083B95B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 bwMode="auto">
          <a:xfrm>
            <a:off x="7565065" y="3059910"/>
            <a:ext cx="2277036" cy="507202"/>
          </a:xfrm>
          <a:prstGeom prst="roundRect">
            <a:avLst>
              <a:gd name="adj" fmla="val 12710"/>
            </a:avLst>
          </a:prstGeom>
          <a:noFill/>
          <a:ln w="6350">
            <a:solidFill>
              <a:schemeClr val="accent3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2000" b="0" i="0" u="none" strike="noStrike" kern="0" cap="none" spc="0" normalizeH="0" baseline="0" noProof="0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  <a:sym typeface="Arial"/>
            </a:endParaRPr>
          </a:p>
        </p:txBody>
      </p:sp>
      <p:sp>
        <p:nvSpPr>
          <p:cNvPr id="68" name="Text Placeholder 1">
            <a:extLst>
              <a:ext uri="{FF2B5EF4-FFF2-40B4-BE49-F238E27FC236}">
                <a16:creationId xmlns:a16="http://schemas.microsoft.com/office/drawing/2014/main" id="{8786D3B7-33A8-AC46-8B75-4DB13064EEFA}"/>
              </a:ext>
            </a:extLst>
          </p:cNvPr>
          <p:cNvSpPr txBox="1">
            <a:spLocks/>
          </p:cNvSpPr>
          <p:nvPr/>
        </p:nvSpPr>
        <p:spPr>
          <a:xfrm>
            <a:off x="7689374" y="2519605"/>
            <a:ext cx="203554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solidFill>
                  <a:schemeClr val="tx1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  <a:sym typeface="Arial"/>
              </a:rPr>
              <a:t>LLM</a:t>
            </a:r>
          </a:p>
        </p:txBody>
      </p:sp>
      <p:sp>
        <p:nvSpPr>
          <p:cNvPr id="69" name="Text Placeholder 1">
            <a:extLst>
              <a:ext uri="{FF2B5EF4-FFF2-40B4-BE49-F238E27FC236}">
                <a16:creationId xmlns:a16="http://schemas.microsoft.com/office/drawing/2014/main" id="{F5E5EE40-2982-D00B-54A8-18436770BBD6}"/>
              </a:ext>
            </a:extLst>
          </p:cNvPr>
          <p:cNvSpPr txBox="1">
            <a:spLocks/>
          </p:cNvSpPr>
          <p:nvPr/>
        </p:nvSpPr>
        <p:spPr>
          <a:xfrm>
            <a:off x="7689374" y="3205789"/>
            <a:ext cx="203554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solidFill>
                  <a:schemeClr val="tx1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  <a:sym typeface="Arial"/>
              </a:rPr>
              <a:t>Agent Framework</a:t>
            </a:r>
          </a:p>
        </p:txBody>
      </p:sp>
      <p:sp>
        <p:nvSpPr>
          <p:cNvPr id="70" name="Rectangle: Rounded Corners 69">
            <a:extLst>
              <a:ext uri="{FF2B5EF4-FFF2-40B4-BE49-F238E27FC236}">
                <a16:creationId xmlns:a16="http://schemas.microsoft.com/office/drawing/2014/main" id="{1DC6F939-F3E6-6433-931B-35DC319704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 bwMode="auto">
          <a:xfrm>
            <a:off x="7565065" y="3805586"/>
            <a:ext cx="2277036" cy="507202"/>
          </a:xfrm>
          <a:prstGeom prst="roundRect">
            <a:avLst>
              <a:gd name="adj" fmla="val 12710"/>
            </a:avLst>
          </a:prstGeom>
          <a:noFill/>
          <a:ln w="6350">
            <a:solidFill>
              <a:schemeClr val="accent2">
                <a:lumMod val="60000"/>
                <a:lumOff val="4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2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  <a:sym typeface="Arial"/>
            </a:endParaRPr>
          </a:p>
        </p:txBody>
      </p:sp>
      <p:sp>
        <p:nvSpPr>
          <p:cNvPr id="71" name="Text Placeholder 1">
            <a:extLst>
              <a:ext uri="{FF2B5EF4-FFF2-40B4-BE49-F238E27FC236}">
                <a16:creationId xmlns:a16="http://schemas.microsoft.com/office/drawing/2014/main" id="{3C98CFE7-2138-3314-CF17-2A516E86EE7D}"/>
              </a:ext>
            </a:extLst>
          </p:cNvPr>
          <p:cNvSpPr txBox="1">
            <a:spLocks/>
          </p:cNvSpPr>
          <p:nvPr/>
        </p:nvSpPr>
        <p:spPr>
          <a:xfrm>
            <a:off x="7689374" y="3924063"/>
            <a:ext cx="203554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solidFill>
                  <a:schemeClr val="tx1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  <a:sym typeface="Arial"/>
              </a:rPr>
              <a:t>Database</a:t>
            </a:r>
          </a:p>
        </p:txBody>
      </p:sp>
      <p:cxnSp>
        <p:nvCxnSpPr>
          <p:cNvPr id="73" name="Connector: Curved 72">
            <a:extLst>
              <a:ext uri="{FF2B5EF4-FFF2-40B4-BE49-F238E27FC236}">
                <a16:creationId xmlns:a16="http://schemas.microsoft.com/office/drawing/2014/main" id="{8B531C2A-9AA5-33DA-D977-1F66D2136EFD}"/>
              </a:ext>
            </a:extLst>
          </p:cNvPr>
          <p:cNvCxnSpPr>
            <a:cxnSpLocks/>
            <a:stCxn id="7" idx="2"/>
            <a:endCxn id="31" idx="0"/>
          </p:cNvCxnSpPr>
          <p:nvPr/>
        </p:nvCxnSpPr>
        <p:spPr>
          <a:xfrm rot="5400000">
            <a:off x="3195600" y="4880203"/>
            <a:ext cx="1167157" cy="682636"/>
          </a:xfrm>
          <a:prstGeom prst="curvedConnector3">
            <a:avLst>
              <a:gd name="adj1" fmla="val 50000"/>
            </a:avLst>
          </a:prstGeom>
          <a:ln>
            <a:solidFill>
              <a:srgbClr val="0078D4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tangle: Rounded Corners 42">
            <a:extLst>
              <a:ext uri="{FF2B5EF4-FFF2-40B4-BE49-F238E27FC236}">
                <a16:creationId xmlns:a16="http://schemas.microsoft.com/office/drawing/2014/main" id="{94DB5A28-47EF-0F8E-C0F3-EB1001D8C10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 bwMode="auto">
          <a:xfrm>
            <a:off x="3324215" y="5069424"/>
            <a:ext cx="863242" cy="308774"/>
          </a:xfrm>
          <a:prstGeom prst="roundRect">
            <a:avLst>
              <a:gd name="adj" fmla="val 17228"/>
            </a:avLst>
          </a:prstGeom>
          <a:solidFill>
            <a:srgbClr val="091F2C"/>
          </a:solidFill>
          <a:ln w="12700">
            <a:solidFill>
              <a:schemeClr val="accent2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27432" rIns="45720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  <a:sym typeface="Arial"/>
              </a:rPr>
              <a:t>MCP Server</a:t>
            </a:r>
          </a:p>
        </p:txBody>
      </p:sp>
      <p:cxnSp>
        <p:nvCxnSpPr>
          <p:cNvPr id="75" name="Connector: Curved 74">
            <a:extLst>
              <a:ext uri="{FF2B5EF4-FFF2-40B4-BE49-F238E27FC236}">
                <a16:creationId xmlns:a16="http://schemas.microsoft.com/office/drawing/2014/main" id="{E776A89F-64D2-A10F-C71E-97948530F47F}"/>
              </a:ext>
            </a:extLst>
          </p:cNvPr>
          <p:cNvCxnSpPr>
            <a:cxnSpLocks/>
            <a:stCxn id="20" idx="2"/>
            <a:endCxn id="57" idx="0"/>
          </p:cNvCxnSpPr>
          <p:nvPr/>
        </p:nvCxnSpPr>
        <p:spPr>
          <a:xfrm rot="16200000" flipH="1">
            <a:off x="5386222" y="4174177"/>
            <a:ext cx="665859" cy="1605711"/>
          </a:xfrm>
          <a:prstGeom prst="curvedConnector3">
            <a:avLst>
              <a:gd name="adj1" fmla="val 50000"/>
            </a:avLst>
          </a:prstGeom>
          <a:ln>
            <a:solidFill>
              <a:srgbClr val="0078D4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Rounded Rectangle 38">
            <a:extLst>
              <a:ext uri="{FF2B5EF4-FFF2-40B4-BE49-F238E27FC236}">
                <a16:creationId xmlns:a16="http://schemas.microsoft.com/office/drawing/2014/main" id="{E5535DF0-A28B-F8C4-2333-E79B802A68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 bwMode="auto">
          <a:xfrm flipH="1">
            <a:off x="5596649" y="5845625"/>
            <a:ext cx="1866900" cy="716598"/>
          </a:xfrm>
          <a:prstGeom prst="roundRect">
            <a:avLst>
              <a:gd name="adj" fmla="val 14009"/>
            </a:avLst>
          </a:prstGeom>
          <a:solidFill>
            <a:schemeClr val="bg1">
              <a:lumMod val="90000"/>
              <a:lumOff val="10000"/>
              <a:alpha val="40000"/>
            </a:schemeClr>
          </a:solidFill>
          <a:ln w="12700">
            <a:solidFill>
              <a:schemeClr val="tx1">
                <a:lumMod val="85000"/>
                <a:alpha val="2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  <a:sym typeface="Arial"/>
              </a:rPr>
              <a:t>APIs, Enterprise Applications, 3</a:t>
            </a:r>
            <a:r>
              <a:rPr kumimoji="0" lang="en-US" sz="1200" b="0" i="0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  <a:sym typeface="Arial"/>
              </a:rPr>
              <a:t>rd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  <a:sym typeface="Arial"/>
              </a:rPr>
              <a:t> party systems, etc.</a:t>
            </a:r>
          </a:p>
        </p:txBody>
      </p:sp>
      <p:cxnSp>
        <p:nvCxnSpPr>
          <p:cNvPr id="85" name="Connector: Curved 84">
            <a:extLst>
              <a:ext uri="{FF2B5EF4-FFF2-40B4-BE49-F238E27FC236}">
                <a16:creationId xmlns:a16="http://schemas.microsoft.com/office/drawing/2014/main" id="{7C0BFB42-299E-5E59-63C1-410285F8A1A3}"/>
              </a:ext>
            </a:extLst>
          </p:cNvPr>
          <p:cNvCxnSpPr>
            <a:cxnSpLocks/>
            <a:stCxn id="26" idx="2"/>
            <a:endCxn id="57" idx="0"/>
          </p:cNvCxnSpPr>
          <p:nvPr/>
        </p:nvCxnSpPr>
        <p:spPr>
          <a:xfrm rot="5400000">
            <a:off x="7103025" y="4059209"/>
            <a:ext cx="669737" cy="1831771"/>
          </a:xfrm>
          <a:prstGeom prst="curvedConnector3">
            <a:avLst>
              <a:gd name="adj1" fmla="val 50000"/>
            </a:avLst>
          </a:prstGeom>
          <a:ln>
            <a:solidFill>
              <a:srgbClr val="0078D4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ectangle: Rounded Corners 56">
            <a:extLst>
              <a:ext uri="{FF2B5EF4-FFF2-40B4-BE49-F238E27FC236}">
                <a16:creationId xmlns:a16="http://schemas.microsoft.com/office/drawing/2014/main" id="{B291522E-AD63-F487-8B96-5B7ED2850FF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 bwMode="auto">
          <a:xfrm>
            <a:off x="6090386" y="5309963"/>
            <a:ext cx="863242" cy="308774"/>
          </a:xfrm>
          <a:prstGeom prst="roundRect">
            <a:avLst>
              <a:gd name="adj" fmla="val 17228"/>
            </a:avLst>
          </a:prstGeom>
          <a:solidFill>
            <a:srgbClr val="091F2C"/>
          </a:solidFill>
          <a:ln w="12700">
            <a:solidFill>
              <a:schemeClr val="accent2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27432" rIns="45720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  <a:sym typeface="Arial"/>
              </a:rPr>
              <a:t>MCP Server</a:t>
            </a:r>
          </a:p>
        </p:txBody>
      </p:sp>
      <p:cxnSp>
        <p:nvCxnSpPr>
          <p:cNvPr id="90" name="Connector: Curved 89">
            <a:extLst>
              <a:ext uri="{FF2B5EF4-FFF2-40B4-BE49-F238E27FC236}">
                <a16:creationId xmlns:a16="http://schemas.microsoft.com/office/drawing/2014/main" id="{670C2329-502E-8231-A150-CA66538C1174}"/>
              </a:ext>
            </a:extLst>
          </p:cNvPr>
          <p:cNvCxnSpPr>
            <a:cxnSpLocks/>
            <a:stCxn id="57" idx="2"/>
            <a:endCxn id="76" idx="0"/>
          </p:cNvCxnSpPr>
          <p:nvPr/>
        </p:nvCxnSpPr>
        <p:spPr>
          <a:xfrm rot="16200000" flipH="1">
            <a:off x="6412609" y="5728135"/>
            <a:ext cx="226888" cy="8092"/>
          </a:xfrm>
          <a:prstGeom prst="curvedConnector3">
            <a:avLst>
              <a:gd name="adj1" fmla="val 50000"/>
            </a:avLst>
          </a:prstGeom>
          <a:ln>
            <a:solidFill>
              <a:srgbClr val="0078D4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Rounded Rectangle 38">
            <a:extLst>
              <a:ext uri="{FF2B5EF4-FFF2-40B4-BE49-F238E27FC236}">
                <a16:creationId xmlns:a16="http://schemas.microsoft.com/office/drawing/2014/main" id="{D7EB0A17-D883-4A2C-9458-E475FCE707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 bwMode="auto">
          <a:xfrm flipH="1">
            <a:off x="8973992" y="5857659"/>
            <a:ext cx="1866900" cy="716598"/>
          </a:xfrm>
          <a:prstGeom prst="roundRect">
            <a:avLst>
              <a:gd name="adj" fmla="val 14009"/>
            </a:avLst>
          </a:prstGeom>
          <a:solidFill>
            <a:schemeClr val="bg1">
              <a:lumMod val="90000"/>
              <a:lumOff val="10000"/>
              <a:alpha val="40000"/>
            </a:schemeClr>
          </a:solidFill>
          <a:ln w="12700">
            <a:solidFill>
              <a:schemeClr val="tx1">
                <a:lumMod val="85000"/>
                <a:alpha val="2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  <a:sym typeface="Arial"/>
              </a:rPr>
              <a:t>Local Data Source</a:t>
            </a:r>
          </a:p>
        </p:txBody>
      </p:sp>
      <p:cxnSp>
        <p:nvCxnSpPr>
          <p:cNvPr id="96" name="Connector: Curved 95">
            <a:extLst>
              <a:ext uri="{FF2B5EF4-FFF2-40B4-BE49-F238E27FC236}">
                <a16:creationId xmlns:a16="http://schemas.microsoft.com/office/drawing/2014/main" id="{E29AD721-0286-CCF2-F2AA-2870AA9CC7A6}"/>
              </a:ext>
            </a:extLst>
          </p:cNvPr>
          <p:cNvCxnSpPr>
            <a:cxnSpLocks/>
            <a:stCxn id="28" idx="2"/>
          </p:cNvCxnSpPr>
          <p:nvPr/>
        </p:nvCxnSpPr>
        <p:spPr>
          <a:xfrm rot="16200000" flipH="1">
            <a:off x="8977518" y="4890281"/>
            <a:ext cx="1164028" cy="735380"/>
          </a:xfrm>
          <a:prstGeom prst="curvedConnector3">
            <a:avLst>
              <a:gd name="adj1" fmla="val 50000"/>
            </a:avLst>
          </a:prstGeom>
          <a:ln>
            <a:solidFill>
              <a:srgbClr val="0078D4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Rectangle: Rounded Corners 96">
            <a:extLst>
              <a:ext uri="{FF2B5EF4-FFF2-40B4-BE49-F238E27FC236}">
                <a16:creationId xmlns:a16="http://schemas.microsoft.com/office/drawing/2014/main" id="{D4261F18-9843-F609-55D3-7F942F3CA4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 bwMode="auto">
          <a:xfrm>
            <a:off x="9173472" y="5141062"/>
            <a:ext cx="863242" cy="308774"/>
          </a:xfrm>
          <a:prstGeom prst="roundRect">
            <a:avLst>
              <a:gd name="adj" fmla="val 17228"/>
            </a:avLst>
          </a:prstGeom>
          <a:solidFill>
            <a:srgbClr val="091F2C"/>
          </a:solidFill>
          <a:ln w="12700">
            <a:solidFill>
              <a:schemeClr val="accent2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27432" rIns="45720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  <a:sym typeface="Arial"/>
              </a:rPr>
              <a:t>MCP Server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EED2F4D-D3E1-7B9D-507D-4F195F6B57FD}"/>
              </a:ext>
            </a:extLst>
          </p:cNvPr>
          <p:cNvSpPr txBox="1"/>
          <p:nvPr/>
        </p:nvSpPr>
        <p:spPr>
          <a:xfrm>
            <a:off x="3675068" y="4391722"/>
            <a:ext cx="890856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  <a:sym typeface="Arial"/>
              </a:rPr>
              <a:t>MCP Client</a:t>
            </a:r>
            <a:endParaRPr kumimoji="0" lang="en-HK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8599056-D0B5-0E3D-C785-B278DD05E701}"/>
              </a:ext>
            </a:extLst>
          </p:cNvPr>
          <p:cNvSpPr txBox="1"/>
          <p:nvPr/>
        </p:nvSpPr>
        <p:spPr>
          <a:xfrm>
            <a:off x="4470868" y="4397883"/>
            <a:ext cx="890856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  <a:sym typeface="Arial"/>
              </a:rPr>
              <a:t>MCP Client</a:t>
            </a:r>
            <a:endParaRPr kumimoji="0" lang="en-HK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325443E-FF08-3CF7-3CF4-93E1F70E44BD}"/>
              </a:ext>
            </a:extLst>
          </p:cNvPr>
          <p:cNvSpPr txBox="1"/>
          <p:nvPr/>
        </p:nvSpPr>
        <p:spPr>
          <a:xfrm>
            <a:off x="7908350" y="4394005"/>
            <a:ext cx="890856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  <a:sym typeface="Arial"/>
              </a:rPr>
              <a:t>MCP Client</a:t>
            </a:r>
            <a:endParaRPr kumimoji="0" lang="en-HK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16DD70A-DFD6-3064-1B2D-5CB1D1A893E4}"/>
              </a:ext>
            </a:extLst>
          </p:cNvPr>
          <p:cNvSpPr txBox="1"/>
          <p:nvPr/>
        </p:nvSpPr>
        <p:spPr>
          <a:xfrm>
            <a:off x="8746414" y="4429736"/>
            <a:ext cx="890856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  <a:sym typeface="Arial"/>
              </a:rPr>
              <a:t>MCP Client</a:t>
            </a:r>
            <a:endParaRPr kumimoji="0" lang="en-HK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99787052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6EC7DE-F1EB-3D1E-2CDD-EDC382B9C2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7F34640F-52DF-7F99-DA7C-D57EDF919E11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1173163" y="-461963"/>
            <a:ext cx="11018837" cy="246063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50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600" b="0" i="0" u="none" strike="noStrike" kern="1200" cap="none" spc="-50" normalizeH="0" baseline="0" noProof="0">
                <a:ln w="3175"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Segoe UI" pitchFamily="34" charset="0"/>
              </a:rPr>
              <a:t>Azure AI Foundry stack</a:t>
            </a:r>
          </a:p>
        </p:txBody>
      </p:sp>
      <p:pic>
        <p:nvPicPr>
          <p:cNvPr id="2" name="Picture 1" descr="Azure AI Foundry logo">
            <a:extLst>
              <a:ext uri="{FF2B5EF4-FFF2-40B4-BE49-F238E27FC236}">
                <a16:creationId xmlns:a16="http://schemas.microsoft.com/office/drawing/2014/main" id="{9F61B177-EDFC-19C8-FA31-30E5161438C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3703" y="459603"/>
            <a:ext cx="684601" cy="684601"/>
          </a:xfrm>
          <a:prstGeom prst="rect">
            <a:avLst/>
          </a:prstGeom>
        </p:spPr>
      </p:pic>
      <p:sp>
        <p:nvSpPr>
          <p:cNvPr id="48" name="CS box - replacement">
            <a:extLst>
              <a:ext uri="{FF2B5EF4-FFF2-40B4-BE49-F238E27FC236}">
                <a16:creationId xmlns:a16="http://schemas.microsoft.com/office/drawing/2014/main" id="{258F2BC3-93A0-890C-42EF-9249E2D913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 bwMode="auto">
          <a:xfrm>
            <a:off x="2712720" y="1564380"/>
            <a:ext cx="6766560" cy="3474720"/>
          </a:xfrm>
          <a:prstGeom prst="roundRect">
            <a:avLst>
              <a:gd name="adj" fmla="val 6132"/>
            </a:avLst>
          </a:prstGeom>
          <a:noFill/>
          <a:ln w="22225" cap="rnd">
            <a:gradFill flip="none" rotWithShape="1">
              <a:gsLst>
                <a:gs pos="80000">
                  <a:srgbClr val="0A6BBA"/>
                </a:gs>
                <a:gs pos="0">
                  <a:srgbClr val="AC35AF"/>
                </a:gs>
              </a:gsLst>
              <a:path path="circle">
                <a:fillToRect l="100000" t="100000"/>
              </a:path>
              <a:tileRect r="-100000" b="-100000"/>
            </a:gra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61257" tIns="209007" rIns="261257" bIns="2090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332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858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Segoe UI Variable Display Semib" pitchFamily="2" charset="0"/>
              <a:ea typeface="+mn-ea"/>
              <a:cs typeface="Segoe UI" pitchFamily="34" charset="0"/>
              <a:sym typeface="Arial"/>
            </a:endParaRP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BB0D3489-FCE0-0BAB-C022-54F1422A3A3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 bwMode="auto">
          <a:xfrm>
            <a:off x="3078480" y="1994352"/>
            <a:ext cx="6035040" cy="603504"/>
          </a:xfrm>
          <a:prstGeom prst="roundRect">
            <a:avLst>
              <a:gd name="adj" fmla="val 29041"/>
            </a:avLst>
          </a:prstGeom>
          <a:gradFill flip="none" rotWithShape="1">
            <a:gsLst>
              <a:gs pos="14000">
                <a:srgbClr val="2263B8"/>
              </a:gs>
              <a:gs pos="91000">
                <a:srgbClr val="8642B1"/>
              </a:gs>
            </a:gsLst>
            <a:lin ang="2400000" scaled="0"/>
            <a:tileRect/>
          </a:gradFill>
        </p:spPr>
        <p:txBody>
          <a:bodyPr wrap="square" lIns="0" tIns="0" rIns="0" bIns="27432" rtlCol="0" anchor="ctr" anchorCtr="0">
            <a:noAutofit/>
          </a:bodyPr>
          <a:lstStyle>
            <a:defPPr>
              <a:defRPr lang="en-US"/>
            </a:defPPr>
            <a:lvl1pPr marL="0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814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7626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440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35252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94066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52877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11691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70503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4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487009" algn="l"/>
              </a:tabLst>
              <a:defRPr/>
            </a:pPr>
            <a:r>
              <a:rPr kumimoji="0" lang="en-US" sz="1800" b="1" i="0" u="none" strike="noStrike" kern="1200" cap="none" spc="0" normalizeH="0" baseline="0" noProof="0">
                <a:ln w="3175">
                  <a:noFill/>
                </a:ln>
                <a:gradFill>
                  <a:gsLst>
                    <a:gs pos="92661">
                      <a:srgbClr val="FFFFFF"/>
                    </a:gs>
                    <a:gs pos="78000">
                      <a:srgbClr val="FFFFFF"/>
                    </a:gs>
                  </a:gsLst>
                  <a:path path="circle">
                    <a:fillToRect l="100000" b="100000"/>
                  </a:path>
                </a:gradFill>
                <a:effectLst/>
                <a:uLnTx/>
                <a:uFillTx/>
                <a:latin typeface="Segoe UI Variable Display Semib" pitchFamily="2" charset="0"/>
                <a:ea typeface="+mn-ea"/>
                <a:cs typeface="Segoe UI" pitchFamily="34" charset="0"/>
                <a:sym typeface="Arial"/>
              </a:rPr>
              <a:t>Foundry Models</a:t>
            </a: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B995AB04-BE80-C83C-7AD6-F239987F5F8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 bwMode="auto">
          <a:xfrm>
            <a:off x="3078480" y="2692344"/>
            <a:ext cx="6035040" cy="603504"/>
          </a:xfrm>
          <a:prstGeom prst="roundRect">
            <a:avLst>
              <a:gd name="adj" fmla="val 28869"/>
            </a:avLst>
          </a:prstGeom>
          <a:gradFill flip="none" rotWithShape="1">
            <a:gsLst>
              <a:gs pos="10000">
                <a:srgbClr val="2263B8"/>
              </a:gs>
              <a:gs pos="70000">
                <a:srgbClr val="8642B1"/>
              </a:gs>
            </a:gsLst>
            <a:lin ang="2400000" scaled="0"/>
            <a:tileRect/>
          </a:gradFill>
        </p:spPr>
        <p:txBody>
          <a:bodyPr wrap="square" lIns="0" tIns="0" rIns="0" bIns="27432" rtlCol="0" anchor="ctr" anchorCtr="0">
            <a:noAutofit/>
          </a:bodyPr>
          <a:lstStyle>
            <a:defPPr>
              <a:defRPr lang="en-US"/>
            </a:defPPr>
            <a:lvl1pPr marL="0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814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7626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440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35252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94066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52877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11691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70503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4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487009" algn="l"/>
              </a:tabLst>
              <a:defRPr/>
            </a:pPr>
            <a:r>
              <a:rPr kumimoji="0" lang="en-US" sz="1800" b="1" i="0" u="none" strike="noStrike" kern="1200" cap="none" spc="0" normalizeH="0" baseline="0" noProof="0">
                <a:ln w="3175">
                  <a:noFill/>
                </a:ln>
                <a:gradFill>
                  <a:gsLst>
                    <a:gs pos="92661">
                      <a:srgbClr val="FFFFFF"/>
                    </a:gs>
                    <a:gs pos="78000">
                      <a:srgbClr val="FFFFFF"/>
                    </a:gs>
                  </a:gsLst>
                  <a:path path="circle">
                    <a:fillToRect l="100000" b="100000"/>
                  </a:path>
                </a:gradFill>
                <a:effectLst/>
                <a:uLnTx/>
                <a:uFillTx/>
                <a:latin typeface="Segoe UI Variable Display Semib" pitchFamily="2" charset="0"/>
                <a:ea typeface="+mn-ea"/>
                <a:cs typeface="Segoe UI" pitchFamily="34" charset="0"/>
                <a:sym typeface="Arial"/>
              </a:rPr>
              <a:t>Foundry Agent Service</a:t>
            </a:r>
          </a:p>
        </p:txBody>
      </p:sp>
      <p:sp>
        <p:nvSpPr>
          <p:cNvPr id="23" name="Rounded Rectangle 6">
            <a:extLst>
              <a:ext uri="{FF2B5EF4-FFF2-40B4-BE49-F238E27FC236}">
                <a16:creationId xmlns:a16="http://schemas.microsoft.com/office/drawing/2014/main" id="{FA0C54E2-9024-AE67-214C-7A1B85C531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3078480" y="3390336"/>
            <a:ext cx="1444752" cy="603504"/>
          </a:xfrm>
          <a:prstGeom prst="roundRect">
            <a:avLst>
              <a:gd name="adj" fmla="val 27858"/>
            </a:avLst>
          </a:prstGeom>
          <a:gradFill flip="none" rotWithShape="1">
            <a:gsLst>
              <a:gs pos="13000">
                <a:srgbClr val="2263B8"/>
              </a:gs>
              <a:gs pos="88073">
                <a:srgbClr val="2662B8"/>
              </a:gs>
            </a:gsLst>
            <a:lin ang="2400000" scaled="0"/>
            <a:tileRect/>
          </a:gradFill>
          <a:ln w="9525" cap="rnd">
            <a:noFill/>
          </a:ln>
        </p:spPr>
        <p:txBody>
          <a:bodyPr wrap="square" lIns="0" tIns="0" rIns="0" bIns="18288" rtlCol="0" anchor="ctr" anchorCtr="0">
            <a:noAutofit/>
          </a:bodyPr>
          <a:lstStyle/>
          <a:p>
            <a:pPr marL="0" marR="0" lvl="0" indent="0" algn="ctr" defTabSz="9326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27523">
                      <a:srgbClr val="FFFFFF"/>
                    </a:gs>
                    <a:gs pos="73000">
                      <a:srgbClr val="FFFFFF"/>
                    </a:gs>
                  </a:gsLst>
                  <a:path path="circle">
                    <a:fillToRect r="100000" b="100000"/>
                  </a:path>
                </a:gradFill>
                <a:effectLst/>
                <a:uLnTx/>
                <a:uFillTx/>
                <a:latin typeface="Segoe UI Variable Display Semib" pitchFamily="2" charset="0"/>
                <a:ea typeface="+mn-ea"/>
                <a:cs typeface="Segoe Sans Display Semibold"/>
                <a:sym typeface="Arial"/>
              </a:rPr>
              <a:t>Search</a:t>
            </a:r>
          </a:p>
        </p:txBody>
      </p:sp>
      <p:sp>
        <p:nvSpPr>
          <p:cNvPr id="30" name="Rounded Rectangle 6">
            <a:extLst>
              <a:ext uri="{FF2B5EF4-FFF2-40B4-BE49-F238E27FC236}">
                <a16:creationId xmlns:a16="http://schemas.microsoft.com/office/drawing/2014/main" id="{CD83D4C0-549F-84CA-C47C-CBB3F86C30F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4608576" y="3390336"/>
            <a:ext cx="1444752" cy="603504"/>
          </a:xfrm>
          <a:prstGeom prst="roundRect">
            <a:avLst>
              <a:gd name="adj" fmla="val 29436"/>
            </a:avLst>
          </a:prstGeom>
          <a:gradFill flip="none" rotWithShape="1">
            <a:gsLst>
              <a:gs pos="0">
                <a:srgbClr val="325EB7"/>
              </a:gs>
              <a:gs pos="39000">
                <a:srgbClr val="5353B5"/>
              </a:gs>
            </a:gsLst>
            <a:lin ang="2400000" scaled="0"/>
            <a:tileRect/>
          </a:gradFill>
          <a:ln w="9525" cap="rnd">
            <a:noFill/>
          </a:ln>
        </p:spPr>
        <p:txBody>
          <a:bodyPr wrap="square" lIns="0" tIns="0" rIns="0" bIns="18288" rtlCol="0" anchor="ctr" anchorCtr="0">
            <a:noAutofit/>
          </a:bodyPr>
          <a:lstStyle/>
          <a:p>
            <a:pPr marL="0" marR="0" lvl="0" indent="0" algn="ctr" defTabSz="9326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27523">
                      <a:srgbClr val="FFFFFF"/>
                    </a:gs>
                    <a:gs pos="73000">
                      <a:srgbClr val="FFFFFF"/>
                    </a:gs>
                  </a:gsLst>
                  <a:path path="circle">
                    <a:fillToRect r="100000" b="100000"/>
                  </a:path>
                </a:gradFill>
                <a:effectLst/>
                <a:uLnTx/>
                <a:uFillTx/>
                <a:latin typeface="Segoe UI Variable Display Semib" pitchFamily="2" charset="0"/>
                <a:ea typeface="+mn-ea"/>
                <a:cs typeface="Segoe Sans Display Semibold"/>
                <a:sym typeface="Arial"/>
              </a:rPr>
              <a:t>Azure AI </a:t>
            </a:r>
            <a:br>
              <a:rPr kumimoji="0" lang="en-US" sz="12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27523">
                      <a:srgbClr val="FFFFFF"/>
                    </a:gs>
                    <a:gs pos="73000">
                      <a:srgbClr val="FFFFFF"/>
                    </a:gs>
                  </a:gsLst>
                  <a:path path="circle">
                    <a:fillToRect r="100000" b="100000"/>
                  </a:path>
                </a:gradFill>
                <a:effectLst/>
                <a:uLnTx/>
                <a:uFillTx/>
                <a:latin typeface="Segoe UI Variable Display Semib" pitchFamily="2" charset="0"/>
                <a:ea typeface="+mn-ea"/>
                <a:cs typeface="Segoe Sans Display Semibold"/>
                <a:sym typeface="Arial"/>
              </a:rPr>
            </a:b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27523">
                      <a:srgbClr val="FFFFFF"/>
                    </a:gs>
                    <a:gs pos="73000">
                      <a:srgbClr val="FFFFFF"/>
                    </a:gs>
                  </a:gsLst>
                  <a:path path="circle">
                    <a:fillToRect r="100000" b="100000"/>
                  </a:path>
                </a:gradFill>
                <a:effectLst/>
                <a:uLnTx/>
                <a:uFillTx/>
                <a:latin typeface="Segoe UI Variable Display Semib" pitchFamily="2" charset="0"/>
                <a:ea typeface="+mn-ea"/>
                <a:cs typeface="Segoe Sans Display Semibold"/>
                <a:sym typeface="Arial"/>
              </a:rPr>
              <a:t>Services</a:t>
            </a:r>
          </a:p>
        </p:txBody>
      </p:sp>
      <p:sp>
        <p:nvSpPr>
          <p:cNvPr id="31" name="Rounded Rectangle 6">
            <a:extLst>
              <a:ext uri="{FF2B5EF4-FFF2-40B4-BE49-F238E27FC236}">
                <a16:creationId xmlns:a16="http://schemas.microsoft.com/office/drawing/2014/main" id="{9BC5E2FA-E312-4B01-F374-A9E70F4B73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6138672" y="3390336"/>
            <a:ext cx="1444752" cy="603504"/>
          </a:xfrm>
          <a:prstGeom prst="roundRect">
            <a:avLst>
              <a:gd name="adj" fmla="val 30225"/>
            </a:avLst>
          </a:prstGeom>
          <a:gradFill flip="none" rotWithShape="1">
            <a:gsLst>
              <a:gs pos="57000">
                <a:srgbClr val="8642B1"/>
              </a:gs>
              <a:gs pos="0">
                <a:srgbClr val="5951B4"/>
              </a:gs>
            </a:gsLst>
            <a:lin ang="2400000" scaled="0"/>
            <a:tileRect/>
          </a:gradFill>
          <a:ln w="9525" cap="rnd">
            <a:noFill/>
          </a:ln>
        </p:spPr>
        <p:txBody>
          <a:bodyPr wrap="square" lIns="0" tIns="0" rIns="0" bIns="18288" rtlCol="0" anchor="ctr" anchorCtr="0">
            <a:noAutofit/>
          </a:bodyPr>
          <a:lstStyle/>
          <a:p>
            <a:pPr marL="0" marR="0" lvl="0" indent="0" algn="ctr" defTabSz="9326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27523">
                      <a:srgbClr val="FFFFFF"/>
                    </a:gs>
                    <a:gs pos="73000">
                      <a:srgbClr val="FFFFFF"/>
                    </a:gs>
                  </a:gsLst>
                  <a:path path="circle">
                    <a:fillToRect r="100000" b="100000"/>
                  </a:path>
                </a:gradFill>
                <a:effectLst/>
                <a:uLnTx/>
                <a:uFillTx/>
                <a:latin typeface="Segoe UI Variable Display Semib" pitchFamily="2" charset="0"/>
                <a:ea typeface="+mn-ea"/>
                <a:cs typeface="Segoe Sans Display Semibold"/>
                <a:sym typeface="Arial"/>
              </a:rPr>
              <a:t>Machine </a:t>
            </a:r>
            <a:br>
              <a:rPr kumimoji="0" lang="en-US" sz="12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27523">
                      <a:srgbClr val="FFFFFF"/>
                    </a:gs>
                    <a:gs pos="73000">
                      <a:srgbClr val="FFFFFF"/>
                    </a:gs>
                  </a:gsLst>
                  <a:path path="circle">
                    <a:fillToRect r="100000" b="100000"/>
                  </a:path>
                </a:gradFill>
                <a:effectLst/>
                <a:uLnTx/>
                <a:uFillTx/>
                <a:latin typeface="Segoe UI Variable Display Semib" pitchFamily="2" charset="0"/>
                <a:ea typeface="+mn-ea"/>
                <a:cs typeface="Segoe Sans Display Semibold"/>
                <a:sym typeface="Arial"/>
              </a:rPr>
            </a:b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27523">
                      <a:srgbClr val="FFFFFF"/>
                    </a:gs>
                    <a:gs pos="73000">
                      <a:srgbClr val="FFFFFF"/>
                    </a:gs>
                  </a:gsLst>
                  <a:path path="circle">
                    <a:fillToRect r="100000" b="100000"/>
                  </a:path>
                </a:gradFill>
                <a:effectLst/>
                <a:uLnTx/>
                <a:uFillTx/>
                <a:latin typeface="Segoe UI Variable Display Semib" pitchFamily="2" charset="0"/>
                <a:ea typeface="+mn-ea"/>
                <a:cs typeface="Segoe Sans Display Semibold"/>
                <a:sym typeface="Arial"/>
              </a:rPr>
              <a:t>Learning</a:t>
            </a:r>
          </a:p>
        </p:txBody>
      </p:sp>
      <p:sp>
        <p:nvSpPr>
          <p:cNvPr id="32" name="Rounded Rectangle 6">
            <a:extLst>
              <a:ext uri="{FF2B5EF4-FFF2-40B4-BE49-F238E27FC236}">
                <a16:creationId xmlns:a16="http://schemas.microsoft.com/office/drawing/2014/main" id="{62947473-4B67-10AC-9D7B-AE2857C9C2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7668768" y="3390336"/>
            <a:ext cx="1444752" cy="603504"/>
          </a:xfrm>
          <a:prstGeom prst="roundRect">
            <a:avLst>
              <a:gd name="adj" fmla="val 30225"/>
            </a:avLst>
          </a:prstGeom>
          <a:gradFill flip="none" rotWithShape="1">
            <a:gsLst>
              <a:gs pos="80000">
                <a:srgbClr val="AC35AF"/>
              </a:gs>
              <a:gs pos="1000">
                <a:srgbClr val="8642B1"/>
              </a:gs>
            </a:gsLst>
            <a:lin ang="2400000" scaled="0"/>
            <a:tileRect/>
          </a:gradFill>
          <a:ln w="9525" cap="rnd">
            <a:noFill/>
          </a:ln>
        </p:spPr>
        <p:txBody>
          <a:bodyPr wrap="square" lIns="0" tIns="0" rIns="0" bIns="18288" rtlCol="0" anchor="ctr" anchorCtr="0">
            <a:noAutofit/>
          </a:bodyPr>
          <a:lstStyle/>
          <a:p>
            <a:pPr marL="0" marR="0" lvl="0" indent="0" algn="ctr" defTabSz="9326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27523">
                      <a:srgbClr val="FFFFFF"/>
                    </a:gs>
                    <a:gs pos="73000">
                      <a:srgbClr val="FFFFFF"/>
                    </a:gs>
                  </a:gsLst>
                  <a:path path="circle">
                    <a:fillToRect r="100000" b="100000"/>
                  </a:path>
                </a:gradFill>
                <a:effectLst/>
                <a:uLnTx/>
                <a:uFillTx/>
                <a:latin typeface="Segoe UI Variable Display Semib" pitchFamily="2" charset="0"/>
                <a:ea typeface="+mn-ea"/>
                <a:cs typeface="Segoe Sans Display Semibold"/>
                <a:sym typeface="Arial"/>
              </a:rPr>
              <a:t>Content </a:t>
            </a:r>
            <a:br>
              <a:rPr kumimoji="0" lang="en-US" sz="12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27523">
                      <a:srgbClr val="FFFFFF"/>
                    </a:gs>
                    <a:gs pos="73000">
                      <a:srgbClr val="FFFFFF"/>
                    </a:gs>
                  </a:gsLst>
                  <a:path path="circle">
                    <a:fillToRect r="100000" b="100000"/>
                  </a:path>
                </a:gradFill>
                <a:effectLst/>
                <a:uLnTx/>
                <a:uFillTx/>
                <a:latin typeface="Segoe UI Variable Display Semib" pitchFamily="2" charset="0"/>
                <a:ea typeface="+mn-ea"/>
                <a:cs typeface="Segoe Sans Display Semibold"/>
                <a:sym typeface="Arial"/>
              </a:rPr>
            </a:b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27523">
                      <a:srgbClr val="FFFFFF"/>
                    </a:gs>
                    <a:gs pos="73000">
                      <a:srgbClr val="FFFFFF"/>
                    </a:gs>
                  </a:gsLst>
                  <a:path path="circle">
                    <a:fillToRect r="100000" b="100000"/>
                  </a:path>
                </a:gradFill>
                <a:effectLst/>
                <a:uLnTx/>
                <a:uFillTx/>
                <a:latin typeface="Segoe UI Variable Display Semib" pitchFamily="2" charset="0"/>
                <a:ea typeface="+mn-ea"/>
                <a:cs typeface="Segoe Sans Display Semibold"/>
                <a:sym typeface="Arial"/>
              </a:rPr>
              <a:t>Safety</a:t>
            </a: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A095A7E9-D8EA-2681-ACC9-B0E9E4B169D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 bwMode="auto">
          <a:xfrm>
            <a:off x="3078480" y="4088328"/>
            <a:ext cx="6035040" cy="603504"/>
          </a:xfrm>
          <a:prstGeom prst="roundRect">
            <a:avLst>
              <a:gd name="adj" fmla="val 29223"/>
            </a:avLst>
          </a:prstGeom>
          <a:gradFill flip="none" rotWithShape="1">
            <a:gsLst>
              <a:gs pos="7000">
                <a:srgbClr val="2263B8"/>
              </a:gs>
              <a:gs pos="85000">
                <a:srgbClr val="A438B0"/>
              </a:gs>
            </a:gsLst>
            <a:lin ang="3600000" scaled="0"/>
            <a:tileRect/>
          </a:gradFill>
        </p:spPr>
        <p:txBody>
          <a:bodyPr wrap="square" lIns="0" tIns="0" rIns="0" bIns="18288" rtlCol="0" anchor="ctr" anchorCtr="0">
            <a:noAutofit/>
          </a:bodyPr>
          <a:lstStyle>
            <a:defPPr>
              <a:defRPr lang="en-US"/>
            </a:defPPr>
            <a:lvl1pPr marL="0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814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7626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440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35252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94066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52877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11691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70503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4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487009" algn="l"/>
              </a:tabLst>
              <a:defRPr/>
            </a:pPr>
            <a:r>
              <a:rPr kumimoji="0" lang="en-US" sz="1200" b="1" i="0" u="none" strike="noStrike" kern="1200" cap="none" spc="0" normalizeH="0" baseline="0" noProof="0">
                <a:ln w="3175">
                  <a:noFill/>
                </a:ln>
                <a:gradFill>
                  <a:gsLst>
                    <a:gs pos="92661">
                      <a:srgbClr val="FFFFFF"/>
                    </a:gs>
                    <a:gs pos="78000">
                      <a:srgbClr val="FFFFFF"/>
                    </a:gs>
                  </a:gsLst>
                  <a:path path="circle">
                    <a:fillToRect l="100000" b="100000"/>
                  </a:path>
                </a:gradFill>
                <a:effectLst/>
                <a:uLnTx/>
                <a:uFillTx/>
                <a:latin typeface="Segoe UI Variable Display Semib" pitchFamily="2" charset="0"/>
                <a:ea typeface="+mn-ea"/>
                <a:cs typeface="Segoe UI" pitchFamily="34" charset="0"/>
                <a:sym typeface="Arial"/>
              </a:rPr>
              <a:t>Foundry Observability</a:t>
            </a:r>
          </a:p>
        </p:txBody>
      </p:sp>
      <p:sp useBgFill="1">
        <p:nvSpPr>
          <p:cNvPr id="25" name="TextBox 24">
            <a:extLst>
              <a:ext uri="{FF2B5EF4-FFF2-40B4-BE49-F238E27FC236}">
                <a16:creationId xmlns:a16="http://schemas.microsoft.com/office/drawing/2014/main" id="{201003AA-2716-4AC4-EC8E-DAFD19833F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4389129" y="4848845"/>
            <a:ext cx="3413771" cy="374547"/>
          </a:xfrm>
          <a:prstGeom prst="roundRect">
            <a:avLst>
              <a:gd name="adj" fmla="val 34392"/>
            </a:avLst>
          </a:prstGeom>
        </p:spPr>
        <p:txBody>
          <a:bodyPr wrap="none" lIns="91440" tIns="18288" rIns="91440" bIns="36576" rtlCol="0" anchor="ctr" anchorCtr="0">
            <a:spAutoFit/>
          </a:bodyPr>
          <a:lstStyle/>
          <a:p>
            <a:pPr marL="0" marR="0" lvl="0" indent="0" algn="ctr" defTabSz="93268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000000"/>
                    </a:gs>
                    <a:gs pos="99000">
                      <a:srgbClr val="000000"/>
                    </a:gs>
                  </a:gsLst>
                  <a:path path="circle">
                    <a:fillToRect r="100000" b="100000"/>
                  </a:path>
                </a:gradFill>
                <a:effectLst/>
                <a:uLnTx/>
                <a:uFillTx/>
                <a:latin typeface="Segoe UI Variable Display Semibold" pitchFamily="2" charset="0"/>
                <a:ea typeface="+mn-ea"/>
                <a:cs typeface="Segoe Sans Display Semibold"/>
                <a:sym typeface="Arial"/>
              </a:rPr>
              <a:t>Identity 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77982">
                      <a:srgbClr val="000000">
                        <a:alpha val="50000"/>
                      </a:srgbClr>
                    </a:gs>
                    <a:gs pos="58716">
                      <a:srgbClr val="000000">
                        <a:alpha val="50000"/>
                      </a:srgbClr>
                    </a:gs>
                  </a:gsLst>
                  <a:path path="circle">
                    <a:fillToRect l="100000" t="100000"/>
                  </a:path>
                </a:gradFill>
                <a:effectLst/>
                <a:uLnTx/>
                <a:uFillTx/>
                <a:latin typeface="Segoe UI Variable Display Semib" pitchFamily="2" charset="0"/>
                <a:ea typeface="+mn-ea"/>
                <a:cs typeface="Arial"/>
                <a:sym typeface="Arial"/>
              </a:rPr>
              <a:t>•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000000"/>
                    </a:gs>
                    <a:gs pos="99000">
                      <a:srgbClr val="000000"/>
                    </a:gs>
                  </a:gsLst>
                  <a:path path="circle">
                    <a:fillToRect r="100000" b="100000"/>
                  </a:path>
                </a:gradFill>
                <a:effectLst/>
                <a:uLnTx/>
                <a:uFillTx/>
                <a:latin typeface="Segoe UI Variable Display Semibold" pitchFamily="2" charset="0"/>
                <a:ea typeface="+mn-ea"/>
                <a:cs typeface="Segoe Sans Display Semibold"/>
                <a:sym typeface="Arial"/>
              </a:rPr>
              <a:t>  Governance 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77982">
                      <a:srgbClr val="000000">
                        <a:alpha val="50000"/>
                      </a:srgbClr>
                    </a:gs>
                    <a:gs pos="58716">
                      <a:srgbClr val="000000">
                        <a:alpha val="50000"/>
                      </a:srgbClr>
                    </a:gs>
                  </a:gsLst>
                  <a:path path="circle">
                    <a:fillToRect l="100000" t="100000"/>
                  </a:path>
                </a:gradFill>
                <a:effectLst/>
                <a:uLnTx/>
                <a:uFillTx/>
                <a:latin typeface="Segoe UI Variable Display Semib" pitchFamily="2" charset="0"/>
                <a:ea typeface="+mn-ea"/>
                <a:cs typeface="Arial"/>
                <a:sym typeface="Arial"/>
              </a:rPr>
              <a:t>•  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000000"/>
                    </a:gs>
                    <a:gs pos="99000">
                      <a:srgbClr val="000000"/>
                    </a:gs>
                  </a:gsLst>
                  <a:path path="circle">
                    <a:fillToRect r="100000" b="100000"/>
                  </a:path>
                </a:gradFill>
                <a:effectLst/>
                <a:uLnTx/>
                <a:uFillTx/>
                <a:latin typeface="Segoe UI Variable Display Semibold" pitchFamily="2" charset="0"/>
                <a:ea typeface="+mn-ea"/>
                <a:cs typeface="Segoe Sans Display Semibold"/>
                <a:sym typeface="Arial"/>
              </a:rPr>
              <a:t>Security</a:t>
            </a:r>
          </a:p>
        </p:txBody>
      </p:sp>
      <p:cxnSp>
        <p:nvCxnSpPr>
          <p:cNvPr id="117" name="!!Straight Arrow Connector 54" descr="Arrow going to the left">
            <a:extLst>
              <a:ext uri="{FF2B5EF4-FFF2-40B4-BE49-F238E27FC236}">
                <a16:creationId xmlns:a16="http://schemas.microsoft.com/office/drawing/2014/main" id="{78F13F6A-9A77-8BA7-36F6-97D0AFC502F8}"/>
              </a:ext>
            </a:extLst>
          </p:cNvPr>
          <p:cNvCxnSpPr>
            <a:cxnSpLocks/>
          </p:cNvCxnSpPr>
          <p:nvPr/>
        </p:nvCxnSpPr>
        <p:spPr>
          <a:xfrm>
            <a:off x="2286027" y="3214912"/>
            <a:ext cx="226515" cy="0"/>
          </a:xfrm>
          <a:prstGeom prst="straightConnector1">
            <a:avLst/>
          </a:prstGeom>
          <a:ln w="15875" cap="rnd">
            <a:solidFill>
              <a:schemeClr val="tx1"/>
            </a:solidFill>
            <a:headEnd type="arrow" w="lg" len="sm"/>
            <a:tailEnd type="none" w="lg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!!Straight Arrow Connector 53" descr="Arrow going to the right">
            <a:extLst>
              <a:ext uri="{FF2B5EF4-FFF2-40B4-BE49-F238E27FC236}">
                <a16:creationId xmlns:a16="http://schemas.microsoft.com/office/drawing/2014/main" id="{E6F95F7B-0D18-DD65-21F2-C87522FABCCB}"/>
              </a:ext>
            </a:extLst>
          </p:cNvPr>
          <p:cNvCxnSpPr>
            <a:cxnSpLocks/>
          </p:cNvCxnSpPr>
          <p:nvPr/>
        </p:nvCxnSpPr>
        <p:spPr>
          <a:xfrm flipH="1">
            <a:off x="2381280" y="3388569"/>
            <a:ext cx="226515" cy="0"/>
          </a:xfrm>
          <a:prstGeom prst="straightConnector1">
            <a:avLst/>
          </a:prstGeom>
          <a:ln w="15875" cap="rnd">
            <a:solidFill>
              <a:schemeClr val="tx1"/>
            </a:solidFill>
            <a:headEnd type="arrow" w="lg" len="sm"/>
            <a:tailEnd type="none" w="lg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54859602-F43A-7003-399D-E5ACBB09D7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306676" y="1757993"/>
            <a:ext cx="1828800" cy="3075709"/>
          </a:xfrm>
          <a:prstGeom prst="roundRect">
            <a:avLst>
              <a:gd name="adj" fmla="val 9110"/>
            </a:avLst>
          </a:prstGeom>
          <a:ln w="15875" cap="rnd">
            <a:solidFill>
              <a:srgbClr val="0A6BBA"/>
            </a:solidFill>
            <a:headEnd type="none" w="lg" len="sm"/>
            <a:tailEnd type="none" w="lg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182833" tIns="146266" rIns="182833" bIns="14626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18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0" cap="none" spc="0" normalizeH="0" baseline="0" noProof="0">
              <a:ln>
                <a:noFill/>
              </a:ln>
              <a:gradFill>
                <a:gsLst>
                  <a:gs pos="0">
                    <a:srgbClr val="000000"/>
                  </a:gs>
                  <a:gs pos="99000">
                    <a:srgbClr val="000000"/>
                  </a:gs>
                </a:gsLst>
                <a:path path="circle">
                  <a:fillToRect r="100000" b="100000"/>
                </a:path>
              </a:gradFill>
              <a:effectLst/>
              <a:uLnTx/>
              <a:uFillTx/>
              <a:latin typeface="Segoe UI Variable Display Semibold" pitchFamily="2" charset="0"/>
              <a:ea typeface="+mn-ea"/>
              <a:cs typeface="Segoe UI" pitchFamily="34" charset="0"/>
              <a:sym typeface="Arial"/>
            </a:endParaRPr>
          </a:p>
        </p:txBody>
      </p:sp>
      <p:pic>
        <p:nvPicPr>
          <p:cNvPr id="13" name="Picture 12" descr="Copilot Studio logo">
            <a:extLst>
              <a:ext uri="{FF2B5EF4-FFF2-40B4-BE49-F238E27FC236}">
                <a16:creationId xmlns:a16="http://schemas.microsoft.com/office/drawing/2014/main" id="{55C67D4A-0343-3776-9635-503D1DE1E6B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24624" y="2170262"/>
            <a:ext cx="305708" cy="305707"/>
          </a:xfrm>
          <a:prstGeom prst="rect">
            <a:avLst/>
          </a:prstGeom>
          <a:effectLst/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DE826F7C-67FF-4E3F-88C1-D9B48472B8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083822" y="2138451"/>
            <a:ext cx="817894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3268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000000"/>
                    </a:gs>
                    <a:gs pos="99000">
                      <a:srgbClr val="000000"/>
                    </a:gs>
                  </a:gsLst>
                  <a:path path="circle">
                    <a:fillToRect r="100000" b="100000"/>
                  </a:path>
                </a:gradFill>
                <a:effectLst/>
                <a:uLnTx/>
                <a:uFillTx/>
                <a:latin typeface="Segoe UI Variable Display Semibold" pitchFamily="2" charset="0"/>
                <a:ea typeface="+mn-ea"/>
                <a:cs typeface="Segoe Sans Display Semibold"/>
                <a:sym typeface="Arial"/>
              </a:rPr>
              <a:t>Copilot </a:t>
            </a:r>
            <a:br>
              <a:rPr kumimoji="0" lang="en-US" sz="12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000000"/>
                    </a:gs>
                    <a:gs pos="99000">
                      <a:srgbClr val="000000"/>
                    </a:gs>
                  </a:gsLst>
                  <a:path path="circle">
                    <a:fillToRect r="100000" b="100000"/>
                  </a:path>
                </a:gradFill>
                <a:effectLst/>
                <a:uLnTx/>
                <a:uFillTx/>
                <a:latin typeface="Segoe UI Variable Display Semibold" pitchFamily="2" charset="0"/>
                <a:ea typeface="+mn-ea"/>
                <a:cs typeface="Segoe Sans Display Semibold"/>
                <a:sym typeface="Arial"/>
              </a:rPr>
            </a:b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000000"/>
                    </a:gs>
                    <a:gs pos="99000">
                      <a:srgbClr val="000000"/>
                    </a:gs>
                  </a:gsLst>
                  <a:path path="circle">
                    <a:fillToRect r="100000" b="100000"/>
                  </a:path>
                </a:gradFill>
                <a:effectLst/>
                <a:uLnTx/>
                <a:uFillTx/>
                <a:latin typeface="Segoe UI Variable Display Semibold" pitchFamily="2" charset="0"/>
                <a:ea typeface="+mn-ea"/>
                <a:cs typeface="Segoe Sans Display Semibold"/>
                <a:sym typeface="Arial"/>
              </a:rPr>
              <a:t>Studio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14F4389A-E07B-11F1-7961-E6D4FF7121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083822" y="2788943"/>
            <a:ext cx="817894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3268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000000"/>
                    </a:gs>
                    <a:gs pos="99000">
                      <a:srgbClr val="000000"/>
                    </a:gs>
                  </a:gsLst>
                  <a:path path="circle">
                    <a:fillToRect r="100000" b="100000"/>
                  </a:path>
                </a:gradFill>
                <a:effectLst/>
                <a:uLnTx/>
                <a:uFillTx/>
                <a:latin typeface="Segoe UI Variable Display Semibold" pitchFamily="2" charset="0"/>
                <a:ea typeface="+mn-ea"/>
                <a:cs typeface="Segoe Sans Display Semibold"/>
                <a:sym typeface="Arial"/>
              </a:rPr>
              <a:t>Visual </a:t>
            </a:r>
            <a:br>
              <a:rPr kumimoji="0" lang="en-US" sz="12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000000"/>
                    </a:gs>
                    <a:gs pos="99000">
                      <a:srgbClr val="000000"/>
                    </a:gs>
                  </a:gsLst>
                  <a:path path="circle">
                    <a:fillToRect r="100000" b="100000"/>
                  </a:path>
                </a:gradFill>
                <a:effectLst/>
                <a:uLnTx/>
                <a:uFillTx/>
                <a:latin typeface="Segoe UI Variable Display Semibold" pitchFamily="2" charset="0"/>
                <a:ea typeface="+mn-ea"/>
                <a:cs typeface="Segoe Sans Display Semibold"/>
                <a:sym typeface="Arial"/>
              </a:rPr>
            </a:b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000000"/>
                    </a:gs>
                    <a:gs pos="99000">
                      <a:srgbClr val="000000"/>
                    </a:gs>
                  </a:gsLst>
                  <a:path path="circle">
                    <a:fillToRect r="100000" b="100000"/>
                  </a:path>
                </a:gradFill>
                <a:effectLst/>
                <a:uLnTx/>
                <a:uFillTx/>
                <a:latin typeface="Segoe UI Variable Display Semibold" pitchFamily="2" charset="0"/>
                <a:ea typeface="+mn-ea"/>
                <a:cs typeface="Segoe Sans Display Semibold"/>
                <a:sym typeface="Arial"/>
              </a:rPr>
              <a:t>Studio</a:t>
            </a:r>
          </a:p>
        </p:txBody>
      </p:sp>
      <p:pic>
        <p:nvPicPr>
          <p:cNvPr id="4" name="Graphic 3" descr="GitHub Copilot logo">
            <a:extLst>
              <a:ext uri="{FF2B5EF4-FFF2-40B4-BE49-F238E27FC236}">
                <a16:creationId xmlns:a16="http://schemas.microsoft.com/office/drawing/2014/main" id="{18377AB8-FD73-464E-510A-F44045690A0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24697" y="3471527"/>
            <a:ext cx="307571" cy="307571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96D8D2C7-E5D3-3935-2E1A-924837C1571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083821" y="3531772"/>
            <a:ext cx="903729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3268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000000"/>
                    </a:gs>
                    <a:gs pos="99000">
                      <a:srgbClr val="000000"/>
                    </a:gs>
                  </a:gsLst>
                  <a:path path="circle">
                    <a:fillToRect r="100000" b="100000"/>
                  </a:path>
                </a:gradFill>
                <a:effectLst/>
                <a:uLnTx/>
                <a:uFillTx/>
                <a:latin typeface="Segoe UI Variable Display Semibold" pitchFamily="2" charset="0"/>
                <a:ea typeface="+mn-ea"/>
                <a:cs typeface="Segoe Sans Display Semibold"/>
                <a:sym typeface="Arial"/>
              </a:rPr>
              <a:t>GitHub</a:t>
            </a:r>
          </a:p>
        </p:txBody>
      </p:sp>
      <p:pic>
        <p:nvPicPr>
          <p:cNvPr id="33" name="Picture 32" descr="Foundry SDK logo">
            <a:extLst>
              <a:ext uri="{FF2B5EF4-FFF2-40B4-BE49-F238E27FC236}">
                <a16:creationId xmlns:a16="http://schemas.microsoft.com/office/drawing/2014/main" id="{A0B0C578-4CBF-B72E-59AF-B24F17F865D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032" y="4105498"/>
            <a:ext cx="330360" cy="330360"/>
          </a:xfrm>
          <a:prstGeom prst="rect">
            <a:avLst/>
          </a:prstGeom>
        </p:spPr>
      </p:pic>
      <p:sp>
        <p:nvSpPr>
          <p:cNvPr id="34" name="Rounded Rectangle 6">
            <a:extLst>
              <a:ext uri="{FF2B5EF4-FFF2-40B4-BE49-F238E27FC236}">
                <a16:creationId xmlns:a16="http://schemas.microsoft.com/office/drawing/2014/main" id="{AB3837E6-34D4-7BDD-1619-C7F914534F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1083822" y="4089932"/>
            <a:ext cx="817894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3268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000000"/>
                    </a:gs>
                    <a:gs pos="99000">
                      <a:srgbClr val="000000"/>
                    </a:gs>
                  </a:gsLst>
                  <a:path path="circle">
                    <a:fillToRect r="100000" b="100000"/>
                  </a:path>
                </a:gradFill>
                <a:effectLst/>
                <a:uLnTx/>
                <a:uFillTx/>
                <a:latin typeface="Segoe UI Variable Display Semibold" pitchFamily="2" charset="0"/>
                <a:ea typeface="+mn-ea"/>
                <a:cs typeface="Segoe Sans Display Semibold"/>
                <a:sym typeface="Arial"/>
              </a:rPr>
              <a:t>Foundry </a:t>
            </a:r>
            <a:br>
              <a:rPr kumimoji="0" lang="en-US" sz="12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000000"/>
                    </a:gs>
                    <a:gs pos="99000">
                      <a:srgbClr val="000000"/>
                    </a:gs>
                  </a:gsLst>
                  <a:path path="circle">
                    <a:fillToRect r="100000" b="100000"/>
                  </a:path>
                </a:gradFill>
                <a:effectLst/>
                <a:uLnTx/>
                <a:uFillTx/>
                <a:latin typeface="Segoe UI Variable Display Semibold" pitchFamily="2" charset="0"/>
                <a:ea typeface="+mn-ea"/>
                <a:cs typeface="Segoe Sans Display Semibold"/>
                <a:sym typeface="Arial"/>
              </a:rPr>
            </a:b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000000"/>
                    </a:gs>
                    <a:gs pos="99000">
                      <a:srgbClr val="000000"/>
                    </a:gs>
                  </a:gsLst>
                  <a:path path="circle">
                    <a:fillToRect r="100000" b="100000"/>
                  </a:path>
                </a:gradFill>
                <a:effectLst/>
                <a:uLnTx/>
                <a:uFillTx/>
                <a:latin typeface="Segoe UI Variable Display Semibold" pitchFamily="2" charset="0"/>
                <a:ea typeface="+mn-ea"/>
                <a:cs typeface="Segoe Sans Display Semibold"/>
                <a:sym typeface="Arial"/>
              </a:rPr>
              <a:t>SDK</a:t>
            </a:r>
          </a:p>
        </p:txBody>
      </p:sp>
      <p:cxnSp>
        <p:nvCxnSpPr>
          <p:cNvPr id="113" name="!!Straight Arrow Connector 120" descr="Arrow going to the left">
            <a:extLst>
              <a:ext uri="{FF2B5EF4-FFF2-40B4-BE49-F238E27FC236}">
                <a16:creationId xmlns:a16="http://schemas.microsoft.com/office/drawing/2014/main" id="{2706F02B-1203-1A7F-F9BF-5BD8211DD321}"/>
              </a:ext>
            </a:extLst>
          </p:cNvPr>
          <p:cNvCxnSpPr>
            <a:cxnSpLocks/>
          </p:cNvCxnSpPr>
          <p:nvPr/>
        </p:nvCxnSpPr>
        <p:spPr>
          <a:xfrm>
            <a:off x="9613512" y="3214912"/>
            <a:ext cx="226515" cy="0"/>
          </a:xfrm>
          <a:prstGeom prst="straightConnector1">
            <a:avLst/>
          </a:prstGeom>
          <a:ln w="15875" cap="rnd">
            <a:solidFill>
              <a:schemeClr val="tx1"/>
            </a:solidFill>
            <a:headEnd type="arrow" w="lg" len="sm"/>
            <a:tailEnd type="none" w="lg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!!Straight Arrow Connector 119" descr="Arrow going to the right">
            <a:extLst>
              <a:ext uri="{FF2B5EF4-FFF2-40B4-BE49-F238E27FC236}">
                <a16:creationId xmlns:a16="http://schemas.microsoft.com/office/drawing/2014/main" id="{9483BAC5-9955-F385-3D1F-3921A737C2B6}"/>
              </a:ext>
            </a:extLst>
          </p:cNvPr>
          <p:cNvCxnSpPr>
            <a:cxnSpLocks/>
          </p:cNvCxnSpPr>
          <p:nvPr/>
        </p:nvCxnSpPr>
        <p:spPr>
          <a:xfrm flipH="1">
            <a:off x="9708766" y="3388569"/>
            <a:ext cx="226515" cy="0"/>
          </a:xfrm>
          <a:prstGeom prst="straightConnector1">
            <a:avLst/>
          </a:prstGeom>
          <a:ln w="15875" cap="rnd">
            <a:solidFill>
              <a:schemeClr val="tx1"/>
            </a:solidFill>
            <a:headEnd type="arrow" w="lg" len="sm"/>
            <a:tailEnd type="none" w="lg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ounded Rectangle 6">
            <a:extLst>
              <a:ext uri="{FF2B5EF4-FFF2-40B4-BE49-F238E27FC236}">
                <a16:creationId xmlns:a16="http://schemas.microsoft.com/office/drawing/2014/main" id="{27419297-4194-C01E-A471-59D010A109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10069513" y="1763886"/>
            <a:ext cx="1828800" cy="3075709"/>
          </a:xfrm>
          <a:prstGeom prst="roundRect">
            <a:avLst>
              <a:gd name="adj" fmla="val 9110"/>
            </a:avLst>
          </a:prstGeom>
          <a:noFill/>
          <a:ln w="15875" cap="rnd">
            <a:solidFill>
              <a:srgbClr val="AC35AF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61257" tIns="209007" rIns="261257" bIns="2090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332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858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Segoe UI Variable Display Semib" pitchFamily="2" charset="0"/>
              <a:ea typeface="+mn-ea"/>
              <a:cs typeface="Segoe UI" pitchFamily="34" charset="0"/>
              <a:sym typeface="Arial"/>
            </a:endParaRPr>
          </a:p>
        </p:txBody>
      </p:sp>
      <p:sp>
        <p:nvSpPr>
          <p:cNvPr id="42" name="Rounded Rectangle 6">
            <a:extLst>
              <a:ext uri="{FF2B5EF4-FFF2-40B4-BE49-F238E27FC236}">
                <a16:creationId xmlns:a16="http://schemas.microsoft.com/office/drawing/2014/main" id="{4751528E-30DB-6433-8007-CD2DBD3C6B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10264049" y="1953845"/>
            <a:ext cx="590942" cy="265799"/>
          </a:xfrm>
          <a:prstGeom prst="roundRect">
            <a:avLst>
              <a:gd name="adj" fmla="val 37156"/>
            </a:avLst>
          </a:prstGeom>
          <a:gradFill flip="none" rotWithShape="1">
            <a:gsLst>
              <a:gs pos="0">
                <a:srgbClr val="702573"/>
              </a:gs>
              <a:gs pos="80000">
                <a:srgbClr val="2A446F"/>
              </a:gs>
            </a:gsLst>
            <a:path path="circle">
              <a:fillToRect l="100000" t="100000"/>
            </a:path>
            <a:tileRect r="-100000" b="-100000"/>
          </a:gradFill>
          <a:ln w="19050" cap="rnd">
            <a:noFill/>
            <a:headEnd type="none" w="lg" len="sm"/>
            <a:tailEnd type="none" w="lg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none" lIns="91440" tIns="18288" rIns="91440" bIns="36576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3268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en-US" sz="999" b="1" i="0" u="none" strike="noStrike" kern="1200" cap="none" spc="0" normalizeH="0" baseline="0" noProof="0">
                <a:ln>
                  <a:noFill/>
                </a:ln>
                <a:gradFill>
                  <a:gsLst>
                    <a:gs pos="22018">
                      <a:srgbClr val="FFFFFF"/>
                    </a:gs>
                    <a:gs pos="44000">
                      <a:srgbClr val="FFFFFF"/>
                    </a:gs>
                  </a:gsLst>
                  <a:path path="circle">
                    <a:fillToRect r="100000" b="100000"/>
                  </a:path>
                </a:gradFill>
                <a:effectLst/>
                <a:uLnTx/>
                <a:uFillTx/>
                <a:latin typeface="Segoe UI Variable Display Semib" pitchFamily="2" charset="0"/>
                <a:ea typeface="+mn-ea"/>
                <a:cs typeface="Segoe Sans Display Semibold"/>
                <a:sym typeface="Arial"/>
              </a:rPr>
              <a:t>Cloud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48076BD6-5E47-D3E9-605A-BAC1D6E4902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/>
        </p:nvSpPr>
        <p:spPr>
          <a:xfrm>
            <a:off x="10851276" y="2655839"/>
            <a:ext cx="612369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3268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000000"/>
                    </a:gs>
                    <a:gs pos="99000">
                      <a:srgbClr val="000000"/>
                    </a:gs>
                  </a:gsLst>
                  <a:path path="circle">
                    <a:fillToRect r="100000" b="100000"/>
                  </a:path>
                </a:gradFill>
                <a:effectLst/>
                <a:uLnTx/>
                <a:uFillTx/>
                <a:latin typeface="Segoe UI Variable Display Semibold" pitchFamily="2" charset="0"/>
                <a:ea typeface="+mn-ea"/>
                <a:cs typeface="Segoe Sans Display Semibold"/>
                <a:sym typeface="Arial"/>
              </a:rPr>
              <a:t>Azure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6E76A057-344F-83FD-88B0-5DE740799F3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/>
        </p:nvSpPr>
        <p:spPr>
          <a:xfrm>
            <a:off x="10851278" y="3211264"/>
            <a:ext cx="694420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3268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000000"/>
                    </a:gs>
                    <a:gs pos="99000">
                      <a:srgbClr val="000000"/>
                    </a:gs>
                  </a:gsLst>
                  <a:path path="circle">
                    <a:fillToRect r="100000" b="100000"/>
                  </a:path>
                </a:gradFill>
                <a:effectLst/>
                <a:uLnTx/>
                <a:uFillTx/>
                <a:latin typeface="Segoe UI Variable Display Semibold" pitchFamily="2" charset="0"/>
                <a:ea typeface="+mn-ea"/>
                <a:cs typeface="Segoe Sans Display Semibold"/>
                <a:sym typeface="Arial"/>
              </a:rPr>
              <a:t>Azure Arc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D72A2590-4930-8442-AFE7-BBC23DE15DF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/>
        </p:nvSpPr>
        <p:spPr>
          <a:xfrm>
            <a:off x="10851278" y="3696423"/>
            <a:ext cx="799960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3268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000000"/>
                    </a:gs>
                    <a:gs pos="99000">
                      <a:srgbClr val="000000"/>
                    </a:gs>
                  </a:gsLst>
                  <a:path path="circle">
                    <a:fillToRect r="100000" b="100000"/>
                  </a:path>
                </a:gradFill>
                <a:effectLst/>
                <a:uLnTx/>
                <a:uFillTx/>
                <a:latin typeface="Segoe UI Variable Display Semibold" pitchFamily="2" charset="0"/>
                <a:ea typeface="+mn-ea"/>
                <a:cs typeface="Segoe Sans Display Semibold"/>
                <a:sym typeface="Arial"/>
              </a:rPr>
              <a:t>Foundry Local</a:t>
            </a:r>
          </a:p>
        </p:txBody>
      </p:sp>
      <p:grpSp>
        <p:nvGrpSpPr>
          <p:cNvPr id="67" name="Group 66" descr="Bidirectional arrow from Cloud to Edge">
            <a:extLst>
              <a:ext uri="{FF2B5EF4-FFF2-40B4-BE49-F238E27FC236}">
                <a16:creationId xmlns:a16="http://schemas.microsoft.com/office/drawing/2014/main" id="{66C31E07-3C51-9EAB-E27E-8932D72197F7}"/>
              </a:ext>
            </a:extLst>
          </p:cNvPr>
          <p:cNvGrpSpPr/>
          <p:nvPr/>
        </p:nvGrpSpPr>
        <p:grpSpPr>
          <a:xfrm>
            <a:off x="10559520" y="2319012"/>
            <a:ext cx="1" cy="1969167"/>
            <a:chOff x="10559520" y="2319012"/>
            <a:chExt cx="1" cy="1969167"/>
          </a:xfrm>
        </p:grpSpPr>
        <p:cxnSp>
          <p:nvCxnSpPr>
            <p:cNvPr id="43" name="!!Straight Arrow Connector 18">
              <a:extLst>
                <a:ext uri="{FF2B5EF4-FFF2-40B4-BE49-F238E27FC236}">
                  <a16:creationId xmlns:a16="http://schemas.microsoft.com/office/drawing/2014/main" id="{9B9ABB5D-D0E7-6FEE-C016-8E3BAB30C272}"/>
                </a:ext>
              </a:extLst>
            </p:cNvPr>
            <p:cNvCxnSpPr>
              <a:cxnSpLocks/>
            </p:cNvCxnSpPr>
            <p:nvPr/>
          </p:nvCxnSpPr>
          <p:spPr>
            <a:xfrm>
              <a:off x="10559520" y="2319012"/>
              <a:ext cx="0" cy="228600"/>
            </a:xfrm>
            <a:prstGeom prst="straightConnector1">
              <a:avLst/>
            </a:prstGeom>
            <a:ln w="12700" cap="rnd">
              <a:solidFill>
                <a:schemeClr val="tx1">
                  <a:alpha val="50000"/>
                </a:schemeClr>
              </a:solidFill>
              <a:headEnd type="arrow" w="lg" len="sm"/>
              <a:tailEnd type="none" w="lg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!!Straight Arrow Connector 46">
              <a:extLst>
                <a:ext uri="{FF2B5EF4-FFF2-40B4-BE49-F238E27FC236}">
                  <a16:creationId xmlns:a16="http://schemas.microsoft.com/office/drawing/2014/main" id="{588BA985-FC3C-AB98-7CF6-743FF41F968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/>
          </p:nvCxnSpPr>
          <p:spPr>
            <a:xfrm>
              <a:off x="10559521" y="2933252"/>
              <a:ext cx="0" cy="204311"/>
            </a:xfrm>
            <a:prstGeom prst="straightConnector1">
              <a:avLst/>
            </a:prstGeom>
            <a:ln w="12700" cap="rnd">
              <a:solidFill>
                <a:schemeClr val="tx1">
                  <a:alpha val="50000"/>
                </a:schemeClr>
              </a:solidFill>
              <a:headEnd type="none" w="lg" len="sm"/>
              <a:tailEnd type="none" w="lg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!!Straight Arrow Connector 50">
              <a:extLst>
                <a:ext uri="{FF2B5EF4-FFF2-40B4-BE49-F238E27FC236}">
                  <a16:creationId xmlns:a16="http://schemas.microsoft.com/office/drawing/2014/main" id="{827CDE31-33B8-A31E-3FA6-8680EA34C90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/>
          </p:nvCxnSpPr>
          <p:spPr>
            <a:xfrm>
              <a:off x="10559521" y="3467615"/>
              <a:ext cx="0" cy="215065"/>
            </a:xfrm>
            <a:prstGeom prst="straightConnector1">
              <a:avLst/>
            </a:prstGeom>
            <a:ln w="12700" cap="rnd">
              <a:solidFill>
                <a:schemeClr val="tx1">
                  <a:alpha val="50000"/>
                </a:schemeClr>
              </a:solidFill>
              <a:headEnd type="none" w="lg" len="sm"/>
              <a:tailEnd type="none" w="lg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!!Straight Arrow Connector 45">
              <a:extLst>
                <a:ext uri="{FF2B5EF4-FFF2-40B4-BE49-F238E27FC236}">
                  <a16:creationId xmlns:a16="http://schemas.microsoft.com/office/drawing/2014/main" id="{B489C619-024E-80E3-46A5-120807BC92A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59520" y="4059579"/>
              <a:ext cx="0" cy="228600"/>
            </a:xfrm>
            <a:prstGeom prst="straightConnector1">
              <a:avLst/>
            </a:prstGeom>
            <a:ln w="12700" cap="rnd">
              <a:solidFill>
                <a:schemeClr val="tx1">
                  <a:alpha val="50000"/>
                </a:schemeClr>
              </a:solidFill>
              <a:headEnd type="arrow" w="lg" len="sm"/>
              <a:tailEnd type="none" w="lg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9" name="Rounded Rectangle 6">
            <a:extLst>
              <a:ext uri="{FF2B5EF4-FFF2-40B4-BE49-F238E27FC236}">
                <a16:creationId xmlns:a16="http://schemas.microsoft.com/office/drawing/2014/main" id="{6F3EBE8A-1ED6-D446-62D8-76F6D03C88D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10296354" y="4339913"/>
            <a:ext cx="526336" cy="265799"/>
          </a:xfrm>
          <a:prstGeom prst="roundRect">
            <a:avLst>
              <a:gd name="adj" fmla="val 37156"/>
            </a:avLst>
          </a:prstGeom>
          <a:gradFill flip="none" rotWithShape="1">
            <a:gsLst>
              <a:gs pos="0">
                <a:srgbClr val="702573"/>
              </a:gs>
              <a:gs pos="80000">
                <a:srgbClr val="2A446F"/>
              </a:gs>
            </a:gsLst>
            <a:path path="circle">
              <a:fillToRect l="100000" t="100000"/>
            </a:path>
            <a:tileRect r="-100000" b="-100000"/>
          </a:gradFill>
          <a:ln w="19050" cap="rnd">
            <a:noFill/>
            <a:headEnd type="none" w="lg" len="sm"/>
            <a:tailEnd type="none" w="lg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none" lIns="91440" tIns="18288" rIns="91440" bIns="36576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3268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en-US" sz="999" b="1" i="0" u="none" strike="noStrike" kern="1200" cap="none" spc="0" normalizeH="0" baseline="0" noProof="0">
                <a:ln>
                  <a:noFill/>
                </a:ln>
                <a:gradFill>
                  <a:gsLst>
                    <a:gs pos="22018">
                      <a:srgbClr val="FFFFFF"/>
                    </a:gs>
                    <a:gs pos="44000">
                      <a:srgbClr val="FFFFFF"/>
                    </a:gs>
                  </a:gsLst>
                  <a:path path="circle">
                    <a:fillToRect r="100000" b="100000"/>
                  </a:path>
                </a:gradFill>
                <a:effectLst/>
                <a:uLnTx/>
                <a:uFillTx/>
                <a:latin typeface="Segoe UI Variable Display Semib" pitchFamily="2" charset="0"/>
                <a:ea typeface="+mn-ea"/>
                <a:cs typeface="Segoe Sans Display Semibold"/>
                <a:sym typeface="Arial"/>
              </a:rPr>
              <a:t>Edge</a:t>
            </a:r>
          </a:p>
        </p:txBody>
      </p:sp>
      <p:cxnSp>
        <p:nvCxnSpPr>
          <p:cNvPr id="16" name="!!Straight Arrow Connector 15" descr="Arrow going up">
            <a:extLst>
              <a:ext uri="{FF2B5EF4-FFF2-40B4-BE49-F238E27FC236}">
                <a16:creationId xmlns:a16="http://schemas.microsoft.com/office/drawing/2014/main" id="{954579A7-0BA9-A78D-6570-B9E364A8F9A3}"/>
              </a:ext>
            </a:extLst>
          </p:cNvPr>
          <p:cNvCxnSpPr>
            <a:cxnSpLocks/>
          </p:cNvCxnSpPr>
          <p:nvPr/>
        </p:nvCxnSpPr>
        <p:spPr>
          <a:xfrm>
            <a:off x="6182830" y="5262008"/>
            <a:ext cx="0" cy="182880"/>
          </a:xfrm>
          <a:prstGeom prst="straightConnector1">
            <a:avLst/>
          </a:prstGeom>
          <a:ln w="15875" cap="rnd">
            <a:solidFill>
              <a:schemeClr val="tx1"/>
            </a:solidFill>
            <a:headEnd type="arrow" w="lg" len="sm"/>
            <a:tailEnd type="none" w="lg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!!Straight Arrow Connector 14" descr="Arrow going down">
            <a:extLst>
              <a:ext uri="{FF2B5EF4-FFF2-40B4-BE49-F238E27FC236}">
                <a16:creationId xmlns:a16="http://schemas.microsoft.com/office/drawing/2014/main" id="{ECF06B73-0D45-7BBA-7504-8FB6D4DF319F}"/>
              </a:ext>
            </a:extLst>
          </p:cNvPr>
          <p:cNvCxnSpPr>
            <a:cxnSpLocks/>
          </p:cNvCxnSpPr>
          <p:nvPr/>
        </p:nvCxnSpPr>
        <p:spPr>
          <a:xfrm flipV="1">
            <a:off x="6009173" y="5375315"/>
            <a:ext cx="0" cy="182880"/>
          </a:xfrm>
          <a:prstGeom prst="straightConnector1">
            <a:avLst/>
          </a:prstGeom>
          <a:ln w="15875" cap="rnd">
            <a:solidFill>
              <a:schemeClr val="tx1"/>
            </a:solidFill>
            <a:headEnd type="arrow" w="lg" len="sm"/>
            <a:tailEnd type="none" w="lg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Rectangle: Rounded Corners 64">
            <a:extLst>
              <a:ext uri="{FF2B5EF4-FFF2-40B4-BE49-F238E27FC236}">
                <a16:creationId xmlns:a16="http://schemas.microsoft.com/office/drawing/2014/main" id="{99F247FD-D519-4D5F-B9DE-9F6D751085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522734" y="5667623"/>
            <a:ext cx="11146535" cy="594359"/>
          </a:xfrm>
          <a:prstGeom prst="roundRect">
            <a:avLst>
              <a:gd name="adj" fmla="val 31390"/>
            </a:avLst>
          </a:prstGeom>
          <a:gradFill flip="none" rotWithShape="1">
            <a:gsLst>
              <a:gs pos="0">
                <a:srgbClr val="702573">
                  <a:alpha val="10000"/>
                </a:srgbClr>
              </a:gs>
              <a:gs pos="80000">
                <a:srgbClr val="2A446F">
                  <a:alpha val="10000"/>
                </a:srgb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38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001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  <a:sym typeface="Arial"/>
            </a:endParaRPr>
          </a:p>
        </p:txBody>
      </p:sp>
      <p:sp>
        <p:nvSpPr>
          <p:cNvPr id="53" name="Rounded Rectangle 6">
            <a:extLst>
              <a:ext uri="{FF2B5EF4-FFF2-40B4-BE49-F238E27FC236}">
                <a16:creationId xmlns:a16="http://schemas.microsoft.com/office/drawing/2014/main" id="{9D18E0E4-0331-51FC-E29A-54647891DF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701043" y="5812350"/>
            <a:ext cx="784486" cy="304910"/>
          </a:xfrm>
          <a:prstGeom prst="roundRect">
            <a:avLst>
              <a:gd name="adj" fmla="val 37156"/>
            </a:avLst>
          </a:prstGeom>
          <a:gradFill flip="none" rotWithShape="1">
            <a:gsLst>
              <a:gs pos="0">
                <a:srgbClr val="702573"/>
              </a:gs>
              <a:gs pos="80000">
                <a:srgbClr val="2A446F"/>
              </a:gs>
            </a:gsLst>
            <a:path path="circle">
              <a:fillToRect l="100000" t="100000"/>
            </a:path>
            <a:tileRect r="-100000" b="-100000"/>
          </a:gradFill>
          <a:ln w="19050" cap="rnd">
            <a:noFill/>
            <a:headEnd type="none" w="lg" len="sm"/>
            <a:tailEnd type="none" w="lg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none" lIns="91440" tIns="18288" rIns="91440" bIns="36576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93268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en-US" sz="1199" b="1" i="0" u="none" strike="noStrike" kern="1200" cap="none" spc="0" normalizeH="0" baseline="0" noProof="0">
                <a:ln>
                  <a:noFill/>
                </a:ln>
                <a:gradFill>
                  <a:gsLst>
                    <a:gs pos="22018">
                      <a:srgbClr val="FFFFFF"/>
                    </a:gs>
                    <a:gs pos="44000">
                      <a:srgbClr val="FFFFFF"/>
                    </a:gs>
                  </a:gsLst>
                  <a:path path="circle">
                    <a:fillToRect r="100000" b="100000"/>
                  </a:path>
                </a:gradFill>
                <a:effectLst/>
                <a:uLnTx/>
                <a:uFillTx/>
                <a:latin typeface="Segoe UI Variable Display Semib" pitchFamily="2" charset="0"/>
                <a:ea typeface="+mn-ea"/>
                <a:cs typeface="Segoe Sans Display Semibold"/>
                <a:sym typeface="Arial"/>
              </a:rPr>
              <a:t>Control</a:t>
            </a:r>
          </a:p>
        </p:txBody>
      </p:sp>
      <p:cxnSp>
        <p:nvCxnSpPr>
          <p:cNvPr id="51" name="!!Straight Arrow Connector 50" descr="Arrow pointing left">
            <a:extLst>
              <a:ext uri="{FF2B5EF4-FFF2-40B4-BE49-F238E27FC236}">
                <a16:creationId xmlns:a16="http://schemas.microsoft.com/office/drawing/2014/main" id="{1CB50BCB-C46E-A31B-A1C1-189EC50FBDEF}"/>
              </a:ext>
            </a:extLst>
          </p:cNvPr>
          <p:cNvCxnSpPr>
            <a:cxnSpLocks/>
          </p:cNvCxnSpPr>
          <p:nvPr/>
        </p:nvCxnSpPr>
        <p:spPr>
          <a:xfrm flipV="1">
            <a:off x="1579322" y="5964803"/>
            <a:ext cx="228600" cy="0"/>
          </a:xfrm>
          <a:prstGeom prst="straightConnector1">
            <a:avLst/>
          </a:prstGeom>
          <a:ln w="12700" cap="rnd">
            <a:solidFill>
              <a:schemeClr val="tx1">
                <a:alpha val="50000"/>
              </a:schemeClr>
            </a:solidFill>
            <a:headEnd type="arrow" w="lg" len="sm"/>
            <a:tailEnd type="none" w="lg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58" name="Rounded Rectangle 6">
            <a:extLst>
              <a:ext uri="{FF2B5EF4-FFF2-40B4-BE49-F238E27FC236}">
                <a16:creationId xmlns:a16="http://schemas.microsoft.com/office/drawing/2014/main" id="{0839FC7A-38DF-D920-91E2-9C7BF7AE85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1901715" y="5776035"/>
            <a:ext cx="2329770" cy="377536"/>
          </a:xfrm>
          <a:prstGeom prst="roundRect">
            <a:avLst>
              <a:gd name="adj" fmla="val 29733"/>
            </a:avLst>
          </a:prstGeom>
          <a:ln w="19050" cap="rnd">
            <a:noFill/>
            <a:headEnd type="none" w="lg" len="sm"/>
            <a:tailEnd type="none" w="lg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none" lIns="411480" tIns="54864" rIns="91440" bIns="73152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3268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en-US" sz="1199" b="1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000000"/>
                    </a:gs>
                    <a:gs pos="99000">
                      <a:srgbClr val="000000"/>
                    </a:gs>
                  </a:gsLst>
                  <a:path path="circle">
                    <a:fillToRect r="100000" b="100000"/>
                  </a:path>
                </a:gradFill>
                <a:effectLst/>
                <a:uLnTx/>
                <a:uFillTx/>
                <a:latin typeface="Segoe UI Variable Display Semib" pitchFamily="2" charset="0"/>
                <a:ea typeface="+mn-ea"/>
                <a:cs typeface="Segoe Sans Display Semibold"/>
                <a:sym typeface="Arial"/>
              </a:rPr>
              <a:t>Azure Kubernetes Service</a:t>
            </a:r>
          </a:p>
        </p:txBody>
      </p:sp>
      <p:pic>
        <p:nvPicPr>
          <p:cNvPr id="24" name="Graphic 23" descr="Azure Kubernetes Service logo">
            <a:extLst>
              <a:ext uri="{FF2B5EF4-FFF2-40B4-BE49-F238E27FC236}">
                <a16:creationId xmlns:a16="http://schemas.microsoft.com/office/drawing/2014/main" id="{021CF857-E739-2ABA-D89F-BF62FF063C4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2033498" y="5842567"/>
            <a:ext cx="237403" cy="231866"/>
          </a:xfrm>
          <a:prstGeom prst="rect">
            <a:avLst/>
          </a:prstGeom>
          <a:effectLst/>
        </p:spPr>
      </p:pic>
      <p:sp useBgFill="1">
        <p:nvSpPr>
          <p:cNvPr id="44" name="Rounded Rectangle 6">
            <a:extLst>
              <a:ext uri="{FF2B5EF4-FFF2-40B4-BE49-F238E27FC236}">
                <a16:creationId xmlns:a16="http://schemas.microsoft.com/office/drawing/2014/main" id="{50445A2B-E16D-8A89-ACEC-40D396FA8E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4326912" y="5776035"/>
            <a:ext cx="1827330" cy="377536"/>
          </a:xfrm>
          <a:prstGeom prst="roundRect">
            <a:avLst>
              <a:gd name="adj" fmla="val 29733"/>
            </a:avLst>
          </a:prstGeom>
          <a:ln w="19050" cap="rnd">
            <a:noFill/>
            <a:headEnd type="none" w="lg" len="sm"/>
            <a:tailEnd type="none" w="lg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none" lIns="411480" tIns="54864" rIns="91440" bIns="73152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3268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en-US" sz="1199" b="1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000000"/>
                    </a:gs>
                    <a:gs pos="99000">
                      <a:srgbClr val="000000"/>
                    </a:gs>
                  </a:gsLst>
                  <a:path path="circle">
                    <a:fillToRect r="100000" b="100000"/>
                  </a:path>
                </a:gradFill>
                <a:effectLst/>
                <a:uLnTx/>
                <a:uFillTx/>
                <a:latin typeface="Segoe UI Variable Display Semib" pitchFamily="2" charset="0"/>
                <a:ea typeface="+mn-ea"/>
                <a:cs typeface="Segoe Sans Display Semibold"/>
                <a:sym typeface="Arial"/>
              </a:rPr>
              <a:t>Azure App Service</a:t>
            </a:r>
          </a:p>
        </p:txBody>
      </p:sp>
      <p:pic>
        <p:nvPicPr>
          <p:cNvPr id="98" name="Graphic 97" descr="Azure App Service logo">
            <a:extLst>
              <a:ext uri="{FF2B5EF4-FFF2-40B4-BE49-F238E27FC236}">
                <a16:creationId xmlns:a16="http://schemas.microsoft.com/office/drawing/2014/main" id="{354118AF-3914-A353-0166-411509FAB29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471424" y="5859578"/>
            <a:ext cx="201022" cy="201021"/>
          </a:xfrm>
          <a:prstGeom prst="rect">
            <a:avLst/>
          </a:prstGeom>
        </p:spPr>
      </p:pic>
      <p:sp useBgFill="1">
        <p:nvSpPr>
          <p:cNvPr id="40" name="Rounded Rectangle 6">
            <a:extLst>
              <a:ext uri="{FF2B5EF4-FFF2-40B4-BE49-F238E27FC236}">
                <a16:creationId xmlns:a16="http://schemas.microsoft.com/office/drawing/2014/main" id="{91B0FE1A-3C7A-7F22-A0FD-68DDAC47F7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6249683" y="5776035"/>
            <a:ext cx="2089601" cy="377536"/>
          </a:xfrm>
          <a:prstGeom prst="roundRect">
            <a:avLst>
              <a:gd name="adj" fmla="val 29733"/>
            </a:avLst>
          </a:prstGeom>
          <a:ln w="19050" cap="rnd">
            <a:noFill/>
            <a:headEnd type="none" w="lg" len="sm"/>
            <a:tailEnd type="none" w="lg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none" lIns="411480" tIns="54864" rIns="91440" bIns="73152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3268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en-US" sz="1199" b="1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000000"/>
                    </a:gs>
                    <a:gs pos="99000">
                      <a:srgbClr val="000000"/>
                    </a:gs>
                  </a:gsLst>
                  <a:path path="circle">
                    <a:fillToRect r="100000" b="100000"/>
                  </a:path>
                </a:gradFill>
                <a:effectLst/>
                <a:uLnTx/>
                <a:uFillTx/>
                <a:latin typeface="Segoe UI Variable Display Semib" pitchFamily="2" charset="0"/>
                <a:ea typeface="+mn-ea"/>
                <a:cs typeface="Segoe Sans Display Semibold"/>
                <a:sym typeface="Arial"/>
              </a:rPr>
              <a:t>Azure Container Apps</a:t>
            </a:r>
          </a:p>
        </p:txBody>
      </p:sp>
      <p:pic>
        <p:nvPicPr>
          <p:cNvPr id="37" name="Graphic 36" descr="Azure Container Apps logo">
            <a:extLst>
              <a:ext uri="{FF2B5EF4-FFF2-40B4-BE49-F238E27FC236}">
                <a16:creationId xmlns:a16="http://schemas.microsoft.com/office/drawing/2014/main" id="{62595923-6C4E-7FCA-B66B-1F45BC8743C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11">
            <a:lum bright="-8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/>
        </p:blipFill>
        <p:spPr>
          <a:xfrm>
            <a:off x="6392389" y="5856073"/>
            <a:ext cx="220892" cy="215740"/>
          </a:xfrm>
          <a:prstGeom prst="rect">
            <a:avLst/>
          </a:prstGeom>
          <a:effectLst/>
        </p:spPr>
      </p:pic>
      <p:sp useBgFill="1">
        <p:nvSpPr>
          <p:cNvPr id="88" name="Rounded Rectangle 6">
            <a:extLst>
              <a:ext uri="{FF2B5EF4-FFF2-40B4-BE49-F238E27FC236}">
                <a16:creationId xmlns:a16="http://schemas.microsoft.com/office/drawing/2014/main" id="{8CBE6502-9837-63C7-FB77-1BB724F856D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8433077" y="5776036"/>
            <a:ext cx="1686327" cy="377536"/>
          </a:xfrm>
          <a:prstGeom prst="roundRect">
            <a:avLst>
              <a:gd name="adj" fmla="val 29733"/>
            </a:avLst>
          </a:prstGeom>
          <a:ln w="19050" cap="rnd">
            <a:noFill/>
            <a:headEnd type="none" w="lg" len="sm"/>
            <a:tailEnd type="none" w="lg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none" lIns="411480" tIns="54864" rIns="91440" bIns="73152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3268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en-US" sz="1199" b="1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000000"/>
                    </a:gs>
                    <a:gs pos="99000">
                      <a:srgbClr val="000000"/>
                    </a:gs>
                  </a:gsLst>
                  <a:path path="circle">
                    <a:fillToRect r="100000" b="100000"/>
                  </a:path>
                </a:gradFill>
                <a:effectLst/>
                <a:uLnTx/>
                <a:uFillTx/>
                <a:latin typeface="Segoe UI Variable Display Semib" pitchFamily="2" charset="0"/>
                <a:ea typeface="+mn-ea"/>
                <a:cs typeface="Segoe Sans Display Semibold"/>
                <a:sym typeface="Arial"/>
              </a:rPr>
              <a:t>Azure Functions</a:t>
            </a:r>
          </a:p>
        </p:txBody>
      </p:sp>
      <p:pic>
        <p:nvPicPr>
          <p:cNvPr id="103" name="Picture Placeholder 6" descr="Azure Functions logo">
            <a:extLst>
              <a:ext uri="{FF2B5EF4-FFF2-40B4-BE49-F238E27FC236}">
                <a16:creationId xmlns:a16="http://schemas.microsoft.com/office/drawing/2014/main" id="{E4544C4C-0FE9-508D-79EA-C01351CED2FB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 l="6" r="6"/>
          <a:stretch/>
        </p:blipFill>
        <p:spPr>
          <a:xfrm>
            <a:off x="8598135" y="5847448"/>
            <a:ext cx="213758" cy="257076"/>
          </a:xfrm>
          <a:prstGeom prst="rect">
            <a:avLst/>
          </a:prstGeom>
          <a:effectLst/>
        </p:spPr>
      </p:pic>
      <p:cxnSp>
        <p:nvCxnSpPr>
          <p:cNvPr id="56" name="!!Straight Arrow Connector 55" descr="Arrow pointing right">
            <a:extLst>
              <a:ext uri="{FF2B5EF4-FFF2-40B4-BE49-F238E27FC236}">
                <a16:creationId xmlns:a16="http://schemas.microsoft.com/office/drawing/2014/main" id="{CD08804E-28DA-C783-6853-B83D3A55FEDB}"/>
              </a:ext>
            </a:extLst>
          </p:cNvPr>
          <p:cNvCxnSpPr>
            <a:cxnSpLocks/>
          </p:cNvCxnSpPr>
          <p:nvPr/>
        </p:nvCxnSpPr>
        <p:spPr>
          <a:xfrm flipH="1">
            <a:off x="10213197" y="5964803"/>
            <a:ext cx="228600" cy="0"/>
          </a:xfrm>
          <a:prstGeom prst="straightConnector1">
            <a:avLst/>
          </a:prstGeom>
          <a:ln w="12700" cap="rnd">
            <a:solidFill>
              <a:schemeClr val="tx1">
                <a:alpha val="50000"/>
              </a:schemeClr>
            </a:solidFill>
            <a:headEnd type="arrow" w="lg" len="sm"/>
            <a:tailEnd type="none" w="lg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Rounded Rectangle 6">
            <a:extLst>
              <a:ext uri="{FF2B5EF4-FFF2-40B4-BE49-F238E27FC236}">
                <a16:creationId xmlns:a16="http://schemas.microsoft.com/office/drawing/2014/main" id="{46C49806-D3F2-171B-27DF-E348520457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10535589" y="5812350"/>
            <a:ext cx="955373" cy="304910"/>
          </a:xfrm>
          <a:prstGeom prst="roundRect">
            <a:avLst>
              <a:gd name="adj" fmla="val 37156"/>
            </a:avLst>
          </a:prstGeom>
          <a:gradFill flip="none" rotWithShape="1">
            <a:gsLst>
              <a:gs pos="0">
                <a:srgbClr val="702573"/>
              </a:gs>
              <a:gs pos="80000">
                <a:srgbClr val="2A446F"/>
              </a:gs>
            </a:gsLst>
            <a:path path="circle">
              <a:fillToRect l="100000" t="100000"/>
            </a:path>
            <a:tileRect r="-100000" b="-100000"/>
          </a:gradFill>
          <a:ln w="19050" cap="rnd">
            <a:noFill/>
            <a:headEnd type="none" w="lg" len="sm"/>
            <a:tailEnd type="none" w="lg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none" lIns="91440" tIns="18288" rIns="91440" bIns="36576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3268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en-US" sz="1199" b="1" i="0" u="none" strike="noStrike" kern="1200" cap="none" spc="0" normalizeH="0" baseline="0" noProof="0">
                <a:ln>
                  <a:noFill/>
                </a:ln>
                <a:gradFill>
                  <a:gsLst>
                    <a:gs pos="22018">
                      <a:srgbClr val="FFFFFF"/>
                    </a:gs>
                    <a:gs pos="44000">
                      <a:srgbClr val="FFFFFF"/>
                    </a:gs>
                  </a:gsLst>
                  <a:path path="circle">
                    <a:fillToRect r="100000" b="100000"/>
                  </a:path>
                </a:gradFill>
                <a:effectLst/>
                <a:uLnTx/>
                <a:uFillTx/>
                <a:latin typeface="Segoe UI Variable Display Semib" pitchFamily="2" charset="0"/>
                <a:ea typeface="+mn-ea"/>
                <a:cs typeface="Segoe Sans Display Semibold"/>
                <a:sym typeface="Arial"/>
              </a:rPr>
              <a:t>Serverless</a:t>
            </a:r>
          </a:p>
        </p:txBody>
      </p:sp>
      <p:pic>
        <p:nvPicPr>
          <p:cNvPr id="70" name="Graphic 69" descr="Laptop monoline icon for Foundry local">
            <a:extLst>
              <a:ext uri="{FF2B5EF4-FFF2-40B4-BE49-F238E27FC236}">
                <a16:creationId xmlns:a16="http://schemas.microsoft.com/office/drawing/2014/main" id="{F8F03157-6AE1-9E75-A732-213215C169FB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0381514" y="3699908"/>
            <a:ext cx="362362" cy="362362"/>
          </a:xfrm>
          <a:prstGeom prst="rect">
            <a:avLst/>
          </a:prstGeom>
        </p:spPr>
      </p:pic>
      <p:pic>
        <p:nvPicPr>
          <p:cNvPr id="47" name="Graphic 46" descr="Azure Arc logo">
            <a:extLst>
              <a:ext uri="{FF2B5EF4-FFF2-40B4-BE49-F238E27FC236}">
                <a16:creationId xmlns:a16="http://schemas.microsoft.com/office/drawing/2014/main" id="{49FA4225-9167-4F0C-19E4-F6EA55005E13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0395069" y="3178400"/>
            <a:ext cx="328903" cy="237539"/>
          </a:xfrm>
          <a:prstGeom prst="rect">
            <a:avLst/>
          </a:prstGeom>
        </p:spPr>
      </p:pic>
      <p:pic>
        <p:nvPicPr>
          <p:cNvPr id="54" name="Picture 53" descr="Azure logo">
            <a:extLst>
              <a:ext uri="{FF2B5EF4-FFF2-40B4-BE49-F238E27FC236}">
                <a16:creationId xmlns:a16="http://schemas.microsoft.com/office/drawing/2014/main" id="{36DC9692-7902-288E-AE26-C98F1EAAF1B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1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11325" y="2605569"/>
            <a:ext cx="296390" cy="298105"/>
          </a:xfrm>
          <a:prstGeom prst="rect">
            <a:avLst/>
          </a:prstGeom>
        </p:spPr>
      </p:pic>
      <p:pic>
        <p:nvPicPr>
          <p:cNvPr id="20" name="Picture 19" descr="Visual Studio logo">
            <a:extLst>
              <a:ext uri="{FF2B5EF4-FFF2-40B4-BE49-F238E27FC236}">
                <a16:creationId xmlns:a16="http://schemas.microsoft.com/office/drawing/2014/main" id="{7B4C1F13-8148-EAFB-9AF6-36C15DF820F3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481" r="20481"/>
          <a:stretch/>
        </p:blipFill>
        <p:spPr>
          <a:xfrm>
            <a:off x="622233" y="2807542"/>
            <a:ext cx="313743" cy="332135"/>
          </a:xfrm>
          <a:prstGeom prst="rect">
            <a:avLst/>
          </a:prstGeom>
          <a:ln w="6657" cap="flat">
            <a:noFill/>
            <a:prstDash val="solid"/>
            <a:miter/>
          </a:ln>
          <a:effectLst/>
        </p:spPr>
      </p:pic>
      <p:sp useBgFill="1">
        <p:nvSpPr>
          <p:cNvPr id="3" name="Title 1">
            <a:extLst>
              <a:ext uri="{FF2B5EF4-FFF2-40B4-BE49-F238E27FC236}">
                <a16:creationId xmlns:a16="http://schemas.microsoft.com/office/drawing/2014/main" id="{F6B3C265-E18A-B256-986C-0C0B674F10E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4410291" y="1273353"/>
            <a:ext cx="3371436" cy="584775"/>
          </a:xfrm>
          <a:prstGeom prst="rect">
            <a:avLst/>
          </a:prstGeom>
          <a:ln>
            <a:noFill/>
            <a:prstDash/>
          </a:ln>
          <a:effectLst/>
        </p:spPr>
        <p:txBody>
          <a:bodyPr rot="0" spcFirstLastPara="0" vertOverflow="overflow" horzOverflow="overflow" vert="horz" wrap="none" lIns="91440" tIns="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2413689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tabLst>
                <a:tab pos="2455604" algn="l"/>
              </a:tabLst>
              <a:defRPr lang="en-US" sz="11500" b="0" cap="none" spc="-50" baseline="0" dirty="0" smtClean="0">
                <a:ln w="3175">
                  <a:noFill/>
                </a:ln>
                <a:gradFill>
                  <a:gsLst>
                    <a:gs pos="94406">
                      <a:srgbClr val="FFFFFF">
                        <a:lumMod val="75000"/>
                        <a:lumOff val="25000"/>
                      </a:srgbClr>
                    </a:gs>
                    <a:gs pos="80000">
                      <a:srgbClr val="FFFFFF">
                        <a:lumMod val="75000"/>
                        <a:lumOff val="25000"/>
                      </a:srgbClr>
                    </a:gs>
                  </a:gsLst>
                  <a:path path="circle">
                    <a:fillToRect l="100000" t="100000"/>
                  </a:path>
                </a:gradFill>
                <a:effectLst/>
                <a:latin typeface="Segoe UI Variable Display Semib" pitchFamily="2" charset="0"/>
              </a:defRPr>
            </a:lvl1pPr>
          </a:lstStyle>
          <a:p>
            <a:pPr marL="0" marR="0" lvl="0" indent="0" algn="ctr" defTabSz="9048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920538" algn="l"/>
              </a:tabLst>
              <a:defRPr/>
            </a:pPr>
            <a:endParaRPr kumimoji="0" lang="en-CA" sz="3200" b="0" i="0" u="none" strike="noStrike" kern="1200" cap="none" spc="0" normalizeH="0" baseline="0" noProof="0">
              <a:ln w="3175">
                <a:noFill/>
              </a:ln>
              <a:gradFill>
                <a:gsLst>
                  <a:gs pos="10092">
                    <a:srgbClr val="000000"/>
                  </a:gs>
                  <a:gs pos="33028">
                    <a:srgbClr val="000000"/>
                  </a:gs>
                </a:gsLst>
                <a:path path="circle">
                  <a:fillToRect l="100000" t="100000"/>
                </a:path>
              </a:gradFill>
              <a:effectLst/>
              <a:uLnTx/>
              <a:uFillTx/>
              <a:latin typeface="Segoe UI Variable Display Semib" pitchFamily="2" charset="0"/>
              <a:ea typeface="+mn-ea"/>
              <a:cs typeface="Segoe Sans Display Semibold" pitchFamily="2" charset="0"/>
              <a:sym typeface="Arial"/>
            </a:endParaRPr>
          </a:p>
        </p:txBody>
      </p:sp>
      <p:sp useBgFill="1">
        <p:nvSpPr>
          <p:cNvPr id="8" name="Title 1">
            <a:extLst>
              <a:ext uri="{FF2B5EF4-FFF2-40B4-BE49-F238E27FC236}">
                <a16:creationId xmlns:a16="http://schemas.microsoft.com/office/drawing/2014/main" id="{5750596E-1709-FEC9-149E-562D9BB9DC8E}"/>
              </a:ext>
            </a:extLst>
          </p:cNvPr>
          <p:cNvSpPr txBox="1">
            <a:spLocks/>
          </p:cNvSpPr>
          <p:nvPr/>
        </p:nvSpPr>
        <p:spPr>
          <a:xfrm>
            <a:off x="4410291" y="1273353"/>
            <a:ext cx="3371436" cy="584775"/>
          </a:xfrm>
          <a:prstGeom prst="rect">
            <a:avLst/>
          </a:prstGeom>
          <a:ln>
            <a:noFill/>
            <a:prstDash/>
          </a:ln>
          <a:effectLst/>
        </p:spPr>
        <p:txBody>
          <a:bodyPr rot="0" spcFirstLastPara="0" vertOverflow="overflow" horzOverflow="overflow" vert="horz" wrap="none" lIns="91440" tIns="0" rIns="91440" bIns="9144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ctr" defTabSz="2413689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tabLst>
                <a:tab pos="2455604" algn="l"/>
              </a:tabLst>
              <a:defRPr lang="en-US" sz="11500" b="0" cap="none" spc="-50" baseline="0" dirty="0" smtClean="0">
                <a:ln w="3175">
                  <a:noFill/>
                </a:ln>
                <a:gradFill>
                  <a:gsLst>
                    <a:gs pos="94406">
                      <a:srgbClr val="FFFFFF">
                        <a:lumMod val="75000"/>
                        <a:lumOff val="25000"/>
                      </a:srgbClr>
                    </a:gs>
                    <a:gs pos="80000">
                      <a:srgbClr val="FFFFFF">
                        <a:lumMod val="75000"/>
                        <a:lumOff val="25000"/>
                      </a:srgbClr>
                    </a:gs>
                  </a:gsLst>
                  <a:path path="circle">
                    <a:fillToRect l="100000" t="100000"/>
                  </a:path>
                </a:gradFill>
                <a:effectLst/>
                <a:latin typeface="Segoe UI Variable Display Semib" pitchFamily="2" charset="0"/>
              </a:defRPr>
            </a:lvl1pPr>
          </a:lstStyle>
          <a:p>
            <a:pPr marL="0" marR="0" lvl="0" indent="0" algn="ctr" defTabSz="9048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920538" algn="l"/>
              </a:tabLst>
              <a:defRPr/>
            </a:pPr>
            <a:r>
              <a:rPr kumimoji="0" lang="en-US" sz="3200" b="0" i="0" u="none" strike="noStrike" kern="1200" cap="none" spc="0" normalizeH="0" baseline="0" noProof="0" dirty="0">
                <a:ln w="3175">
                  <a:noFill/>
                </a:ln>
                <a:gradFill>
                  <a:gsLst>
                    <a:gs pos="10092">
                      <a:srgbClr val="000000"/>
                    </a:gs>
                    <a:gs pos="33028">
                      <a:srgbClr val="000000"/>
                    </a:gs>
                  </a:gsLst>
                  <a:path path="circle">
                    <a:fillToRect l="100000" t="100000"/>
                  </a:path>
                </a:gradFill>
                <a:effectLst/>
                <a:uLnTx/>
                <a:uFillTx/>
                <a:latin typeface="Segoe UI Variable Display Semib" pitchFamily="2" charset="0"/>
                <a:ea typeface="+mn-ea"/>
                <a:cs typeface="Segoe Sans Display Semibold" pitchFamily="2" charset="0"/>
                <a:sym typeface="Arial"/>
              </a:rPr>
              <a:t>Azure AI Foundry</a:t>
            </a:r>
            <a:endParaRPr kumimoji="0" lang="en-CA" sz="3200" b="0" i="0" u="none" strike="noStrike" kern="1200" cap="none" spc="0" normalizeH="0" baseline="0" noProof="0" dirty="0">
              <a:ln w="3175">
                <a:noFill/>
              </a:ln>
              <a:gradFill>
                <a:gsLst>
                  <a:gs pos="10092">
                    <a:srgbClr val="000000"/>
                  </a:gs>
                  <a:gs pos="33028">
                    <a:srgbClr val="000000"/>
                  </a:gs>
                </a:gsLst>
                <a:path path="circle">
                  <a:fillToRect l="100000" t="100000"/>
                </a:path>
              </a:gradFill>
              <a:effectLst/>
              <a:uLnTx/>
              <a:uFillTx/>
              <a:latin typeface="Segoe UI Variable Display Semib" pitchFamily="2" charset="0"/>
              <a:ea typeface="+mn-ea"/>
              <a:cs typeface="Segoe Sans Display Semibold" pitchFamily="2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77080397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1.85185E-6 L 0 0.03541 " pathEditMode="relative" rAng="0" ptsTypes="AA">
                                      <p:cBhvr>
                                        <p:cTn id="9" dur="700" spd="-100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7.40741E-7 L 0 0.03542 " pathEditMode="relative" rAng="0" ptsTypes="AA">
                                      <p:cBhvr>
                                        <p:cTn id="14" dur="700" spd="-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6" presetClass="entr" presetSubtype="37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0" dur="8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 0.03542 " pathEditMode="relative" rAng="0" ptsTypes="AA">
                                      <p:cBhvr>
                                        <p:cTn id="22" dur="700" spd="-100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42" presetClass="path" presetSubtype="0" decel="10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0 -2.22222E-6 L 0 0.03542 " pathEditMode="relative" rAng="0" ptsTypes="AA">
                                      <p:cBhvr>
                                        <p:cTn id="27" dur="700" spd="-100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42" presetClass="path" presetSubtype="0" decel="10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0 -4.07407E-6 L 0 0.03542 " pathEditMode="relative" rAng="0" ptsTypes="AA">
                                      <p:cBhvr>
                                        <p:cTn id="32" dur="700" spd="-100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1.25E-6 4.07407E-6 L 1.25E-6 0.03541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42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4.16667E-7 4.07407E-6 L 4.16667E-7 0.03541 " pathEditMode="relative" rAng="0" ptsTypes="AA">
                                      <p:cBhvr>
                                        <p:cTn id="42" dur="700" spd="-100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42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-4.16667E-7 4.07407E-6 L -4.16667E-7 0.03541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42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-1.25E-6 4.07407E-6 L -1.25E-6 0.03541 " pathEditMode="relative" rAng="0" ptsTypes="AA">
                                      <p:cBhvr>
                                        <p:cTn id="52" dur="700" spd="-100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42" presetClass="path" presetSubtype="0" decel="100000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0 3.7037E-6 L 0 0.03541 " pathEditMode="relative" rAng="0" ptsTypes="AA">
                                      <p:cBhvr>
                                        <p:cTn id="57" dur="700" spd="-100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58" presetID="22" presetClass="entr" presetSubtype="8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0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35" presetClass="path" presetSubtype="0" decel="10000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2.70833E-6 -2.96296E-6 L -0.00703 -2.96296E-6 " pathEditMode="relative" rAng="0" ptsTypes="AA">
                                      <p:cBhvr>
                                        <p:cTn id="62" dur="700" spd="-10000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52" y="0"/>
                                    </p:animMotion>
                                  </p:childTnLst>
                                </p:cTn>
                              </p:par>
                              <p:par>
                                <p:cTn id="63" presetID="22" presetClass="entr" presetSubtype="2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65" dur="5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35" presetClass="path" presetSubtype="0" decel="10000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-4.79167E-6 0 L 0.0073 0 " pathEditMode="relative" rAng="0" ptsTypes="AA">
                                      <p:cBhvr>
                                        <p:cTn id="67" dur="700" spd="-10000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65" y="0"/>
                                    </p:animMotion>
                                  </p:childTnLst>
                                </p:cTn>
                              </p:par>
                              <p:par>
                                <p:cTn id="68" presetID="22" presetClass="entr" presetSubtype="8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0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35" presetClass="path" presetSubtype="0" decel="10000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1.04167E-6 -2.96296E-6 L -0.00703 -2.96296E-6 " pathEditMode="relative" rAng="0" ptsTypes="AA">
                                      <p:cBhvr>
                                        <p:cTn id="72" dur="700" spd="-100000" fill="hold"/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52" y="0"/>
                                    </p:animMotion>
                                  </p:childTnLst>
                                </p:cTn>
                              </p:par>
                              <p:par>
                                <p:cTn id="73" presetID="22" presetClass="entr" presetSubtype="2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5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35" presetClass="path" presetSubtype="0" decel="10000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3.54167E-6 0 L 0.00755 0 " pathEditMode="relative" rAng="0" ptsTypes="AA">
                                      <p:cBhvr>
                                        <p:cTn id="77" dur="700" spd="-10000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78" y="0"/>
                                    </p:animMotion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42" presetClass="path" presetSubtype="0" decel="10000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1.45833E-6 -7.40741E-7 L 1.45833E-6 -0.01667 " pathEditMode="relative" rAng="0" ptsTypes="AA">
                                      <p:cBhvr>
                                        <p:cTn id="82" dur="700" spd="-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33"/>
                                    </p:animMotion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42" presetClass="path" presetSubtype="0" decel="10000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-1.45833E-6 4.44444E-6 L -1.45833E-6 0.01759 " pathEditMode="relative" rAng="0" ptsTypes="AA">
                                      <p:cBhvr>
                                        <p:cTn id="87" dur="700" spd="-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880"/>
                                    </p:animMotion>
                                  </p:childTnLst>
                                </p:cTn>
                              </p:par>
                              <p:par>
                                <p:cTn id="88" presetID="10" presetClass="entr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35" presetClass="path" presetSubtype="0" decel="100000" fill="hold" grpId="1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-2.08333E-7 4.44444E-6 L -0.01797 4.44444E-6 " pathEditMode="relative" rAng="0" ptsTypes="AA">
                                      <p:cBhvr>
                                        <p:cTn id="92" dur="700" spd="-100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98" y="0"/>
                                    </p:animMotion>
                                  </p:childTnLst>
                                </p:cTn>
                              </p:par>
                              <p:par>
                                <p:cTn id="93" presetID="10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6" presetID="35" presetClass="path" presetSubtype="0" decel="10000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4.16667E-7 -1.48148E-6 L -0.01797 -1.48148E-6 " pathEditMode="relative" rAng="0" ptsTypes="AA">
                                      <p:cBhvr>
                                        <p:cTn id="97" dur="70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98" y="0"/>
                                    </p:animMotion>
                                  </p:childTnLst>
                                </p:cTn>
                              </p:par>
                              <p:par>
                                <p:cTn id="98" presetID="10" presetClass="entr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35" presetClass="path" presetSubtype="0" decel="100000" fill="hold" grpId="1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4.16667E-7 -1.48148E-6 L -0.01797 -1.48148E-6 " pathEditMode="relative" rAng="0" ptsTypes="AA">
                                      <p:cBhvr>
                                        <p:cTn id="102" dur="700" spd="-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98" y="0"/>
                                    </p:animMotion>
                                  </p:childTnLst>
                                </p:cTn>
                              </p:par>
                              <p:par>
                                <p:cTn id="103" presetID="10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6" presetID="35" presetClass="path" presetSubtype="0" decel="10000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4.16667E-7 -1.48148E-6 L -0.01797 -1.48148E-6 " pathEditMode="relative" rAng="0" ptsTypes="AA">
                                      <p:cBhvr>
                                        <p:cTn id="107" dur="700" spd="-100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98" y="0"/>
                                    </p:animMotion>
                                  </p:childTnLst>
                                </p:cTn>
                              </p:par>
                              <p:par>
                                <p:cTn id="108" presetID="10" presetClass="entr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1" presetID="35" presetClass="path" presetSubtype="0" decel="100000" fill="hold" grpId="1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4.16667E-6 -4.81481E-6 L -0.01797 -4.81481E-6 " pathEditMode="relative" rAng="0" ptsTypes="AA">
                                      <p:cBhvr>
                                        <p:cTn id="112" dur="700" spd="-100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98" y="0"/>
                                    </p:animMotion>
                                  </p:childTnLst>
                                </p:cTn>
                              </p:par>
                              <p:par>
                                <p:cTn id="113" presetID="10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6" presetID="35" presetClass="path" presetSubtype="0" decel="10000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4.16667E-7 -1.48148E-6 L -0.01797 -1.48148E-6 " pathEditMode="relative" rAng="0" ptsTypes="AA">
                                      <p:cBhvr>
                                        <p:cTn id="117" dur="700" spd="-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98" y="0"/>
                                    </p:animMotion>
                                  </p:childTnLst>
                                </p:cTn>
                              </p:par>
                              <p:par>
                                <p:cTn id="118" presetID="10" presetClass="entr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0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1" presetID="35" presetClass="path" presetSubtype="0" decel="100000" fill="hold" grpId="1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4.16667E-7 -1.48148E-6 L -0.01797 -1.48148E-6 " pathEditMode="relative" rAng="0" ptsTypes="AA">
                                      <p:cBhvr>
                                        <p:cTn id="122" dur="700" spd="-100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98" y="0"/>
                                    </p:animMotion>
                                  </p:childTnLst>
                                </p:cTn>
                              </p:par>
                              <p:par>
                                <p:cTn id="123" presetID="10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5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6" presetID="35" presetClass="path" presetSubtype="0" decel="10000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4.16667E-7 -1.48148E-6 L -0.01797 -1.48148E-6 " pathEditMode="relative" rAng="0" ptsTypes="AA">
                                      <p:cBhvr>
                                        <p:cTn id="127" dur="700" spd="-100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98" y="0"/>
                                    </p:animMotion>
                                  </p:childTnLst>
                                </p:cTn>
                              </p:par>
                              <p:par>
                                <p:cTn id="128" presetID="10" presetClass="entr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0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1" presetID="35" presetClass="path" presetSubtype="0" decel="100000" fill="hold" grpId="1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4.16667E-7 -1.48148E-6 L -0.01797 -1.48148E-6 " pathEditMode="relative" rAng="0" ptsTypes="AA">
                                      <p:cBhvr>
                                        <p:cTn id="132" dur="700" spd="-100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98" y="0"/>
                                    </p:animMotion>
                                  </p:childTnLst>
                                </p:cTn>
                              </p:par>
                              <p:par>
                                <p:cTn id="133" presetID="10" presetClass="entr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5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6" presetID="35" presetClass="path" presetSubtype="0" decel="100000" fill="hold" grpId="1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-1.45833E-6 -1.48148E-6 L 0.02201 -1.48148E-6 " pathEditMode="relative" rAng="0" ptsTypes="AA">
                                      <p:cBhvr>
                                        <p:cTn id="137" dur="700" spd="-100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094" y="0"/>
                                    </p:animMotion>
                                  </p:childTnLst>
                                </p:cTn>
                              </p:par>
                              <p:par>
                                <p:cTn id="138" presetID="10" presetClass="entr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0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1" presetID="35" presetClass="path" presetSubtype="0" decel="100000" fill="hold" grpId="1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-1.45833E-6 -1.48148E-6 L 0.02201 -1.48148E-6 " pathEditMode="relative" rAng="0" ptsTypes="AA">
                                      <p:cBhvr>
                                        <p:cTn id="142" dur="700" spd="-100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094" y="0"/>
                                    </p:animMotion>
                                  </p:childTnLst>
                                </p:cTn>
                              </p:par>
                              <p:par>
                                <p:cTn id="143" presetID="10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5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6" presetID="35" presetClass="path" presetSubtype="0" decel="10000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-1.45833E-6 -1.48148E-6 L 0.02201 -1.48148E-6 " pathEditMode="relative" rAng="0" ptsTypes="AA">
                                      <p:cBhvr>
                                        <p:cTn id="147" dur="700" spd="-100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094" y="0"/>
                                    </p:animMotion>
                                  </p:childTnLst>
                                </p:cTn>
                              </p:par>
                              <p:par>
                                <p:cTn id="148" presetID="10" presetClass="entr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0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1" presetID="35" presetClass="path" presetSubtype="0" decel="100000" fill="hold" grpId="1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-1.45833E-6 -1.48148E-6 L 0.02201 -1.48148E-6 " pathEditMode="relative" rAng="0" ptsTypes="AA">
                                      <p:cBhvr>
                                        <p:cTn id="152" dur="700" spd="-100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094" y="0"/>
                                    </p:animMotion>
                                  </p:childTnLst>
                                </p:cTn>
                              </p:par>
                              <p:par>
                                <p:cTn id="153" presetID="10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5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6" presetID="35" presetClass="path" presetSubtype="0" decel="10000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-1.45833E-6 -1.48148E-6 L 0.02201 -1.48148E-6 " pathEditMode="relative" rAng="0" ptsTypes="AA">
                                      <p:cBhvr>
                                        <p:cTn id="157" dur="700" spd="-100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094" y="0"/>
                                    </p:animMotion>
                                  </p:childTnLst>
                                </p:cTn>
                              </p:par>
                              <p:par>
                                <p:cTn id="158" presetID="10" presetClass="entr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0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1" presetID="35" presetClass="path" presetSubtype="0" decel="100000" fill="hold" grpId="1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-1.45833E-6 -1.48148E-6 L 0.02201 -1.48148E-6 " pathEditMode="relative" rAng="0" ptsTypes="AA">
                                      <p:cBhvr>
                                        <p:cTn id="162" dur="700" spd="-100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094" y="0"/>
                                    </p:animMotion>
                                  </p:childTnLst>
                                </p:cTn>
                              </p:par>
                              <p:par>
                                <p:cTn id="163" presetID="10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5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6" presetID="35" presetClass="path" presetSubtype="0" decel="10000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-1.45833E-6 -1.48148E-6 L 0.02201 -1.48148E-6 " pathEditMode="relative" rAng="0" ptsTypes="AA">
                                      <p:cBhvr>
                                        <p:cTn id="167" dur="700" spd="-100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094" y="0"/>
                                    </p:animMotion>
                                  </p:childTnLst>
                                </p:cTn>
                              </p:par>
                              <p:par>
                                <p:cTn id="168" presetID="10" presetClass="entr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0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1" presetID="35" presetClass="path" presetSubtype="0" decel="100000" fill="hold" grpId="1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-1.45833E-6 -1.48148E-6 L 0.02201 -1.48148E-6 " pathEditMode="relative" rAng="0" ptsTypes="AA">
                                      <p:cBhvr>
                                        <p:cTn id="172" dur="700" spd="-100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094" y="0"/>
                                    </p:animMotion>
                                  </p:childTnLst>
                                </p:cTn>
                              </p:par>
                              <p:par>
                                <p:cTn id="173" presetID="10" presetClass="entr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5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6" presetID="35" presetClass="path" presetSubtype="0" decel="100000" fill="hold" grpId="1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-1.45833E-6 -1.48148E-6 L 0.02201 -1.48148E-6 " pathEditMode="relative" rAng="0" ptsTypes="AA">
                                      <p:cBhvr>
                                        <p:cTn id="177" dur="700" spd="-100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094" y="0"/>
                                    </p:animMotion>
                                  </p:childTnLst>
                                </p:cTn>
                              </p:par>
                              <p:par>
                                <p:cTn id="178" presetID="10" presetClass="entr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1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0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1" presetID="42" presetClass="path" presetSubtype="0" decel="100000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0 4.07407E-6 L 0 0.03541 " pathEditMode="relative" rAng="0" ptsTypes="AA">
                                      <p:cBhvr>
                                        <p:cTn id="182" dur="700" spd="-100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183" presetID="10" presetClass="entr" presetSubtype="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1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5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6" presetID="42" presetClass="path" presetSubtype="0" decel="10000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0 4.07407E-6 L 0 0.03541 " pathEditMode="relative" rAng="0" ptsTypes="AA">
                                      <p:cBhvr>
                                        <p:cTn id="187" dur="700" spd="-100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188" presetID="10" presetClass="entr" presetSubtype="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1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1" presetID="42" presetClass="path" presetSubtype="0" decel="10000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0 4.07407E-6 L 0 0.03541 " pathEditMode="relative" rAng="0" ptsTypes="AA">
                                      <p:cBhvr>
                                        <p:cTn id="192" dur="700" spd="-100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193" presetID="10" presetClass="entr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1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5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6" presetID="42" presetClass="path" presetSubtype="0" decel="100000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0 4.07407E-6 L 0 0.03541 " pathEditMode="relative" rAng="0" ptsTypes="AA">
                                      <p:cBhvr>
                                        <p:cTn id="197" dur="700" spd="-1000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198" presetID="10" presetClass="entr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1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0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1" presetID="42" presetClass="path" presetSubtype="0" decel="100000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0 4.07407E-6 L 0 0.03541 " pathEditMode="relative" rAng="0" ptsTypes="AA">
                                      <p:cBhvr>
                                        <p:cTn id="202" dur="700" spd="-100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203" presetID="10" presetClass="entr" presetSubtype="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2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5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6" presetID="42" presetClass="path" presetSubtype="0" decel="10000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0 4.07407E-6 L 0 0.03541 " pathEditMode="relative" rAng="0" ptsTypes="AA">
                                      <p:cBhvr>
                                        <p:cTn id="207" dur="700" spd="-1000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208" presetID="10" presetClass="entr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2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0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1" presetID="42" presetClass="path" presetSubtype="0" decel="100000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0 4.07407E-6 L 0 0.03541 " pathEditMode="relative" rAng="0" ptsTypes="AA">
                                      <p:cBhvr>
                                        <p:cTn id="212" dur="700" spd="-100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213" presetID="10" presetClass="entr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2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5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6" presetID="42" presetClass="path" presetSubtype="0" decel="100000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0 4.07407E-6 L 0 0.03541 " pathEditMode="relative" rAng="0" ptsTypes="AA">
                                      <p:cBhvr>
                                        <p:cTn id="217" dur="700" spd="-100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218" presetID="10" presetClass="entr" presetSubtype="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2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0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1" presetID="42" presetClass="path" presetSubtype="0" decel="10000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0 4.07407E-6 L 0 0.03541 " pathEditMode="relative" rAng="0" ptsTypes="AA">
                                      <p:cBhvr>
                                        <p:cTn id="222" dur="700" spd="-100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223" presetID="10" presetClass="entr" presetSubtype="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2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5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6" presetID="42" presetClass="path" presetSubtype="0" decel="10000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0 4.07407E-6 L 0 0.03541 " pathEditMode="relative" rAng="0" ptsTypes="AA">
                                      <p:cBhvr>
                                        <p:cTn id="227" dur="700" spd="-1000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228" presetID="10" presetClass="entr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2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0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1" presetID="42" presetClass="path" presetSubtype="0" decel="100000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0 4.07407E-6 L 0 0.03541 " pathEditMode="relative" rAng="0" ptsTypes="AA">
                                      <p:cBhvr>
                                        <p:cTn id="232" dur="700" spd="-1000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233" presetID="10" presetClass="entr" presetSubtype="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2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5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6" presetID="42" presetClass="path" presetSubtype="0" decel="10000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0 4.07407E-6 L 0 0.03541 " pathEditMode="relative" rAng="0" ptsTypes="AA">
                                      <p:cBhvr>
                                        <p:cTn id="237" dur="700" spd="-100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238" presetID="10" presetClass="entr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2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0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1" presetID="42" presetClass="path" presetSubtype="0" decel="100000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0 4.07407E-6 L 0 0.03541 " pathEditMode="relative" rAng="0" ptsTypes="AA">
                                      <p:cBhvr>
                                        <p:cTn id="242" dur="700" spd="-1000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243" presetID="10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2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5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6" presetID="35" presetClass="path" presetSubtype="0" decel="10000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-1.45833E-6 -1.48148E-6 L 0.02201 -1.48148E-6 " pathEditMode="relative" rAng="0" ptsTypes="AA">
                                      <p:cBhvr>
                                        <p:cTn id="247" dur="700" spd="-1000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094" y="0"/>
                                    </p:animMotion>
                                  </p:childTnLst>
                                </p:cTn>
                              </p:par>
                              <p:par>
                                <p:cTn id="248" presetID="42" presetClass="path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7.40741E-7 L 0 0.03542 " pathEditMode="relative" rAng="0" ptsTypes="AA">
                                      <p:cBhvr>
                                        <p:cTn id="249" dur="700" spd="-100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 animBg="1"/>
      <p:bldP spid="48" grpId="1" animBg="1"/>
      <p:bldP spid="19" grpId="0" animBg="1"/>
      <p:bldP spid="19" grpId="1" animBg="1"/>
      <p:bldP spid="22" grpId="0" animBg="1"/>
      <p:bldP spid="22" grpId="1" animBg="1"/>
      <p:bldP spid="23" grpId="0" animBg="1"/>
      <p:bldP spid="23" grpId="1" animBg="1"/>
      <p:bldP spid="30" grpId="0" animBg="1"/>
      <p:bldP spid="30" grpId="1" animBg="1"/>
      <p:bldP spid="31" grpId="0" animBg="1"/>
      <p:bldP spid="31" grpId="1" animBg="1"/>
      <p:bldP spid="32" grpId="0" animBg="1"/>
      <p:bldP spid="32" grpId="1" animBg="1"/>
      <p:bldP spid="29" grpId="0" animBg="1"/>
      <p:bldP spid="29" grpId="1" animBg="1"/>
      <p:bldP spid="25" grpId="0" animBg="1"/>
      <p:bldP spid="7" grpId="0" animBg="1"/>
      <p:bldP spid="7" grpId="1" animBg="1"/>
      <p:bldP spid="14" grpId="0"/>
      <p:bldP spid="14" grpId="1"/>
      <p:bldP spid="26" grpId="0"/>
      <p:bldP spid="26" grpId="1"/>
      <p:bldP spid="28" grpId="0"/>
      <p:bldP spid="28" grpId="1"/>
      <p:bldP spid="34" grpId="0"/>
      <p:bldP spid="34" grpId="1"/>
      <p:bldP spid="41" grpId="0" animBg="1"/>
      <p:bldP spid="41" grpId="1" animBg="1"/>
      <p:bldP spid="42" grpId="0" animBg="1"/>
      <p:bldP spid="42" grpId="1" animBg="1"/>
      <p:bldP spid="45" grpId="0"/>
      <p:bldP spid="45" grpId="1"/>
      <p:bldP spid="49" grpId="0"/>
      <p:bldP spid="49" grpId="1"/>
      <p:bldP spid="55" grpId="0"/>
      <p:bldP spid="55" grpId="1"/>
      <p:bldP spid="59" grpId="0" animBg="1"/>
      <p:bldP spid="59" grpId="1" animBg="1"/>
      <p:bldP spid="65" grpId="0" animBg="1"/>
      <p:bldP spid="65" grpId="1" animBg="1"/>
      <p:bldP spid="53" grpId="0" animBg="1"/>
      <p:bldP spid="53" grpId="1" animBg="1"/>
      <p:bldP spid="58" grpId="0" animBg="1"/>
      <p:bldP spid="58" grpId="1" animBg="1"/>
      <p:bldP spid="44" grpId="0" animBg="1"/>
      <p:bldP spid="44" grpId="1" animBg="1"/>
      <p:bldP spid="40" grpId="0" animBg="1"/>
      <p:bldP spid="40" grpId="1" animBg="1"/>
      <p:bldP spid="88" grpId="0" animBg="1"/>
      <p:bldP spid="88" grpId="1" animBg="1"/>
      <p:bldP spid="52" grpId="0" animBg="1"/>
      <p:bldP spid="52" grpId="1" animBg="1"/>
      <p:bldP spid="3" grpId="0" animBg="1"/>
      <p:bldP spid="8" grpId="0" animBg="1"/>
      <p:bldP spid="8" grpId="1" animBg="1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C6B063-F7D5-062C-448C-2B41609EF1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7">
            <a:extLst>
              <a:ext uri="{FF2B5EF4-FFF2-40B4-BE49-F238E27FC236}">
                <a16:creationId xmlns:a16="http://schemas.microsoft.com/office/drawing/2014/main" id="{C281AD74-1A5C-17AF-7805-CD63954362D9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587375" y="661988"/>
            <a:ext cx="11017250" cy="73977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50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0" i="0" u="none" strike="noStrike" kern="1200" cap="none" spc="-50" normalizeH="0" baseline="0" noProof="0" dirty="0">
                <a:ln w="3175">
                  <a:noFill/>
                </a:ln>
                <a:gradFill>
                  <a:gsLst>
                    <a:gs pos="9174">
                      <a:srgbClr val="000000"/>
                    </a:gs>
                    <a:gs pos="42000">
                      <a:srgbClr val="000000"/>
                    </a:gs>
                  </a:gsLst>
                  <a:path path="circle">
                    <a:fillToRect l="100000" t="100000"/>
                  </a:path>
                </a:gradFill>
                <a:effectLst/>
                <a:uLnTx/>
                <a:uFillTx/>
                <a:latin typeface="Segoe UI Variable Display Semib"/>
                <a:ea typeface="+mn-ea"/>
                <a:cs typeface="Segoe UI"/>
              </a:rPr>
              <a:t>What’s supported today?</a:t>
            </a:r>
            <a:endParaRPr kumimoji="0" lang="en-US" sz="4400" b="0" i="0" u="none" strike="noStrike" kern="1200" cap="none" spc="-50" normalizeH="0" baseline="0" noProof="0" dirty="0">
              <a:ln w="3175"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n-ea"/>
              <a:cs typeface="Segoe UI" pitchFamily="34" charset="0"/>
            </a:endParaRP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23004675-F5E9-6E78-9E09-752395819E7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24982919"/>
              </p:ext>
            </p:extLst>
          </p:nvPr>
        </p:nvGraphicFramePr>
        <p:xfrm>
          <a:off x="899457" y="2081405"/>
          <a:ext cx="10393085" cy="4328160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1881095">
                  <a:extLst>
                    <a:ext uri="{9D8B030D-6E8A-4147-A177-3AD203B41FA5}">
                      <a16:colId xmlns:a16="http://schemas.microsoft.com/office/drawing/2014/main" val="3726548373"/>
                    </a:ext>
                  </a:extLst>
                </a:gridCol>
                <a:gridCol w="2837330">
                  <a:extLst>
                    <a:ext uri="{9D8B030D-6E8A-4147-A177-3AD203B41FA5}">
                      <a16:colId xmlns:a16="http://schemas.microsoft.com/office/drawing/2014/main" val="1116860426"/>
                    </a:ext>
                  </a:extLst>
                </a:gridCol>
                <a:gridCol w="2837330">
                  <a:extLst>
                    <a:ext uri="{9D8B030D-6E8A-4147-A177-3AD203B41FA5}">
                      <a16:colId xmlns:a16="http://schemas.microsoft.com/office/drawing/2014/main" val="3661603150"/>
                    </a:ext>
                  </a:extLst>
                </a:gridCol>
                <a:gridCol w="2837330">
                  <a:extLst>
                    <a:ext uri="{9D8B030D-6E8A-4147-A177-3AD203B41FA5}">
                      <a16:colId xmlns:a16="http://schemas.microsoft.com/office/drawing/2014/main" val="221857557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n-US" sz="2000"/>
                    </a:p>
                  </a:txBody>
                  <a:tcPr marL="137160" marR="137160" marT="137160" marB="137160">
                    <a:solidFill>
                      <a:schemeClr val="bg2">
                        <a:lumMod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/>
                        <a:t>Semantic Kernel</a:t>
                      </a:r>
                    </a:p>
                  </a:txBody>
                  <a:tcPr marL="137160" marR="137160" marT="137160" marB="137160">
                    <a:solidFill>
                      <a:schemeClr val="bg2">
                        <a:lumMod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Foundry Agent Service</a:t>
                      </a:r>
                    </a:p>
                  </a:txBody>
                  <a:tcPr marL="137160" marR="137160" marT="137160" marB="137160">
                    <a:solidFill>
                      <a:schemeClr val="bg2">
                        <a:lumMod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/>
                        <a:t>Copilot Studio</a:t>
                      </a:r>
                    </a:p>
                  </a:txBody>
                  <a:tcPr marL="137160" marR="137160" marT="137160" marB="137160">
                    <a:solidFill>
                      <a:schemeClr val="bg2">
                        <a:lumMod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4308029"/>
                  </a:ext>
                </a:extLst>
              </a:tr>
              <a:tr h="370840">
                <a:tc gridSpan="4">
                  <a:txBody>
                    <a:bodyPr/>
                    <a:lstStyle/>
                    <a:p>
                      <a:r>
                        <a:rPr lang="en-US" sz="2000">
                          <a:latin typeface="+mj-lt"/>
                        </a:rPr>
                        <a:t>MCP</a:t>
                      </a:r>
                    </a:p>
                  </a:txBody>
                  <a:tcPr marL="137160" marR="137160" marT="137160" marB="137160"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2000"/>
                    </a:p>
                  </a:txBody>
                  <a:tcPr marL="137160" marR="137160" marT="137160" marB="137160"/>
                </a:tc>
                <a:tc hMerge="1">
                  <a:txBody>
                    <a:bodyPr/>
                    <a:lstStyle/>
                    <a:p>
                      <a:endParaRPr lang="en-US" sz="2000"/>
                    </a:p>
                  </a:txBody>
                  <a:tcPr marL="137160" marR="137160" marT="137160" marB="137160"/>
                </a:tc>
                <a:tc hMerge="1">
                  <a:txBody>
                    <a:bodyPr/>
                    <a:lstStyle/>
                    <a:p>
                      <a:endParaRPr lang="en-US" sz="2000"/>
                    </a:p>
                  </a:txBody>
                  <a:tcPr marL="137160" marR="137160" marT="137160" marB="137160"/>
                </a:tc>
                <a:extLst>
                  <a:ext uri="{0D108BD9-81ED-4DB2-BD59-A6C34878D82A}">
                    <a16:rowId xmlns:a16="http://schemas.microsoft.com/office/drawing/2014/main" val="388629778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000" i="1"/>
                        <a:t>Connector</a:t>
                      </a:r>
                    </a:p>
                  </a:txBody>
                  <a:tcPr marL="137160" marR="137160" marT="137160" marB="13716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Available today</a:t>
                      </a:r>
                    </a:p>
                  </a:txBody>
                  <a:tcPr marL="137160" marR="137160" marT="137160" marB="13716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Available today</a:t>
                      </a:r>
                    </a:p>
                  </a:txBody>
                  <a:tcPr marL="137160" marR="137160" marT="137160" marB="13716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327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/>
                        <a:t>Available today</a:t>
                      </a:r>
                    </a:p>
                  </a:txBody>
                  <a:tcPr marL="137160" marR="137160" marT="137160" marB="13716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2011641"/>
                  </a:ext>
                </a:extLst>
              </a:tr>
              <a:tr h="370840">
                <a:tc gridSpan="4">
                  <a:txBody>
                    <a:bodyPr/>
                    <a:lstStyle/>
                    <a:p>
                      <a:r>
                        <a:rPr lang="en-US" sz="2000">
                          <a:latin typeface="+mj-lt"/>
                        </a:rPr>
                        <a:t>A2A</a:t>
                      </a:r>
                    </a:p>
                  </a:txBody>
                  <a:tcPr marL="137160" marR="137160" marT="137160" marB="137160"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2000"/>
                    </a:p>
                  </a:txBody>
                  <a:tcPr marL="137160" marR="137160" marT="137160" marB="137160"/>
                </a:tc>
                <a:tc hMerge="1">
                  <a:txBody>
                    <a:bodyPr/>
                    <a:lstStyle/>
                    <a:p>
                      <a:endParaRPr lang="en-US" sz="2000"/>
                    </a:p>
                  </a:txBody>
                  <a:tcPr marL="137160" marR="137160" marT="137160" marB="137160"/>
                </a:tc>
                <a:tc hMerge="1">
                  <a:txBody>
                    <a:bodyPr/>
                    <a:lstStyle/>
                    <a:p>
                      <a:endParaRPr lang="en-US" sz="2000"/>
                    </a:p>
                  </a:txBody>
                  <a:tcPr marL="137160" marR="137160" marT="137160" marB="137160"/>
                </a:tc>
                <a:extLst>
                  <a:ext uri="{0D108BD9-81ED-4DB2-BD59-A6C34878D82A}">
                    <a16:rowId xmlns:a16="http://schemas.microsoft.com/office/drawing/2014/main" val="42220356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000" i="1"/>
                        <a:t>Connector</a:t>
                      </a:r>
                    </a:p>
                  </a:txBody>
                  <a:tcPr marL="137160" marR="137160" marT="137160" marB="13716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327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/>
                        <a:t>Available today</a:t>
                      </a:r>
                    </a:p>
                  </a:txBody>
                  <a:tcPr marL="137160" marR="137160" marT="137160" marB="13716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327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/>
                        <a:t>Coming soon</a:t>
                      </a:r>
                    </a:p>
                  </a:txBody>
                  <a:tcPr marL="137160" marR="137160" marT="137160" marB="13716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327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/>
                        <a:t>Coming soon</a:t>
                      </a:r>
                    </a:p>
                  </a:txBody>
                  <a:tcPr marL="137160" marR="137160" marT="137160" marB="13716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23728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000" i="1"/>
                        <a:t>API head</a:t>
                      </a:r>
                    </a:p>
                  </a:txBody>
                  <a:tcPr marL="137160" marR="137160" marT="137160" marB="13716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N/A</a:t>
                      </a:r>
                    </a:p>
                  </a:txBody>
                  <a:tcPr marL="137160" marR="137160" marT="137160" marB="13716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Available today</a:t>
                      </a:r>
                    </a:p>
                    <a:p>
                      <a:r>
                        <a:rPr lang="en-US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enables open-source orchestrators with A2A connectors to seamlessly use Foundry Agent Service agents)</a:t>
                      </a:r>
                      <a:endParaRPr lang="en-US" sz="1200" dirty="0"/>
                    </a:p>
                  </a:txBody>
                  <a:tcPr marL="137160" marR="137160" marT="137160" marB="13716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327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/>
                        <a:t>N/A</a:t>
                      </a:r>
                    </a:p>
                  </a:txBody>
                  <a:tcPr marL="137160" marR="137160" marT="137160" marB="13716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072789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88092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0 -2.96296E-6 L 0 0.03542 " pathEditMode="relative" rAng="0" ptsTypes="AA">
                                      <p:cBhvr>
                                        <p:cTn id="9" dur="700" spd="-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8" grpId="1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D1FCF98-9B35-8862-18D1-727201092F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466E4E-23EF-DD51-FF01-A2F2B6833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normAutofit/>
          </a:bodyPr>
          <a:lstStyle/>
          <a:p>
            <a:pPr algn="ctr"/>
            <a:r>
              <a:rPr lang="en-US"/>
              <a:t>MCP Microsoft Ecosystem</a:t>
            </a:r>
          </a:p>
        </p:txBody>
      </p:sp>
      <p:sp>
        <p:nvSpPr>
          <p:cNvPr id="57" name="Rectangle: Rounded Corners 56">
            <a:extLst>
              <a:ext uri="{FF2B5EF4-FFF2-40B4-BE49-F238E27FC236}">
                <a16:creationId xmlns:a16="http://schemas.microsoft.com/office/drawing/2014/main" id="{840432AC-99FB-DD72-2F1B-09F1175F430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429243" y="1385735"/>
            <a:ext cx="9639810" cy="980030"/>
          </a:xfrm>
          <a:prstGeom prst="roundRect">
            <a:avLst/>
          </a:prstGeom>
          <a:noFill/>
          <a:ln w="15875" cap="rnd">
            <a:solidFill>
              <a:srgbClr val="3A4953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  <a:sym typeface="Arial"/>
            </a:endParaRPr>
          </a:p>
        </p:txBody>
      </p:sp>
      <p:pic>
        <p:nvPicPr>
          <p:cNvPr id="1027" name="Picture 18">
            <a:extLst>
              <a:ext uri="{FF2B5EF4-FFF2-40B4-BE49-F238E27FC236}">
                <a16:creationId xmlns:a16="http://schemas.microsoft.com/office/drawing/2014/main" id="{44D7D79A-7D49-EFB5-CA74-C75D60A782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2222" y="1633588"/>
            <a:ext cx="359375" cy="359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35" name="TextBox 1034">
            <a:extLst>
              <a:ext uri="{FF2B5EF4-FFF2-40B4-BE49-F238E27FC236}">
                <a16:creationId xmlns:a16="http://schemas.microsoft.com/office/drawing/2014/main" id="{A775DCD7-6068-79E8-A3ED-85BA65794CE3}"/>
              </a:ext>
            </a:extLst>
          </p:cNvPr>
          <p:cNvSpPr txBox="1"/>
          <p:nvPr/>
        </p:nvSpPr>
        <p:spPr>
          <a:xfrm>
            <a:off x="2082472" y="1628609"/>
            <a:ext cx="64273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Arial"/>
                <a:sym typeface="Arial"/>
              </a:rPr>
              <a:t>Copilot Studio </a:t>
            </a:r>
          </a:p>
        </p:txBody>
      </p:sp>
      <p:pic>
        <p:nvPicPr>
          <p:cNvPr id="1029" name="Picture 14">
            <a:extLst>
              <a:ext uri="{FF2B5EF4-FFF2-40B4-BE49-F238E27FC236}">
                <a16:creationId xmlns:a16="http://schemas.microsoft.com/office/drawing/2014/main" id="{7C63177E-F72B-39E0-647B-183037C3DF7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25098" y="1632202"/>
            <a:ext cx="362146" cy="3621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36" name="TextBox 1035">
            <a:extLst>
              <a:ext uri="{FF2B5EF4-FFF2-40B4-BE49-F238E27FC236}">
                <a16:creationId xmlns:a16="http://schemas.microsoft.com/office/drawing/2014/main" id="{8B93E12A-DB9D-113C-17E9-C6D4A7BAF8F7}"/>
              </a:ext>
            </a:extLst>
          </p:cNvPr>
          <p:cNvSpPr txBox="1"/>
          <p:nvPr/>
        </p:nvSpPr>
        <p:spPr>
          <a:xfrm>
            <a:off x="3274310" y="1628609"/>
            <a:ext cx="359073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Arial"/>
                <a:sym typeface="Arial"/>
              </a:rPr>
              <a:t>VS </a:t>
            </a:r>
            <a:b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Arial"/>
                <a:sym typeface="Arial"/>
              </a:rPr>
            </a:b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Arial"/>
                <a:sym typeface="Arial"/>
              </a:rPr>
              <a:t>Code</a:t>
            </a:r>
          </a:p>
        </p:txBody>
      </p:sp>
      <p:pic>
        <p:nvPicPr>
          <p:cNvPr id="1031" name="Picture 2">
            <a:extLst>
              <a:ext uri="{FF2B5EF4-FFF2-40B4-BE49-F238E27FC236}">
                <a16:creationId xmlns:a16="http://schemas.microsoft.com/office/drawing/2014/main" id="{550E4051-CDA8-3F99-4817-9AB5EE9F7D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1141" y="1632202"/>
            <a:ext cx="689800" cy="3621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38" name="TextBox 1037">
            <a:extLst>
              <a:ext uri="{FF2B5EF4-FFF2-40B4-BE49-F238E27FC236}">
                <a16:creationId xmlns:a16="http://schemas.microsoft.com/office/drawing/2014/main" id="{A0BEE027-3CEA-B94E-BA4C-67D8E3219A38}"/>
              </a:ext>
            </a:extLst>
          </p:cNvPr>
          <p:cNvSpPr txBox="1"/>
          <p:nvPr/>
        </p:nvSpPr>
        <p:spPr>
          <a:xfrm>
            <a:off x="4301034" y="1628609"/>
            <a:ext cx="604076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Arial"/>
                <a:sym typeface="Arial"/>
              </a:rPr>
              <a:t>Foundry </a:t>
            </a:r>
            <a:b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Arial"/>
                <a:sym typeface="Arial"/>
              </a:rPr>
            </a:b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Arial"/>
                <a:sym typeface="Arial"/>
              </a:rPr>
              <a:t>Agent</a:t>
            </a:r>
          </a:p>
        </p:txBody>
      </p:sp>
      <p:pic>
        <p:nvPicPr>
          <p:cNvPr id="1033" name="Picture 4">
            <a:extLst>
              <a:ext uri="{FF2B5EF4-FFF2-40B4-BE49-F238E27FC236}">
                <a16:creationId xmlns:a16="http://schemas.microsoft.com/office/drawing/2014/main" id="{AECBF1C4-BAC3-F8CA-5BA8-BCC6A077B8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1025" y="1640723"/>
            <a:ext cx="345104" cy="3451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39" name="TextBox 1038">
            <a:extLst>
              <a:ext uri="{FF2B5EF4-FFF2-40B4-BE49-F238E27FC236}">
                <a16:creationId xmlns:a16="http://schemas.microsoft.com/office/drawing/2014/main" id="{C608F35D-410F-B0F0-B961-11683EC5140D}"/>
              </a:ext>
            </a:extLst>
          </p:cNvPr>
          <p:cNvSpPr txBox="1"/>
          <p:nvPr/>
        </p:nvSpPr>
        <p:spPr>
          <a:xfrm>
            <a:off x="5531811" y="1628609"/>
            <a:ext cx="484107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Arial"/>
                <a:sym typeface="Arial"/>
              </a:rPr>
              <a:t>Visual  </a:t>
            </a:r>
            <a:b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Arial"/>
                <a:sym typeface="Arial"/>
              </a:rPr>
            </a:b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Arial"/>
                <a:sym typeface="Arial"/>
              </a:rPr>
              <a:t>Studio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8081F45-B7EE-6FDA-1AAB-A7A461D436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375258" y="1650111"/>
            <a:ext cx="406254" cy="326328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D0235F54-CC59-FE81-F23B-B0E6657689BD}"/>
              </a:ext>
            </a:extLst>
          </p:cNvPr>
          <p:cNvSpPr txBox="1"/>
          <p:nvPr/>
        </p:nvSpPr>
        <p:spPr>
          <a:xfrm>
            <a:off x="7889165" y="1628609"/>
            <a:ext cx="522579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Arial"/>
                <a:sym typeface="Arial"/>
              </a:rPr>
              <a:t>GitHub </a:t>
            </a:r>
            <a:b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Arial"/>
                <a:sym typeface="Arial"/>
              </a:rPr>
            </a:b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Arial"/>
                <a:sym typeface="Arial"/>
              </a:rPr>
              <a:t>Copilot</a:t>
            </a: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A5E0EE8E-FA2A-C6AE-F54E-CE9FA39336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45507" y="1478891"/>
            <a:ext cx="625720" cy="625720"/>
          </a:xfrm>
          <a:prstGeom prst="rect">
            <a:avLst/>
          </a:prstGeom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0A159B48-E35C-B1FF-BBDB-F200ED4BC7E8}"/>
              </a:ext>
            </a:extLst>
          </p:cNvPr>
          <p:cNvSpPr txBox="1"/>
          <p:nvPr/>
        </p:nvSpPr>
        <p:spPr>
          <a:xfrm>
            <a:off x="9009975" y="1628609"/>
            <a:ext cx="684033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Arial"/>
                <a:sym typeface="Arial"/>
              </a:rPr>
              <a:t>Microsoft </a:t>
            </a:r>
            <a:b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Arial"/>
                <a:sym typeface="Arial"/>
              </a:rPr>
            </a:b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Arial"/>
                <a:sym typeface="Arial"/>
              </a:rPr>
              <a:t>Teams  </a:t>
            </a:r>
          </a:p>
        </p:txBody>
      </p:sp>
      <p:pic>
        <p:nvPicPr>
          <p:cNvPr id="38" name="Picture 16">
            <a:extLst>
              <a:ext uri="{FF2B5EF4-FFF2-40B4-BE49-F238E27FC236}">
                <a16:creationId xmlns:a16="http://schemas.microsoft.com/office/drawing/2014/main" id="{4B626977-CCA7-2DB2-EE2B-6B96F2D778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46899" y="1645369"/>
            <a:ext cx="335812" cy="335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40" name="TextBox 1039">
            <a:extLst>
              <a:ext uri="{FF2B5EF4-FFF2-40B4-BE49-F238E27FC236}">
                <a16:creationId xmlns:a16="http://schemas.microsoft.com/office/drawing/2014/main" id="{1837BAAF-9884-17D4-B731-4C8154087B5C}"/>
              </a:ext>
            </a:extLst>
          </p:cNvPr>
          <p:cNvSpPr txBox="1"/>
          <p:nvPr/>
        </p:nvSpPr>
        <p:spPr>
          <a:xfrm>
            <a:off x="10251544" y="1628609"/>
            <a:ext cx="665247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Arial"/>
                <a:sym typeface="Arial"/>
              </a:rPr>
              <a:t>Semantic </a:t>
            </a:r>
            <a:b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Arial"/>
                <a:sym typeface="Arial"/>
              </a:rPr>
            </a:b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Arial"/>
                <a:sym typeface="Arial"/>
              </a:rPr>
              <a:t>Kernel </a:t>
            </a:r>
          </a:p>
        </p:txBody>
      </p:sp>
      <p:sp>
        <p:nvSpPr>
          <p:cNvPr id="1025" name="Rectangle: Rounded Corners 1024">
            <a:extLst>
              <a:ext uri="{FF2B5EF4-FFF2-40B4-BE49-F238E27FC236}">
                <a16:creationId xmlns:a16="http://schemas.microsoft.com/office/drawing/2014/main" id="{DA0B7AB3-2E54-983F-C46B-138AC0B6FFD7}"/>
              </a:ext>
            </a:extLst>
          </p:cNvPr>
          <p:cNvSpPr/>
          <p:nvPr/>
        </p:nvSpPr>
        <p:spPr>
          <a:xfrm>
            <a:off x="4086996" y="2181881"/>
            <a:ext cx="4230289" cy="341400"/>
          </a:xfrm>
          <a:prstGeom prst="roundRect">
            <a:avLst/>
          </a:prstGeom>
          <a:solidFill>
            <a:schemeClr val="bg1"/>
          </a:solidFill>
          <a:ln w="19050" cap="rnd">
            <a:gradFill flip="none" rotWithShape="1">
              <a:gsLst>
                <a:gs pos="0">
                  <a:srgbClr val="0078D4"/>
                </a:gs>
                <a:gs pos="100000">
                  <a:srgbClr val="399A91"/>
                </a:gs>
              </a:gsLst>
              <a:path path="circle">
                <a:fillToRect l="100000" t="100000"/>
              </a:path>
              <a:tileRect r="-100000" b="-100000"/>
            </a:gradFill>
            <a:headEnd type="none" w="lg" len="sm"/>
            <a:tailEnd type="none" w="lg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182828" tIns="146263" rIns="182828" bIns="14626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+mn-cs"/>
                <a:sym typeface="Arial"/>
              </a:rPr>
              <a:t>MCP Clients &amp; Host </a:t>
            </a: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0B2B8758-B0C7-3567-AD10-81D5067072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429243" y="2648882"/>
            <a:ext cx="5207197" cy="1129969"/>
          </a:xfrm>
          <a:prstGeom prst="roundRect">
            <a:avLst>
              <a:gd name="adj" fmla="val 14455"/>
            </a:avLst>
          </a:prstGeom>
          <a:noFill/>
          <a:ln w="15875" cap="rnd">
            <a:solidFill>
              <a:srgbClr val="3A4953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  <a:sym typeface="Arial"/>
            </a:endParaRPr>
          </a:p>
        </p:txBody>
      </p:sp>
      <p:pic>
        <p:nvPicPr>
          <p:cNvPr id="40" name="Picture 8">
            <a:extLst>
              <a:ext uri="{FF2B5EF4-FFF2-40B4-BE49-F238E27FC236}">
                <a16:creationId xmlns:a16="http://schemas.microsoft.com/office/drawing/2014/main" id="{94C61326-EBE6-C03B-729E-D5AFE3BCAF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203" r="18608"/>
          <a:stretch/>
        </p:blipFill>
        <p:spPr bwMode="auto">
          <a:xfrm>
            <a:off x="1742708" y="2803640"/>
            <a:ext cx="334963" cy="3077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2">
            <a:extLst>
              <a:ext uri="{FF2B5EF4-FFF2-40B4-BE49-F238E27FC236}">
                <a16:creationId xmlns:a16="http://schemas.microsoft.com/office/drawing/2014/main" id="{388C2B9E-0A4D-3324-2837-23F7FB64394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2398213" y="2790031"/>
            <a:ext cx="330572" cy="3349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4A9BEA05-DFBE-44F4-58EC-4FE143DFB59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3049327" y="2780731"/>
            <a:ext cx="353596" cy="353596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0A55617D-AA80-6B28-4F00-B0B2A254F3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23465" y="2619685"/>
            <a:ext cx="352425" cy="675686"/>
          </a:xfrm>
          <a:prstGeom prst="rect">
            <a:avLst/>
          </a:prstGeom>
        </p:spPr>
      </p:pic>
      <p:pic>
        <p:nvPicPr>
          <p:cNvPr id="30" name="Picture 8">
            <a:extLst>
              <a:ext uri="{FF2B5EF4-FFF2-40B4-BE49-F238E27FC236}">
                <a16:creationId xmlns:a16="http://schemas.microsoft.com/office/drawing/2014/main" id="{4FB982F0-D1AA-D585-A290-EC0C686E91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001" r="23420"/>
          <a:stretch/>
        </p:blipFill>
        <p:spPr bwMode="auto">
          <a:xfrm>
            <a:off x="4857472" y="2816827"/>
            <a:ext cx="286786" cy="3068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4">
            <a:extLst>
              <a:ext uri="{FF2B5EF4-FFF2-40B4-BE49-F238E27FC236}">
                <a16:creationId xmlns:a16="http://schemas.microsoft.com/office/drawing/2014/main" id="{F050589E-AB3C-D6AE-F33A-E1A37092152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4802" y="2858746"/>
            <a:ext cx="533400" cy="2220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2">
            <a:extLst>
              <a:ext uri="{FF2B5EF4-FFF2-40B4-BE49-F238E27FC236}">
                <a16:creationId xmlns:a16="http://schemas.microsoft.com/office/drawing/2014/main" id="{100F9961-F402-8DD0-E4D4-09BE34CA790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686491" y="3190430"/>
            <a:ext cx="378198" cy="3942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14">
            <a:extLst>
              <a:ext uri="{FF2B5EF4-FFF2-40B4-BE49-F238E27FC236}">
                <a16:creationId xmlns:a16="http://schemas.microsoft.com/office/drawing/2014/main" id="{C4D76901-692C-D0B7-BDB8-077FEE29AF1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9062" y="3242621"/>
            <a:ext cx="386470" cy="289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14FDFAA-5455-C8F6-CFD9-033B6A35C4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3029810" y="3242622"/>
            <a:ext cx="289850" cy="28985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F8E118A-C6D5-9AD5-8C85-CF5BC4A3C0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3600586" y="3237541"/>
            <a:ext cx="348782" cy="300010"/>
          </a:xfrm>
          <a:prstGeom prst="rect">
            <a:avLst/>
          </a:prstGeom>
        </p:spPr>
      </p:pic>
      <p:pic>
        <p:nvPicPr>
          <p:cNvPr id="22" name="Picture 2">
            <a:extLst>
              <a:ext uri="{FF2B5EF4-FFF2-40B4-BE49-F238E27FC236}">
                <a16:creationId xmlns:a16="http://schemas.microsoft.com/office/drawing/2014/main" id="{19D66993-83BB-D1EA-4F8D-F9DDE2D868E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506" r="19694"/>
          <a:stretch/>
        </p:blipFill>
        <p:spPr bwMode="auto">
          <a:xfrm>
            <a:off x="4220388" y="3221297"/>
            <a:ext cx="353484" cy="3324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>
            <a:extLst>
              <a:ext uri="{FF2B5EF4-FFF2-40B4-BE49-F238E27FC236}">
                <a16:creationId xmlns:a16="http://schemas.microsoft.com/office/drawing/2014/main" id="{043D9D17-0ECA-F5E1-F0E4-E655FC4F0E4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>
            <a:extLst>
              <a:ext uri="{BEBA8EAE-BF5A-486C-A8C5-ECC9F3942E4B}">
                <a14:imgProps xmlns:a14="http://schemas.microsoft.com/office/drawing/2010/main">
                  <a14:imgLayer r:embed="rId2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4892" y="3279192"/>
            <a:ext cx="577427" cy="2167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6">
            <a:extLst>
              <a:ext uri="{FF2B5EF4-FFF2-40B4-BE49-F238E27FC236}">
                <a16:creationId xmlns:a16="http://schemas.microsoft.com/office/drawing/2014/main" id="{4930FDAD-9DE3-CCBC-363E-329546AB0A1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693340" y="3256290"/>
            <a:ext cx="660401" cy="2625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7480A633-4EE8-7365-101E-191EB5724187}"/>
              </a:ext>
            </a:extLst>
          </p:cNvPr>
          <p:cNvSpPr/>
          <p:nvPr/>
        </p:nvSpPr>
        <p:spPr>
          <a:xfrm>
            <a:off x="2721453" y="3614786"/>
            <a:ext cx="2758598" cy="341400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19050" cap="rnd">
            <a:gradFill flip="none" rotWithShape="1">
              <a:gsLst>
                <a:gs pos="0">
                  <a:srgbClr val="FF5C39"/>
                </a:gs>
                <a:gs pos="100000">
                  <a:srgbClr val="C03BC4"/>
                </a:gs>
              </a:gsLst>
              <a:path path="circle">
                <a:fillToRect l="100000" t="100000"/>
              </a:path>
              <a:tileRect r="-100000" b="-100000"/>
            </a:gradFill>
            <a:headEnd type="none" w="lg" len="sm"/>
            <a:tailEnd type="none" w="lg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182828" tIns="146263" rIns="182828" bIns="14626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+mn-cs"/>
                <a:sym typeface="Arial"/>
              </a:rPr>
              <a:t>Tools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E89B5544-BA1C-C6E2-3558-CA7788D605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858311" y="2643744"/>
            <a:ext cx="4210742" cy="1129969"/>
          </a:xfrm>
          <a:prstGeom prst="roundRect">
            <a:avLst>
              <a:gd name="adj" fmla="val 14455"/>
            </a:avLst>
          </a:prstGeom>
          <a:noFill/>
          <a:ln w="15875" cap="rnd">
            <a:solidFill>
              <a:srgbClr val="3A4953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  <a:sym typeface="Arial"/>
            </a:endParaRPr>
          </a:p>
        </p:txBody>
      </p:sp>
      <p:pic>
        <p:nvPicPr>
          <p:cNvPr id="1032" name="Picture 8">
            <a:extLst>
              <a:ext uri="{FF2B5EF4-FFF2-40B4-BE49-F238E27FC236}">
                <a16:creationId xmlns:a16="http://schemas.microsoft.com/office/drawing/2014/main" id="{ED48B059-3730-3D0E-49FA-C89A1D5D05F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7">
            <a:extLst>
              <a:ext uri="{BEBA8EAE-BF5A-486C-A8C5-ECC9F3942E4B}">
                <a14:imgProps xmlns:a14="http://schemas.microsoft.com/office/drawing/2010/main">
                  <a14:imgLayer r:embed="rId2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5891" y="2884008"/>
            <a:ext cx="356785" cy="2449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id="{B8E9A2A2-18D4-6C95-1D0E-E080E321FE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7800629" y="2886709"/>
            <a:ext cx="239590" cy="239590"/>
          </a:xfrm>
          <a:prstGeom prst="rect">
            <a:avLst/>
          </a:prstGeom>
        </p:spPr>
      </p:pic>
      <p:pic>
        <p:nvPicPr>
          <p:cNvPr id="48" name="Picture 2">
            <a:extLst>
              <a:ext uri="{FF2B5EF4-FFF2-40B4-BE49-F238E27FC236}">
                <a16:creationId xmlns:a16="http://schemas.microsoft.com/office/drawing/2014/main" id="{7BE13D97-AC4F-84BB-0ACA-D79FC2B92E8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1">
            <a:extLst>
              <a:ext uri="{BEBA8EAE-BF5A-486C-A8C5-ECC9F3942E4B}">
                <a14:imgProps xmlns:a14="http://schemas.microsoft.com/office/drawing/2010/main">
                  <a14:imgLayer r:embed="rId32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8157956" y="2833889"/>
            <a:ext cx="340676" cy="3452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Picture 4">
            <a:extLst>
              <a:ext uri="{FF2B5EF4-FFF2-40B4-BE49-F238E27FC236}">
                <a16:creationId xmlns:a16="http://schemas.microsoft.com/office/drawing/2014/main" id="{5E14A8FE-8DA1-5685-B585-9C41C93867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78018" y="2811505"/>
            <a:ext cx="362275" cy="362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8">
            <a:extLst>
              <a:ext uri="{FF2B5EF4-FFF2-40B4-BE49-F238E27FC236}">
                <a16:creationId xmlns:a16="http://schemas.microsoft.com/office/drawing/2014/main" id="{2060153D-D53B-B53C-DB6D-DEA88DC929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41171" y="2853857"/>
            <a:ext cx="319923" cy="3199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" name="TextBox 50">
            <a:extLst>
              <a:ext uri="{FF2B5EF4-FFF2-40B4-BE49-F238E27FC236}">
                <a16:creationId xmlns:a16="http://schemas.microsoft.com/office/drawing/2014/main" id="{88B3A4DA-E70C-A20B-C93A-C7908925372F}"/>
              </a:ext>
            </a:extLst>
          </p:cNvPr>
          <p:cNvSpPr txBox="1"/>
          <p:nvPr/>
        </p:nvSpPr>
        <p:spPr>
          <a:xfrm>
            <a:off x="7456569" y="3227680"/>
            <a:ext cx="91082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Arial"/>
                <a:sym typeface="Arial"/>
              </a:rPr>
              <a:t>Community 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EDF21300-754A-265A-4F0A-E373012AE456}"/>
              </a:ext>
            </a:extLst>
          </p:cNvPr>
          <p:cNvSpPr txBox="1"/>
          <p:nvPr/>
        </p:nvSpPr>
        <p:spPr>
          <a:xfrm>
            <a:off x="8855038" y="3208608"/>
            <a:ext cx="80823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Arial"/>
                <a:sym typeface="Arial"/>
              </a:rPr>
              <a:t>Enterprise 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02034622-7021-392E-3E9A-7E583C9D5C32}"/>
              </a:ext>
            </a:extLst>
          </p:cNvPr>
          <p:cNvSpPr txBox="1"/>
          <p:nvPr/>
        </p:nvSpPr>
        <p:spPr>
          <a:xfrm>
            <a:off x="9998618" y="3223661"/>
            <a:ext cx="84189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Arial"/>
                <a:sym typeface="Arial"/>
              </a:rPr>
              <a:t> Windows  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3BCC1605-1894-80D0-5B7B-F0295D8A32FC}"/>
              </a:ext>
            </a:extLst>
          </p:cNvPr>
          <p:cNvSpPr/>
          <p:nvPr/>
        </p:nvSpPr>
        <p:spPr>
          <a:xfrm>
            <a:off x="7474579" y="3614786"/>
            <a:ext cx="2758598" cy="341400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19050" cap="rnd">
            <a:gradFill flip="none" rotWithShape="1">
              <a:gsLst>
                <a:gs pos="0">
                  <a:srgbClr val="FF5C39"/>
                </a:gs>
                <a:gs pos="100000">
                  <a:srgbClr val="C03BC4"/>
                </a:gs>
              </a:gsLst>
              <a:path path="circle">
                <a:fillToRect l="100000" t="100000"/>
              </a:path>
              <a:tileRect r="-100000" b="-100000"/>
            </a:gradFill>
            <a:headEnd type="none" w="lg" len="sm"/>
            <a:tailEnd type="none" w="lg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182828" tIns="146263" rIns="182828" bIns="14626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+mn-cs"/>
                <a:sym typeface="Arial"/>
              </a:rPr>
              <a:t>Registry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6208635B-E048-E4CF-4A17-27FFAF009A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429243" y="4089400"/>
            <a:ext cx="9624520" cy="920548"/>
          </a:xfrm>
          <a:prstGeom prst="roundRect">
            <a:avLst>
              <a:gd name="adj" fmla="val 17744"/>
            </a:avLst>
          </a:prstGeom>
          <a:noFill/>
          <a:ln w="15875" cap="rnd">
            <a:solidFill>
              <a:srgbClr val="3A4953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  <a:sym typeface="Arial"/>
            </a:endParaRP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225DB8A8-ED11-533A-2BFC-7B0C5C8F081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5858" y="4243565"/>
            <a:ext cx="478324" cy="4783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EB7CB0F-8B2D-F1D0-0545-517DE8381181}"/>
              </a:ext>
            </a:extLst>
          </p:cNvPr>
          <p:cNvSpPr txBox="1"/>
          <p:nvPr/>
        </p:nvSpPr>
        <p:spPr>
          <a:xfrm>
            <a:off x="2631377" y="4298061"/>
            <a:ext cx="1179976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Arial"/>
                <a:sym typeface="Arial"/>
              </a:rPr>
              <a:t>C# </a:t>
            </a:r>
            <a:b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Arial"/>
                <a:sym typeface="Arial"/>
              </a:rPr>
            </a:b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Arial"/>
                <a:sym typeface="Arial"/>
              </a:rPr>
              <a:t>MCP SDK </a:t>
            </a:r>
          </a:p>
        </p:txBody>
      </p:sp>
      <p:pic>
        <p:nvPicPr>
          <p:cNvPr id="59" name="Picture 58">
            <a:extLst>
              <a:ext uri="{FF2B5EF4-FFF2-40B4-BE49-F238E27FC236}">
                <a16:creationId xmlns:a16="http://schemas.microsoft.com/office/drawing/2014/main" id="{AF36F63D-D976-EBB6-F3F7-0659807DCF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6"/>
          <a:stretch>
            <a:fillRect/>
          </a:stretch>
        </p:blipFill>
        <p:spPr>
          <a:xfrm>
            <a:off x="4043897" y="4287873"/>
            <a:ext cx="779418" cy="389709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551425B2-A866-751D-0A21-BD8CEDAF77FE}"/>
              </a:ext>
            </a:extLst>
          </p:cNvPr>
          <p:cNvSpPr txBox="1"/>
          <p:nvPr/>
        </p:nvSpPr>
        <p:spPr>
          <a:xfrm>
            <a:off x="4783601" y="4298061"/>
            <a:ext cx="105840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Arial"/>
                <a:sym typeface="Arial"/>
              </a:rPr>
              <a:t>Azure API Management </a:t>
            </a:r>
          </a:p>
        </p:txBody>
      </p:sp>
      <p:pic>
        <p:nvPicPr>
          <p:cNvPr id="1030" name="Picture 6">
            <a:extLst>
              <a:ext uri="{FF2B5EF4-FFF2-40B4-BE49-F238E27FC236}">
                <a16:creationId xmlns:a16="http://schemas.microsoft.com/office/drawing/2014/main" id="{FA4746AF-8ED0-5C3A-9E6C-4FEED16330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3097" y="4323934"/>
            <a:ext cx="604927" cy="3175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57285F85-017B-BA5C-00C4-7402F5BBB46E}"/>
              </a:ext>
            </a:extLst>
          </p:cNvPr>
          <p:cNvSpPr txBox="1"/>
          <p:nvPr/>
        </p:nvSpPr>
        <p:spPr>
          <a:xfrm>
            <a:off x="7179459" y="4298061"/>
            <a:ext cx="81307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Arial"/>
                <a:sym typeface="Arial"/>
              </a:rPr>
              <a:t>Azure Functions</a:t>
            </a:r>
          </a:p>
        </p:txBody>
      </p:sp>
      <p:pic>
        <p:nvPicPr>
          <p:cNvPr id="61" name="Picture 60">
            <a:extLst>
              <a:ext uri="{FF2B5EF4-FFF2-40B4-BE49-F238E27FC236}">
                <a16:creationId xmlns:a16="http://schemas.microsoft.com/office/drawing/2014/main" id="{C4AAF043-1670-8235-4857-7C7D0F1B99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8"/>
          <a:stretch>
            <a:fillRect/>
          </a:stretch>
        </p:blipFill>
        <p:spPr>
          <a:xfrm>
            <a:off x="8917872" y="4311219"/>
            <a:ext cx="313062" cy="343016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3CC05846-315E-143F-3A73-735F20E9DD2C}"/>
              </a:ext>
            </a:extLst>
          </p:cNvPr>
          <p:cNvSpPr txBox="1"/>
          <p:nvPr/>
        </p:nvSpPr>
        <p:spPr>
          <a:xfrm>
            <a:off x="9440870" y="4298061"/>
            <a:ext cx="127793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Arial"/>
                <a:sym typeface="Arial"/>
              </a:rPr>
              <a:t>Microsoft Connectors</a:t>
            </a: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EBA360E1-5ED9-4D61-656A-B2BFB6A77628}"/>
              </a:ext>
            </a:extLst>
          </p:cNvPr>
          <p:cNvSpPr/>
          <p:nvPr/>
        </p:nvSpPr>
        <p:spPr>
          <a:xfrm>
            <a:off x="3980855" y="4820866"/>
            <a:ext cx="4230289" cy="341400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19050" cap="rnd">
            <a:gradFill flip="none" rotWithShape="1">
              <a:gsLst>
                <a:gs pos="0">
                  <a:srgbClr val="C03BC4"/>
                </a:gs>
                <a:gs pos="100000">
                  <a:srgbClr val="0078D4"/>
                </a:gs>
              </a:gsLst>
              <a:path path="circle">
                <a:fillToRect l="100000" t="100000"/>
              </a:path>
              <a:tileRect r="-100000" b="-100000"/>
            </a:gradFill>
            <a:headEnd type="none" w="lg" len="sm"/>
            <a:tailEnd type="none" w="lg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182828" tIns="146263" rIns="182828" bIns="14626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+mn-cs"/>
                <a:sym typeface="Arial"/>
              </a:rPr>
              <a:t>Build Local  &amp; Remote MCPs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CD1FF1EC-695F-690F-DB0C-46BF3BE4AD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429243" y="5276850"/>
            <a:ext cx="9624520" cy="824355"/>
          </a:xfrm>
          <a:prstGeom prst="roundRect">
            <a:avLst>
              <a:gd name="adj" fmla="val 19814"/>
            </a:avLst>
          </a:prstGeom>
          <a:noFill/>
          <a:ln w="15875" cap="rnd">
            <a:solidFill>
              <a:srgbClr val="3A4953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  <a:sym typeface="Arial"/>
            </a:endParaRPr>
          </a:p>
        </p:txBody>
      </p:sp>
      <p:pic>
        <p:nvPicPr>
          <p:cNvPr id="1026" name="Picture 2" descr="Anthropic logo ">
            <a:extLst>
              <a:ext uri="{FF2B5EF4-FFF2-40B4-BE49-F238E27FC236}">
                <a16:creationId xmlns:a16="http://schemas.microsoft.com/office/drawing/2014/main" id="{0ACA73D0-D4F9-4ECA-FA8A-621BFC59EE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9">
            <a:extLst>
              <a:ext uri="{BEBA8EAE-BF5A-486C-A8C5-ECC9F3942E4B}">
                <a14:imgProps xmlns:a14="http://schemas.microsoft.com/office/drawing/2010/main">
                  <a14:imgLayer r:embed="rId40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09650" y="5492916"/>
            <a:ext cx="1791618" cy="2015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2C85D5F2-B855-ABB9-07D8-451C712D712A}"/>
              </a:ext>
            </a:extLst>
          </p:cNvPr>
          <p:cNvSpPr txBox="1"/>
          <p:nvPr/>
        </p:nvSpPr>
        <p:spPr>
          <a:xfrm>
            <a:off x="6038850" y="5374799"/>
            <a:ext cx="309668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Arial"/>
                <a:sym typeface="Arial"/>
              </a:rPr>
              <a:t>MPC enables seamless Integration between LLM Apps and external data sources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2828B4BB-2149-8B68-A2A2-0F20B00478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994339" y="5917796"/>
            <a:ext cx="2758598" cy="341400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19050" cap="rnd">
            <a:gradFill flip="none" rotWithShape="1">
              <a:gsLst>
                <a:gs pos="0">
                  <a:srgbClr val="0078D4"/>
                </a:gs>
                <a:gs pos="100000">
                  <a:srgbClr val="399A91"/>
                </a:gs>
              </a:gsLst>
              <a:path path="circle">
                <a:fillToRect l="100000" t="100000"/>
              </a:path>
              <a:tileRect r="-100000" b="-100000"/>
            </a:gradFill>
            <a:headEnd type="none" w="lg" len="sm"/>
            <a:tailEnd type="none" w="lg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182828" tIns="146263" rIns="182828" bIns="14626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11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Segoe UI" pitchFamily="34" charset="0"/>
              <a:sym typeface="Arial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49130E5-70AF-C89D-CB23-ADADE0FA2D65}"/>
              </a:ext>
            </a:extLst>
          </p:cNvPr>
          <p:cNvSpPr txBox="1"/>
          <p:nvPr/>
        </p:nvSpPr>
        <p:spPr>
          <a:xfrm>
            <a:off x="5159519" y="5917796"/>
            <a:ext cx="2428238" cy="34140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Arial"/>
                <a:sym typeface="Arial"/>
              </a:rPr>
              <a:t>Model Context Protocol </a:t>
            </a:r>
          </a:p>
        </p:txBody>
      </p:sp>
      <p:pic>
        <p:nvPicPr>
          <p:cNvPr id="1034" name="Picture 16" descr="Semantic Kernel's new icon and the art of teamwork | Semantic Kernel">
            <a:extLst>
              <a:ext uri="{FF2B5EF4-FFF2-40B4-BE49-F238E27FC236}">
                <a16:creationId xmlns:a16="http://schemas.microsoft.com/office/drawing/2014/main" id="{59431E33-63C5-3BF1-5F55-5C94D77785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0226" y="-717505"/>
            <a:ext cx="45719" cy="457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28CA520D-132E-7D45-2103-05C044D295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1"/>
          <a:srcRect t="34" b="34"/>
          <a:stretch/>
        </p:blipFill>
        <p:spPr>
          <a:xfrm>
            <a:off x="4304251" y="2808702"/>
            <a:ext cx="315581" cy="315365"/>
          </a:xfrm>
          <a:prstGeom prst="rect">
            <a:avLst/>
          </a:prstGeom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6E80CE91-AAC6-F107-1A2B-BA7DDC41B03A}"/>
              </a:ext>
            </a:extLst>
          </p:cNvPr>
          <p:cNvSpPr txBox="1"/>
          <p:nvPr/>
        </p:nvSpPr>
        <p:spPr>
          <a:xfrm>
            <a:off x="6581828" y="1716131"/>
            <a:ext cx="625171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Arial"/>
                <a:sym typeface="Arial"/>
              </a:rPr>
              <a:t>Windows</a:t>
            </a:r>
          </a:p>
        </p:txBody>
      </p:sp>
      <p:pic>
        <p:nvPicPr>
          <p:cNvPr id="32" name="Picture 8">
            <a:extLst>
              <a:ext uri="{FF2B5EF4-FFF2-40B4-BE49-F238E27FC236}">
                <a16:creationId xmlns:a16="http://schemas.microsoft.com/office/drawing/2014/main" id="{7E0D5EEF-54C6-F422-6F96-C9ABE619151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82350" y="1639473"/>
            <a:ext cx="319923" cy="3199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Rounded Rectangle 20">
            <a:extLst>
              <a:ext uri="{FF2B5EF4-FFF2-40B4-BE49-F238E27FC236}">
                <a16:creationId xmlns:a16="http://schemas.microsoft.com/office/drawing/2014/main" id="{5AFBB368-0272-5098-3445-87E4F17E45C5}"/>
              </a:ext>
            </a:extLst>
          </p:cNvPr>
          <p:cNvSpPr/>
          <p:nvPr/>
        </p:nvSpPr>
        <p:spPr bwMode="auto">
          <a:xfrm>
            <a:off x="10996209" y="293171"/>
            <a:ext cx="870037" cy="328056"/>
          </a:xfrm>
          <a:prstGeom prst="roundRect">
            <a:avLst>
              <a:gd name="adj" fmla="val 50000"/>
            </a:avLst>
          </a:prstGeom>
          <a:noFill/>
          <a:ln w="254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83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67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550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734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918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101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284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469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Display"/>
                <a:ea typeface="Aptos" panose="020B0004020202020204" pitchFamily="34" charset="0"/>
                <a:cs typeface="Segoe Sans Display"/>
                <a:sym typeface="Arial"/>
              </a:rPr>
              <a:t>BRK117</a:t>
            </a:r>
            <a:endParaRPr kumimoji="0" lang="en-US" sz="1765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29312747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7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47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47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47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0" presetID="47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10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5" presetID="47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1000"/>
                                        <p:tgtEl>
                                          <p:spTgt spid="10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10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1000" fill="hold"/>
                                        <p:tgtEl>
                                          <p:spTgt spid="10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0" presetID="47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3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47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8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0" presetID="47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3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5" presetID="47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1000"/>
                                        <p:tgtEl>
                                          <p:spTgt spid="10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8" dur="1000" fill="hold"/>
                                        <p:tgtEl>
                                          <p:spTgt spid="10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9" dur="1000" fill="hold"/>
                                        <p:tgtEl>
                                          <p:spTgt spid="10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0" presetID="47" presetClass="entr" presetSubtype="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3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4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5" presetID="47" presetClass="entr" presetSubtype="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8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9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0" presetID="47" presetClass="entr" presetSubtype="0" fill="hold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1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3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4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5" presetID="47" presetClass="entr" presetSubtype="0" fill="hold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1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8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9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0" presetID="47" presetClass="entr" presetSubtype="0" fill="hold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2" dur="1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3" dur="1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4" dur="1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5" presetID="47" presetClass="entr" presetSubtype="0" fill="hold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0" presetID="47" presetClass="entr" presetSubtype="0" fill="hold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2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3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4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5" presetID="47" presetClass="entr" presetSubtype="0" fill="hold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9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0" presetID="47" presetClass="entr" presetSubtype="0" fill="hold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2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3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4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5" presetID="47" presetClass="entr" presetSubtype="0" fill="hold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7" dur="1000"/>
                                        <p:tgtEl>
                                          <p:spTgt spid="10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8" dur="1000" fill="hold"/>
                                        <p:tgtEl>
                                          <p:spTgt spid="10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9" dur="1000" fill="hold"/>
                                        <p:tgtEl>
                                          <p:spTgt spid="10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0" presetID="47" presetClass="entr" presetSubtype="0" fill="hold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1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2" dur="1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3" dur="1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4" dur="1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5" presetID="47" presetClass="entr" presetSubtype="0" fill="hold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7" dur="10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8" dur="1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9" dur="1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0" presetID="47" presetClass="entr" presetSubtype="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2" dur="10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3" dur="1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4" dur="1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5" presetID="47" presetClass="entr" presetSubtype="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7" dur="10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8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9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0" presetID="47" presetClass="entr" presetSubtype="0" fill="hold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1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2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3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4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5" presetID="47" presetClass="entr" presetSubtype="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7" dur="10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8" dur="1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9" dur="1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0" presetID="47" presetClass="entr" presetSubtype="0" fill="hold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1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2" dur="10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3" dur="1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4" dur="1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5" presetID="47" presetClass="entr" presetSubtype="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9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0" presetID="47" presetClass="entr" presetSubtype="0" fill="hold" grpId="0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1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2" dur="10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3" dur="1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4" dur="1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5" presetID="47" presetClass="entr" presetSubtype="0" fill="hold" grpId="0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1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7" dur="1000"/>
                                        <p:tgtEl>
                                          <p:spTgt spid="10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8" dur="1000" fill="hold"/>
                                        <p:tgtEl>
                                          <p:spTgt spid="10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9" dur="1000" fill="hold"/>
                                        <p:tgtEl>
                                          <p:spTgt spid="10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0" presetID="47" presetClass="entr" presetSubtype="0" fill="hold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1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2" dur="1000"/>
                                        <p:tgtEl>
                                          <p:spTgt spid="10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3" dur="1000" fill="hold"/>
                                        <p:tgtEl>
                                          <p:spTgt spid="10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4" dur="1000" fill="hold"/>
                                        <p:tgtEl>
                                          <p:spTgt spid="10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5" presetID="47" presetClass="entr" presetSubtype="0" fill="hold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1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7" dur="1000"/>
                                        <p:tgtEl>
                                          <p:spTgt spid="102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8" dur="1000" fill="hold"/>
                                        <p:tgtEl>
                                          <p:spTgt spid="10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9" dur="1000" fill="hold"/>
                                        <p:tgtEl>
                                          <p:spTgt spid="10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0" presetID="47" presetClass="entr" presetSubtype="0" fill="hold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1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2" dur="1000"/>
                                        <p:tgtEl>
                                          <p:spTgt spid="10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3" dur="1000" fill="hold"/>
                                        <p:tgtEl>
                                          <p:spTgt spid="10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4" dur="1000" fill="hold"/>
                                        <p:tgtEl>
                                          <p:spTgt spid="10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5" presetID="47" presetClass="entr" presetSubtype="0" fill="hold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1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7" dur="1000"/>
                                        <p:tgtEl>
                                          <p:spTgt spid="103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8" dur="1000" fill="hold"/>
                                        <p:tgtEl>
                                          <p:spTgt spid="10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9" dur="1000" fill="hold"/>
                                        <p:tgtEl>
                                          <p:spTgt spid="10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0" presetID="47" presetClass="entr" presetSubtype="0" fill="hold" grpId="0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2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2" dur="1000"/>
                                        <p:tgtEl>
                                          <p:spTgt spid="103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3" dur="1000" fill="hold"/>
                                        <p:tgtEl>
                                          <p:spTgt spid="10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4" dur="1000" fill="hold"/>
                                        <p:tgtEl>
                                          <p:spTgt spid="10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5" presetID="47" presetClass="entr" presetSubtype="0" fill="hold" grpId="0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2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7" dur="1000"/>
                                        <p:tgtEl>
                                          <p:spTgt spid="10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8" dur="1000" fill="hold"/>
                                        <p:tgtEl>
                                          <p:spTgt spid="10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9" dur="1000" fill="hold"/>
                                        <p:tgtEl>
                                          <p:spTgt spid="10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0" presetID="47" presetClass="entr" presetSubtype="0" fill="hold" grpId="0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2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2" dur="1000"/>
                                        <p:tgtEl>
                                          <p:spTgt spid="103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3" dur="1000" fill="hold"/>
                                        <p:tgtEl>
                                          <p:spTgt spid="10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4" dur="1000" fill="hold"/>
                                        <p:tgtEl>
                                          <p:spTgt spid="10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5" presetID="47" presetClass="entr" presetSubtype="0" fill="hold" grpId="0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2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7" dur="1000"/>
                                        <p:tgtEl>
                                          <p:spTgt spid="103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8" dur="1000" fill="hold"/>
                                        <p:tgtEl>
                                          <p:spTgt spid="10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9" dur="1000" fill="hold"/>
                                        <p:tgtEl>
                                          <p:spTgt spid="10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0" presetID="47" presetClass="entr" presetSubtype="0" fill="hold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2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2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3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4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5" presetID="47" presetClass="entr" presetSubtype="0" fill="hold" grpId="0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2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7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8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9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0" presetID="47" presetClass="entr" presetSubtype="0" fill="hold" grpId="0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2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2" dur="1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3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4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5" presetID="47" presetClass="entr" presetSubtype="0" fill="hold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2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7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8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9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0" presetID="47" presetClass="entr" presetSubtype="0" fill="hold" grpId="0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2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2" dur="1000"/>
                                        <p:tgtEl>
                                          <p:spTgt spid="104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3" dur="1000" fill="hold"/>
                                        <p:tgtEl>
                                          <p:spTgt spid="10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4" dur="1000" fill="hold"/>
                                        <p:tgtEl>
                                          <p:spTgt spid="10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5" presetID="47" presetClass="entr" presetSubtype="0" fill="hold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2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7" dur="1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8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9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0" presetID="47" presetClass="entr" presetSubtype="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2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2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3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4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5" presetID="47" presetClass="entr" presetSubtype="0" fill="hold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2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7" dur="1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8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9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0" presetID="47" presetClass="entr" presetSubtype="0" fill="hold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2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2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3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4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5" presetID="47" presetClass="entr" presetSubtype="0" fill="hold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2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7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8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9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0" presetID="47" presetClass="entr" presetSubtype="0" fill="hold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2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2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3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4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5" presetID="47" presetClass="entr" presetSubtype="0" fill="hold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2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7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8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9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0" presetID="47" presetClass="entr" presetSubtype="0" fill="hold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2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2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3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4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5" presetID="47" presetClass="entr" presetSubtype="0" fill="hold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2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7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8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9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0" presetID="47" presetClass="entr" presetSubtype="0" fill="hold" grpId="0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2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2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3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4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5" presetID="47" presetClass="entr" presetSubtype="0" fill="hold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2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7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8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9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7" grpId="0" animBg="1"/>
      <p:bldP spid="1035" grpId="0"/>
      <p:bldP spid="1036" grpId="0"/>
      <p:bldP spid="1038" grpId="0"/>
      <p:bldP spid="1039" grpId="0"/>
      <p:bldP spid="17" grpId="0"/>
      <p:bldP spid="37" grpId="0"/>
      <p:bldP spid="1040" grpId="0"/>
      <p:bldP spid="1025" grpId="0" animBg="1"/>
      <p:bldP spid="29" grpId="0" animBg="1"/>
      <p:bldP spid="34" grpId="0" animBg="1"/>
      <p:bldP spid="3" grpId="0" animBg="1"/>
      <p:bldP spid="51" grpId="0"/>
      <p:bldP spid="53" grpId="0"/>
      <p:bldP spid="56" grpId="0"/>
      <p:bldP spid="4" grpId="0" animBg="1"/>
      <p:bldP spid="16" grpId="0" animBg="1"/>
      <p:bldP spid="18" grpId="0"/>
      <p:bldP spid="23" grpId="0"/>
      <p:bldP spid="20" grpId="0"/>
      <p:bldP spid="19" grpId="0"/>
      <p:bldP spid="28" grpId="0" animBg="1"/>
      <p:bldP spid="8" grpId="0" animBg="1"/>
      <p:bldP spid="15" grpId="0"/>
      <p:bldP spid="13" grpId="0" animBg="1"/>
      <p:bldP spid="14" grpId="0"/>
      <p:bldP spid="31" grpId="0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18BAA20-0D0D-8A6D-51CA-3B60D5B0E1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30F5D7CD-3E3E-84A9-63D6-5E710ECAB10B}"/>
              </a:ext>
            </a:extLst>
          </p:cNvPr>
          <p:cNvSpPr/>
          <p:nvPr/>
        </p:nvSpPr>
        <p:spPr bwMode="auto">
          <a:xfrm>
            <a:off x="3486812" y="1570305"/>
            <a:ext cx="5830808" cy="2485192"/>
          </a:xfrm>
          <a:prstGeom prst="roundRect">
            <a:avLst>
              <a:gd name="adj" fmla="val 6089"/>
            </a:avLst>
          </a:prstGeom>
          <a:noFill/>
          <a:ln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Text"/>
              <a:ea typeface="Segoe UI" pitchFamily="34" charset="0"/>
              <a:cs typeface="Segoe UI" pitchFamily="34" charset="0"/>
              <a:sym typeface="Arial"/>
            </a:endParaRPr>
          </a:p>
        </p:txBody>
      </p:sp>
      <p:pic>
        <p:nvPicPr>
          <p:cNvPr id="1030" name="Picture 6" descr="Azure AI Studio - Pricing | Microsoft Azure">
            <a:extLst>
              <a:ext uri="{FF2B5EF4-FFF2-40B4-BE49-F238E27FC236}">
                <a16:creationId xmlns:a16="http://schemas.microsoft.com/office/drawing/2014/main" id="{CC2D06E2-3440-5613-10C1-B8549755F9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56009" y="1442100"/>
            <a:ext cx="1707800" cy="8965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Pricing - Azure AI Search | Microsoft Azure">
            <a:extLst>
              <a:ext uri="{FF2B5EF4-FFF2-40B4-BE49-F238E27FC236}">
                <a16:creationId xmlns:a16="http://schemas.microsoft.com/office/drawing/2014/main" id="{0A1B2DAF-2B1F-7E09-80BE-0FF32D54A0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6900" y="4656129"/>
            <a:ext cx="815386" cy="4280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Bing logo transparent PNG - StickPNG">
            <a:extLst>
              <a:ext uri="{FF2B5EF4-FFF2-40B4-BE49-F238E27FC236}">
                <a16:creationId xmlns:a16="http://schemas.microsoft.com/office/drawing/2014/main" id="{C60A11EC-7DB3-BABE-011F-AA4488D8D7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41301" y="4623393"/>
            <a:ext cx="474742" cy="4747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6" descr="Logic App Service | Microsoft Azure">
            <a:extLst>
              <a:ext uri="{FF2B5EF4-FFF2-40B4-BE49-F238E27FC236}">
                <a16:creationId xmlns:a16="http://schemas.microsoft.com/office/drawing/2014/main" id="{13FEE59E-998A-B8EE-9963-B4786C1E3F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9511" y="5165328"/>
            <a:ext cx="690165" cy="3623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Azure Functions logo">
            <a:extLst>
              <a:ext uri="{FF2B5EF4-FFF2-40B4-BE49-F238E27FC236}">
                <a16:creationId xmlns:a16="http://schemas.microsoft.com/office/drawing/2014/main" id="{A771CF93-9206-50BD-ECD4-4F619AF1CE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23801" y="5043294"/>
            <a:ext cx="633401" cy="6333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Microsoft Teams Logo, symbol, meaning, history, PNG, brand">
            <a:extLst>
              <a:ext uri="{FF2B5EF4-FFF2-40B4-BE49-F238E27FC236}">
                <a16:creationId xmlns:a16="http://schemas.microsoft.com/office/drawing/2014/main" id="{DDAFB2C2-BFFC-504E-8FC4-B52C48ECA8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765923" y="509509"/>
            <a:ext cx="608446" cy="3422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 descr="Boost Productivity with Microsoft Copilot - CallTower">
            <a:extLst>
              <a:ext uri="{FF2B5EF4-FFF2-40B4-BE49-F238E27FC236}">
                <a16:creationId xmlns:a16="http://schemas.microsoft.com/office/drawing/2014/main" id="{44C62C96-49B1-8649-AA7F-9ECFD05A18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677475" y="522860"/>
            <a:ext cx="355445" cy="3554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Facebook Messenger Logo, symbol, meaning, history, PNG, brand">
            <a:extLst>
              <a:ext uri="{FF2B5EF4-FFF2-40B4-BE49-F238E27FC236}">
                <a16:creationId xmlns:a16="http://schemas.microsoft.com/office/drawing/2014/main" id="{7C3FF568-2E6A-2E3E-FC35-EBE6A6D6BA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261756" y="509008"/>
            <a:ext cx="608446" cy="3422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6B08E72B-6422-15CA-2FC7-2B51E45A49F8}"/>
              </a:ext>
            </a:extLst>
          </p:cNvPr>
          <p:cNvSpPr txBox="1">
            <a:spLocks/>
          </p:cNvSpPr>
          <p:nvPr/>
        </p:nvSpPr>
        <p:spPr>
          <a:xfrm>
            <a:off x="394117" y="57998"/>
            <a:ext cx="6184799" cy="430887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50" baseline="0" dirty="0" smtClean="0">
                <a:ln w="3175">
                  <a:noFill/>
                </a:ln>
                <a:solidFill>
                  <a:schemeClr val="tx2"/>
                </a:solidFill>
                <a:effectLst/>
                <a:latin typeface="+mj-lt"/>
                <a:ea typeface="+mn-ea"/>
                <a:cs typeface="Segoe Sans Text" pitchFamily="2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-50" normalizeH="0" baseline="0" noProof="0">
                <a:ln w="3175"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 Semibold"/>
                <a:ea typeface="+mn-ea"/>
                <a:cs typeface="Segoe Sans Text" pitchFamily="2" charset="0"/>
                <a:sym typeface="Arial"/>
              </a:rPr>
              <a:t>Recommended “Golden Path” Architectur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211AE38-66F7-BB81-94C9-A976ADC9B577}"/>
              </a:ext>
            </a:extLst>
          </p:cNvPr>
          <p:cNvSpPr txBox="1"/>
          <p:nvPr/>
        </p:nvSpPr>
        <p:spPr>
          <a:xfrm>
            <a:off x="1360081" y="1913566"/>
            <a:ext cx="997004" cy="34624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  <a:sym typeface="Arial"/>
              </a:rPr>
              <a:t>Cosmos DB</a:t>
            </a:r>
            <a:b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Arial"/>
                <a:sym typeface="Arial"/>
              </a:rPr>
            </a:b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  <a:sym typeface="Arial"/>
              </a:rPr>
              <a:t>Thread storage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  <a:sym typeface="Arial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EBDEE17-726A-D30F-9610-29FC9B7D8E36}"/>
              </a:ext>
            </a:extLst>
          </p:cNvPr>
          <p:cNvSpPr txBox="1"/>
          <p:nvPr/>
        </p:nvSpPr>
        <p:spPr>
          <a:xfrm>
            <a:off x="1350075" y="2497542"/>
            <a:ext cx="820738" cy="34624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  <a:sym typeface="Arial"/>
              </a:rPr>
              <a:t>Key vault</a:t>
            </a:r>
            <a:b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  <a:sym typeface="Arial"/>
              </a:rPr>
            </a:b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  <a:sym typeface="Arial"/>
              </a:rPr>
              <a:t>Connections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  <a:sym typeface="Arial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2856499-9F3B-BBD7-E4C9-F92576C28FC3}"/>
              </a:ext>
            </a:extLst>
          </p:cNvPr>
          <p:cNvSpPr txBox="1"/>
          <p:nvPr/>
        </p:nvSpPr>
        <p:spPr>
          <a:xfrm>
            <a:off x="1360081" y="3081518"/>
            <a:ext cx="865622" cy="34624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  <a:sym typeface="Arial"/>
              </a:rPr>
              <a:t>Azure Storage</a:t>
            </a:r>
            <a:b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  <a:sym typeface="Arial"/>
              </a:rPr>
            </a:b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  <a:sym typeface="Arial"/>
              </a:rPr>
              <a:t>File storage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  <a:sym typeface="Arial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ACD2157-2DA9-EA28-3CDC-11FC5B953B12}"/>
              </a:ext>
            </a:extLst>
          </p:cNvPr>
          <p:cNvSpPr txBox="1"/>
          <p:nvPr/>
        </p:nvSpPr>
        <p:spPr>
          <a:xfrm>
            <a:off x="4008466" y="1675167"/>
            <a:ext cx="1620636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  <a:sym typeface="Arial"/>
              </a:rPr>
              <a:t>Azure AI Foundry</a:t>
            </a:r>
            <a:b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  <a:sym typeface="Arial"/>
              </a:rPr>
            </a:b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  <a:sym typeface="Arial"/>
              </a:rPr>
              <a:t>Standard setup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  <a:sym typeface="Arial"/>
            </a:endParaRPr>
          </a:p>
        </p:txBody>
      </p:sp>
      <p:cxnSp>
        <p:nvCxnSpPr>
          <p:cNvPr id="29" name="Elbow Connector 28">
            <a:extLst>
              <a:ext uri="{FF2B5EF4-FFF2-40B4-BE49-F238E27FC236}">
                <a16:creationId xmlns:a16="http://schemas.microsoft.com/office/drawing/2014/main" id="{5B3D40B6-F5F6-B32D-4353-69D59D510C57}"/>
              </a:ext>
            </a:extLst>
          </p:cNvPr>
          <p:cNvCxnSpPr>
            <a:cxnSpLocks/>
            <a:stCxn id="1086" idx="1"/>
          </p:cNvCxnSpPr>
          <p:nvPr/>
        </p:nvCxnSpPr>
        <p:spPr>
          <a:xfrm rot="10800000" flipH="1">
            <a:off x="2797515" y="2201408"/>
            <a:ext cx="260467" cy="916890"/>
          </a:xfrm>
          <a:prstGeom prst="bentConnector5">
            <a:avLst>
              <a:gd name="adj1" fmla="val 24112"/>
              <a:gd name="adj2" fmla="val 100105"/>
              <a:gd name="adj3" fmla="val 104238"/>
            </a:avLst>
          </a:prstGeom>
          <a:ln>
            <a:solidFill>
              <a:schemeClr val="tx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>
            <a:extLst>
              <a:ext uri="{FF2B5EF4-FFF2-40B4-BE49-F238E27FC236}">
                <a16:creationId xmlns:a16="http://schemas.microsoft.com/office/drawing/2014/main" id="{6E2DC32D-10E7-3FFC-0CDB-62960D625442}"/>
              </a:ext>
            </a:extLst>
          </p:cNvPr>
          <p:cNvSpPr txBox="1"/>
          <p:nvPr/>
        </p:nvSpPr>
        <p:spPr>
          <a:xfrm>
            <a:off x="10541853" y="3363868"/>
            <a:ext cx="714939" cy="3847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  <a:sym typeface="Arial"/>
              </a:rPr>
              <a:t>Bot Service</a:t>
            </a:r>
            <a:b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Arial"/>
                <a:sym typeface="Arial"/>
              </a:rPr>
            </a:b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  <a:sym typeface="Arial"/>
              </a:rPr>
              <a:t>Channels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  <a:sym typeface="Arial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D3224F41-2088-8C98-A475-B4BD988502EB}"/>
              </a:ext>
            </a:extLst>
          </p:cNvPr>
          <p:cNvSpPr txBox="1"/>
          <p:nvPr/>
        </p:nvSpPr>
        <p:spPr>
          <a:xfrm>
            <a:off x="697449" y="1485388"/>
            <a:ext cx="1160767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  <a:sym typeface="Arial"/>
              </a:rPr>
              <a:t>BYO resources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C7151299-7F4E-FEE5-E6E8-8DA24B2EE85D}"/>
              </a:ext>
            </a:extLst>
          </p:cNvPr>
          <p:cNvSpPr txBox="1"/>
          <p:nvPr/>
        </p:nvSpPr>
        <p:spPr>
          <a:xfrm>
            <a:off x="672496" y="4299578"/>
            <a:ext cx="1367939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  <a:sym typeface="Arial"/>
              </a:rPr>
              <a:t>AI tool resources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77901AC0-47CC-E1DB-8541-A2ACD6F61555}"/>
              </a:ext>
            </a:extLst>
          </p:cNvPr>
          <p:cNvSpPr txBox="1"/>
          <p:nvPr/>
        </p:nvSpPr>
        <p:spPr>
          <a:xfrm>
            <a:off x="3010293" y="4777097"/>
            <a:ext cx="192510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  <a:sym typeface="Arial"/>
              </a:rPr>
              <a:t>Grounding with Bing Search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  <a:sym typeface="Arial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4518D1EE-5FFA-EA02-FA46-AD7EFCE42905}"/>
              </a:ext>
            </a:extLst>
          </p:cNvPr>
          <p:cNvSpPr txBox="1"/>
          <p:nvPr/>
        </p:nvSpPr>
        <p:spPr>
          <a:xfrm>
            <a:off x="1252849" y="4777097"/>
            <a:ext cx="111487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  <a:sym typeface="Arial"/>
              </a:rPr>
              <a:t>Azure AI Search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  <a:sym typeface="Arial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0044EBEA-346D-5C31-291D-E4018A36DCBC}"/>
              </a:ext>
            </a:extLst>
          </p:cNvPr>
          <p:cNvSpPr txBox="1"/>
          <p:nvPr/>
        </p:nvSpPr>
        <p:spPr>
          <a:xfrm>
            <a:off x="1264424" y="5235655"/>
            <a:ext cx="82550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  <a:sym typeface="Arial"/>
              </a:rPr>
              <a:t>Logic Apps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  <a:sym typeface="Arial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37C4F4A0-21B4-C515-1385-F02C882DCC8B}"/>
              </a:ext>
            </a:extLst>
          </p:cNvPr>
          <p:cNvSpPr txBox="1"/>
          <p:nvPr/>
        </p:nvSpPr>
        <p:spPr>
          <a:xfrm>
            <a:off x="2748757" y="5235250"/>
            <a:ext cx="114959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  <a:sym typeface="Arial"/>
              </a:rPr>
              <a:t>Azure Functions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  <a:sym typeface="Arial"/>
            </a:endParaRPr>
          </a:p>
        </p:txBody>
      </p:sp>
      <p:sp>
        <p:nvSpPr>
          <p:cNvPr id="44" name="Rounded Rectangle 43">
            <a:extLst>
              <a:ext uri="{FF2B5EF4-FFF2-40B4-BE49-F238E27FC236}">
                <a16:creationId xmlns:a16="http://schemas.microsoft.com/office/drawing/2014/main" id="{608C28D5-773C-6EF6-510F-B207671F148A}"/>
              </a:ext>
            </a:extLst>
          </p:cNvPr>
          <p:cNvSpPr/>
          <p:nvPr/>
        </p:nvSpPr>
        <p:spPr bwMode="auto">
          <a:xfrm>
            <a:off x="7494834" y="2372524"/>
            <a:ext cx="1620636" cy="1500643"/>
          </a:xfrm>
          <a:prstGeom prst="roundRect">
            <a:avLst>
              <a:gd name="adj" fmla="val 6089"/>
            </a:avLst>
          </a:prstGeom>
          <a:noFill/>
          <a:ln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Text"/>
              <a:ea typeface="Segoe UI" pitchFamily="34" charset="0"/>
              <a:cs typeface="Segoe UI" pitchFamily="34" charset="0"/>
              <a:sym typeface="Arial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15125125-7010-A17E-81D4-1AA41CDD674C}"/>
              </a:ext>
            </a:extLst>
          </p:cNvPr>
          <p:cNvSpPr txBox="1"/>
          <p:nvPr/>
        </p:nvSpPr>
        <p:spPr>
          <a:xfrm>
            <a:off x="8021879" y="2477059"/>
            <a:ext cx="601127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  <a:sym typeface="Arial"/>
              </a:rPr>
              <a:t>Models</a:t>
            </a:r>
          </a:p>
        </p:txBody>
      </p:sp>
      <p:sp>
        <p:nvSpPr>
          <p:cNvPr id="46" name="Rounded Rectangle 45">
            <a:extLst>
              <a:ext uri="{FF2B5EF4-FFF2-40B4-BE49-F238E27FC236}">
                <a16:creationId xmlns:a16="http://schemas.microsoft.com/office/drawing/2014/main" id="{7B9FDF8F-741F-0A89-9190-7233AA09C045}"/>
              </a:ext>
            </a:extLst>
          </p:cNvPr>
          <p:cNvSpPr/>
          <p:nvPr/>
        </p:nvSpPr>
        <p:spPr bwMode="auto">
          <a:xfrm>
            <a:off x="5608337" y="2372524"/>
            <a:ext cx="1620636" cy="1500643"/>
          </a:xfrm>
          <a:prstGeom prst="roundRect">
            <a:avLst>
              <a:gd name="adj" fmla="val 6089"/>
            </a:avLst>
          </a:prstGeom>
          <a:noFill/>
          <a:ln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Text"/>
              <a:ea typeface="Segoe UI" pitchFamily="34" charset="0"/>
              <a:cs typeface="Segoe UI" pitchFamily="34" charset="0"/>
              <a:sym typeface="Arial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8DF15D29-294F-3495-9EDA-4BB9D7B16619}"/>
              </a:ext>
            </a:extLst>
          </p:cNvPr>
          <p:cNvSpPr txBox="1"/>
          <p:nvPr/>
        </p:nvSpPr>
        <p:spPr>
          <a:xfrm>
            <a:off x="6134122" y="2480769"/>
            <a:ext cx="569067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  <a:sym typeface="Arial"/>
              </a:rPr>
              <a:t>Agents</a:t>
            </a:r>
          </a:p>
        </p:txBody>
      </p:sp>
      <p:pic>
        <p:nvPicPr>
          <p:cNvPr id="48" name="Picture 47" descr="A blue square with a black star&#10;&#10;">
            <a:extLst>
              <a:ext uri="{FF2B5EF4-FFF2-40B4-BE49-F238E27FC236}">
                <a16:creationId xmlns:a16="http://schemas.microsoft.com/office/drawing/2014/main" id="{DA19D7A4-3167-850F-008B-83C37DB16399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97424" y="2901568"/>
            <a:ext cx="409027" cy="409027"/>
          </a:xfrm>
          <a:prstGeom prst="rect">
            <a:avLst/>
          </a:prstGeom>
        </p:spPr>
      </p:pic>
      <p:pic>
        <p:nvPicPr>
          <p:cNvPr id="49" name="Picture 2" descr="Meta logo">
            <a:extLst>
              <a:ext uri="{FF2B5EF4-FFF2-40B4-BE49-F238E27FC236}">
                <a16:creationId xmlns:a16="http://schemas.microsoft.com/office/drawing/2014/main" id="{AB9198B2-72EC-FC7D-B0B5-488CBB44A3B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33514" y="2901732"/>
            <a:ext cx="436017" cy="4360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Picture 4" descr="Mistral AI logo">
            <a:extLst>
              <a:ext uri="{FF2B5EF4-FFF2-40B4-BE49-F238E27FC236}">
                <a16:creationId xmlns:a16="http://schemas.microsoft.com/office/drawing/2014/main" id="{53FD3786-259D-AEFC-A16F-84AFE7F87D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42458" y="2959653"/>
            <a:ext cx="283561" cy="2835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50" descr="A black and green logo&#10;&#10;">
            <a:extLst>
              <a:ext uri="{FF2B5EF4-FFF2-40B4-BE49-F238E27FC236}">
                <a16:creationId xmlns:a16="http://schemas.microsoft.com/office/drawing/2014/main" id="{AE774049-FC8A-7246-1246-613D73A81ED1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7491" r="80121"/>
          <a:stretch/>
        </p:blipFill>
        <p:spPr>
          <a:xfrm>
            <a:off x="7952917" y="3372903"/>
            <a:ext cx="307068" cy="270725"/>
          </a:xfrm>
          <a:prstGeom prst="rect">
            <a:avLst/>
          </a:prstGeom>
        </p:spPr>
      </p:pic>
      <p:pic>
        <p:nvPicPr>
          <p:cNvPr id="52" name="Picture 51" descr="A colorful hexagon with stars&#10;&#10;Description automatically generated">
            <a:extLst>
              <a:ext uri="{FF2B5EF4-FFF2-40B4-BE49-F238E27FC236}">
                <a16:creationId xmlns:a16="http://schemas.microsoft.com/office/drawing/2014/main" id="{EA7ADF96-56D5-9EAF-4271-54E2455A0B79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50164" y="2776851"/>
            <a:ext cx="939308" cy="939308"/>
          </a:xfrm>
          <a:prstGeom prst="rect">
            <a:avLst/>
          </a:prstGeom>
        </p:spPr>
      </p:pic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A48F01FC-80FD-7609-CA47-878CE69A65AD}"/>
              </a:ext>
            </a:extLst>
          </p:cNvPr>
          <p:cNvCxnSpPr>
            <a:cxnSpLocks/>
            <a:stCxn id="44" idx="1"/>
            <a:endCxn id="46" idx="3"/>
          </p:cNvCxnSpPr>
          <p:nvPr/>
        </p:nvCxnSpPr>
        <p:spPr>
          <a:xfrm flipH="1">
            <a:off x="7228973" y="3122846"/>
            <a:ext cx="265861" cy="0"/>
          </a:xfrm>
          <a:prstGeom prst="line">
            <a:avLst/>
          </a:prstGeom>
          <a:ln w="12700">
            <a:solidFill>
              <a:schemeClr val="tx1"/>
            </a:solidFill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4" name="Rounded Rectangle 1043">
            <a:extLst>
              <a:ext uri="{FF2B5EF4-FFF2-40B4-BE49-F238E27FC236}">
                <a16:creationId xmlns:a16="http://schemas.microsoft.com/office/drawing/2014/main" id="{321B938F-B368-C34A-285F-A8561AC97B33}"/>
              </a:ext>
            </a:extLst>
          </p:cNvPr>
          <p:cNvSpPr/>
          <p:nvPr/>
        </p:nvSpPr>
        <p:spPr bwMode="auto">
          <a:xfrm>
            <a:off x="7928624" y="4291503"/>
            <a:ext cx="3735067" cy="2103168"/>
          </a:xfrm>
          <a:prstGeom prst="roundRect">
            <a:avLst>
              <a:gd name="adj" fmla="val 6089"/>
            </a:avLst>
          </a:prstGeom>
          <a:noFill/>
          <a:ln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Text"/>
              <a:ea typeface="Segoe UI" pitchFamily="34" charset="0"/>
              <a:cs typeface="Segoe UI" pitchFamily="34" charset="0"/>
              <a:sym typeface="Arial"/>
            </a:endParaRPr>
          </a:p>
        </p:txBody>
      </p:sp>
      <p:pic>
        <p:nvPicPr>
          <p:cNvPr id="1026" name="Picture 2" descr="Azure Container Apps - Visual Studio Marketplace">
            <a:extLst>
              <a:ext uri="{FF2B5EF4-FFF2-40B4-BE49-F238E27FC236}">
                <a16:creationId xmlns:a16="http://schemas.microsoft.com/office/drawing/2014/main" id="{CEB0E831-C3F1-3C43-F465-FC600CC6E1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181063" y="5873635"/>
            <a:ext cx="699606" cy="6996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45" name="TextBox 1044">
            <a:extLst>
              <a:ext uri="{FF2B5EF4-FFF2-40B4-BE49-F238E27FC236}">
                <a16:creationId xmlns:a16="http://schemas.microsoft.com/office/drawing/2014/main" id="{4EA9D35D-2ADC-48C3-EF34-756AE080F311}"/>
              </a:ext>
            </a:extLst>
          </p:cNvPr>
          <p:cNvSpPr txBox="1"/>
          <p:nvPr/>
        </p:nvSpPr>
        <p:spPr>
          <a:xfrm>
            <a:off x="9013287" y="5941273"/>
            <a:ext cx="2029210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  <a:sym typeface="Arial"/>
              </a:rPr>
              <a:t>Azure Container Apps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  <a:sym typeface="Arial"/>
            </a:endParaRPr>
          </a:p>
        </p:txBody>
      </p:sp>
      <p:sp>
        <p:nvSpPr>
          <p:cNvPr id="1046" name="Rounded Rectangle 1045">
            <a:extLst>
              <a:ext uri="{FF2B5EF4-FFF2-40B4-BE49-F238E27FC236}">
                <a16:creationId xmlns:a16="http://schemas.microsoft.com/office/drawing/2014/main" id="{CBED5DC8-59DA-0187-3C44-16AF4B429D4B}"/>
              </a:ext>
            </a:extLst>
          </p:cNvPr>
          <p:cNvSpPr/>
          <p:nvPr/>
        </p:nvSpPr>
        <p:spPr bwMode="auto">
          <a:xfrm>
            <a:off x="8146632" y="4489174"/>
            <a:ext cx="3266005" cy="1205890"/>
          </a:xfrm>
          <a:prstGeom prst="roundRect">
            <a:avLst>
              <a:gd name="adj" fmla="val 6089"/>
            </a:avLst>
          </a:prstGeom>
          <a:noFill/>
          <a:ln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Text"/>
              <a:ea typeface="Segoe UI" pitchFamily="34" charset="0"/>
              <a:cs typeface="Segoe UI" pitchFamily="34" charset="0"/>
              <a:sym typeface="Arial"/>
            </a:endParaRPr>
          </a:p>
        </p:txBody>
      </p:sp>
      <p:sp>
        <p:nvSpPr>
          <p:cNvPr id="1057" name="Rounded Rectangle 1056">
            <a:extLst>
              <a:ext uri="{FF2B5EF4-FFF2-40B4-BE49-F238E27FC236}">
                <a16:creationId xmlns:a16="http://schemas.microsoft.com/office/drawing/2014/main" id="{D64C56B8-3484-3D7B-BB9C-A27A4FD6F5E6}"/>
              </a:ext>
            </a:extLst>
          </p:cNvPr>
          <p:cNvSpPr/>
          <p:nvPr/>
        </p:nvSpPr>
        <p:spPr bwMode="auto">
          <a:xfrm>
            <a:off x="3682225" y="2372524"/>
            <a:ext cx="1620636" cy="1500643"/>
          </a:xfrm>
          <a:prstGeom prst="roundRect">
            <a:avLst>
              <a:gd name="adj" fmla="val 6089"/>
            </a:avLst>
          </a:prstGeom>
          <a:noFill/>
          <a:ln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Text"/>
              <a:ea typeface="Segoe UI" pitchFamily="34" charset="0"/>
              <a:cs typeface="Segoe UI" pitchFamily="34" charset="0"/>
              <a:sym typeface="Arial"/>
            </a:endParaRPr>
          </a:p>
        </p:txBody>
      </p:sp>
      <p:sp>
        <p:nvSpPr>
          <p:cNvPr id="1058" name="TextBox 1057">
            <a:extLst>
              <a:ext uri="{FF2B5EF4-FFF2-40B4-BE49-F238E27FC236}">
                <a16:creationId xmlns:a16="http://schemas.microsoft.com/office/drawing/2014/main" id="{4D67BC1D-72DE-C90C-B803-67767E0E481C}"/>
              </a:ext>
            </a:extLst>
          </p:cNvPr>
          <p:cNvSpPr txBox="1"/>
          <p:nvPr/>
        </p:nvSpPr>
        <p:spPr>
          <a:xfrm>
            <a:off x="3860678" y="2467908"/>
            <a:ext cx="12578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  <a:sym typeface="Arial"/>
              </a:rPr>
              <a:t>Built-in AI tools</a:t>
            </a:r>
          </a:p>
        </p:txBody>
      </p:sp>
      <p:cxnSp>
        <p:nvCxnSpPr>
          <p:cNvPr id="1067" name="Straight Connector 1066">
            <a:extLst>
              <a:ext uri="{FF2B5EF4-FFF2-40B4-BE49-F238E27FC236}">
                <a16:creationId xmlns:a16="http://schemas.microsoft.com/office/drawing/2014/main" id="{0FC40E8D-177B-8439-E194-30319A8E024E}"/>
              </a:ext>
            </a:extLst>
          </p:cNvPr>
          <p:cNvCxnSpPr>
            <a:cxnSpLocks/>
            <a:stCxn id="46" idx="1"/>
            <a:endCxn id="1057" idx="3"/>
          </p:cNvCxnSpPr>
          <p:nvPr/>
        </p:nvCxnSpPr>
        <p:spPr>
          <a:xfrm flipH="1">
            <a:off x="5302861" y="3122846"/>
            <a:ext cx="305476" cy="0"/>
          </a:xfrm>
          <a:prstGeom prst="line">
            <a:avLst/>
          </a:prstGeom>
          <a:ln w="12700">
            <a:solidFill>
              <a:schemeClr val="tx1"/>
            </a:solidFill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1" name="TextBox 1070">
            <a:extLst>
              <a:ext uri="{FF2B5EF4-FFF2-40B4-BE49-F238E27FC236}">
                <a16:creationId xmlns:a16="http://schemas.microsoft.com/office/drawing/2014/main" id="{F33E4EC6-3EC7-4C1F-7A46-175B74F84C77}"/>
              </a:ext>
            </a:extLst>
          </p:cNvPr>
          <p:cNvSpPr txBox="1"/>
          <p:nvPr/>
        </p:nvSpPr>
        <p:spPr>
          <a:xfrm>
            <a:off x="1350075" y="3665493"/>
            <a:ext cx="1078372" cy="34624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  <a:sym typeface="Arial"/>
              </a:rPr>
              <a:t>Azure AI Search</a:t>
            </a:r>
            <a:b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  <a:sym typeface="Arial"/>
              </a:rPr>
            </a:b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  <a:sym typeface="Arial"/>
              </a:rPr>
              <a:t>File search index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  <a:sym typeface="Arial"/>
            </a:endParaRPr>
          </a:p>
        </p:txBody>
      </p:sp>
      <p:grpSp>
        <p:nvGrpSpPr>
          <p:cNvPr id="1098" name="Group 1097">
            <a:extLst>
              <a:ext uri="{FF2B5EF4-FFF2-40B4-BE49-F238E27FC236}">
                <a16:creationId xmlns:a16="http://schemas.microsoft.com/office/drawing/2014/main" id="{B9E1A53C-E568-575C-638E-473BE72D5E85}"/>
              </a:ext>
            </a:extLst>
          </p:cNvPr>
          <p:cNvGrpSpPr/>
          <p:nvPr/>
        </p:nvGrpSpPr>
        <p:grpSpPr>
          <a:xfrm>
            <a:off x="427422" y="1852109"/>
            <a:ext cx="997069" cy="2245162"/>
            <a:chOff x="416133" y="1728527"/>
            <a:chExt cx="1023318" cy="2304269"/>
          </a:xfrm>
        </p:grpSpPr>
        <p:pic>
          <p:nvPicPr>
            <p:cNvPr id="1036" name="Picture 12" descr="Azure Cosmos DB – グローバル分散データベース サービス | Microsoft Azure">
              <a:extLst>
                <a:ext uri="{FF2B5EF4-FFF2-40B4-BE49-F238E27FC236}">
                  <a16:creationId xmlns:a16="http://schemas.microsoft.com/office/drawing/2014/main" id="{234D7D46-3C7E-D2E2-D5EA-6993825B572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2824" y="1728527"/>
              <a:ext cx="1009937" cy="53021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8" name="Picture 14" descr="Azure Key Vault | New Relic">
              <a:extLst>
                <a:ext uri="{FF2B5EF4-FFF2-40B4-BE49-F238E27FC236}">
                  <a16:creationId xmlns:a16="http://schemas.microsoft.com/office/drawing/2014/main" id="{B4B0C016-A134-C541-5B02-B714DCE7EB1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9494" y="2369211"/>
              <a:ext cx="896596" cy="47071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40" name="Picture 16" descr="&quot;azure blob storage color&quot; Icon - Download for free – Iconduck">
              <a:extLst>
                <a:ext uri="{FF2B5EF4-FFF2-40B4-BE49-F238E27FC236}">
                  <a16:creationId xmlns:a16="http://schemas.microsoft.com/office/drawing/2014/main" id="{71B88C99-E862-E4B3-9CEE-10387F9BD34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4794" y="2997747"/>
              <a:ext cx="505996" cy="43088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72" name="Picture 8" descr="Pricing - Azure AI Search | Microsoft Azure">
              <a:extLst>
                <a:ext uri="{FF2B5EF4-FFF2-40B4-BE49-F238E27FC236}">
                  <a16:creationId xmlns:a16="http://schemas.microsoft.com/office/drawing/2014/main" id="{4D5721AE-BBC1-32F7-F576-5CE19EC5680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6133" y="3495554"/>
              <a:ext cx="1023318" cy="53724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1079" name="Straight Connector 1078">
            <a:extLst>
              <a:ext uri="{FF2B5EF4-FFF2-40B4-BE49-F238E27FC236}">
                <a16:creationId xmlns:a16="http://schemas.microsoft.com/office/drawing/2014/main" id="{F780ED94-F7A8-E325-7969-FDE7262F35AD}"/>
              </a:ext>
            </a:extLst>
          </p:cNvPr>
          <p:cNvCxnSpPr/>
          <p:nvPr/>
        </p:nvCxnSpPr>
        <p:spPr>
          <a:xfrm>
            <a:off x="549422" y="5811005"/>
            <a:ext cx="6994272" cy="0"/>
          </a:xfrm>
          <a:prstGeom prst="line">
            <a:avLst/>
          </a:prstGeom>
          <a:ln w="12700">
            <a:solidFill>
              <a:schemeClr val="tx1"/>
            </a:solidFill>
            <a:prstDash val="dash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6" name="Right Brace 1085">
            <a:extLst>
              <a:ext uri="{FF2B5EF4-FFF2-40B4-BE49-F238E27FC236}">
                <a16:creationId xmlns:a16="http://schemas.microsoft.com/office/drawing/2014/main" id="{88032E71-28A1-68BF-12F1-CDF6185E3200}"/>
              </a:ext>
            </a:extLst>
          </p:cNvPr>
          <p:cNvSpPr/>
          <p:nvPr/>
        </p:nvSpPr>
        <p:spPr>
          <a:xfrm>
            <a:off x="2575857" y="1858878"/>
            <a:ext cx="221659" cy="2172335"/>
          </a:xfrm>
          <a:prstGeom prst="rightBrace">
            <a:avLst/>
          </a:prstGeom>
          <a:ln>
            <a:solidFill>
              <a:schemeClr val="tx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"/>
              <a:ea typeface="+mn-ea"/>
              <a:cs typeface="+mn-cs"/>
              <a:sym typeface="Arial"/>
            </a:endParaRPr>
          </a:p>
        </p:txBody>
      </p:sp>
      <p:cxnSp>
        <p:nvCxnSpPr>
          <p:cNvPr id="1099" name="Elbow Connector 1098">
            <a:extLst>
              <a:ext uri="{FF2B5EF4-FFF2-40B4-BE49-F238E27FC236}">
                <a16:creationId xmlns:a16="http://schemas.microsoft.com/office/drawing/2014/main" id="{F8246F5A-8FA1-CA92-87AA-C09DB9DE2B6F}"/>
              </a:ext>
            </a:extLst>
          </p:cNvPr>
          <p:cNvCxnSpPr>
            <a:cxnSpLocks/>
            <a:stCxn id="1100" idx="1"/>
          </p:cNvCxnSpPr>
          <p:nvPr/>
        </p:nvCxnSpPr>
        <p:spPr>
          <a:xfrm rot="10800000" flipH="1">
            <a:off x="5204327" y="4046419"/>
            <a:ext cx="988699" cy="1243626"/>
          </a:xfrm>
          <a:prstGeom prst="bentConnector4">
            <a:avLst>
              <a:gd name="adj1" fmla="val 100193"/>
              <a:gd name="adj2" fmla="val 64212"/>
            </a:avLst>
          </a:prstGeom>
          <a:ln>
            <a:solidFill>
              <a:schemeClr val="tx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0" name="Right Brace 1099">
            <a:extLst>
              <a:ext uri="{FF2B5EF4-FFF2-40B4-BE49-F238E27FC236}">
                <a16:creationId xmlns:a16="http://schemas.microsoft.com/office/drawing/2014/main" id="{38767790-13F2-554C-3794-9784A0C89ED3}"/>
              </a:ext>
            </a:extLst>
          </p:cNvPr>
          <p:cNvSpPr/>
          <p:nvPr/>
        </p:nvSpPr>
        <p:spPr>
          <a:xfrm>
            <a:off x="5032643" y="4763313"/>
            <a:ext cx="171685" cy="706959"/>
          </a:xfrm>
          <a:prstGeom prst="rightBrace">
            <a:avLst/>
          </a:prstGeom>
          <a:ln>
            <a:solidFill>
              <a:schemeClr val="tx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"/>
              <a:ea typeface="+mn-ea"/>
              <a:cs typeface="+mn-cs"/>
              <a:sym typeface="Arial"/>
            </a:endParaRPr>
          </a:p>
        </p:txBody>
      </p:sp>
      <p:sp>
        <p:nvSpPr>
          <p:cNvPr id="1105" name="Right Brace 1104">
            <a:extLst>
              <a:ext uri="{FF2B5EF4-FFF2-40B4-BE49-F238E27FC236}">
                <a16:creationId xmlns:a16="http://schemas.microsoft.com/office/drawing/2014/main" id="{5EBC15B8-3E65-969E-ACF2-40EF3FA93E5B}"/>
              </a:ext>
            </a:extLst>
          </p:cNvPr>
          <p:cNvSpPr/>
          <p:nvPr/>
        </p:nvSpPr>
        <p:spPr>
          <a:xfrm rot="5400000">
            <a:off x="9187827" y="-1434936"/>
            <a:ext cx="148699" cy="5060225"/>
          </a:xfrm>
          <a:prstGeom prst="rightBrace">
            <a:avLst>
              <a:gd name="adj1" fmla="val 8333"/>
              <a:gd name="adj2" fmla="val 32532"/>
            </a:avLst>
          </a:prstGeom>
          <a:ln>
            <a:solidFill>
              <a:schemeClr val="tx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"/>
              <a:ea typeface="+mn-ea"/>
              <a:cs typeface="+mn-cs"/>
              <a:sym typeface="Arial"/>
            </a:endParaRPr>
          </a:p>
        </p:txBody>
      </p:sp>
      <p:cxnSp>
        <p:nvCxnSpPr>
          <p:cNvPr id="1110" name="Straight Connector 1109">
            <a:extLst>
              <a:ext uri="{FF2B5EF4-FFF2-40B4-BE49-F238E27FC236}">
                <a16:creationId xmlns:a16="http://schemas.microsoft.com/office/drawing/2014/main" id="{F7608F2F-AB96-64F9-B9EE-9B7F56566E5E}"/>
              </a:ext>
            </a:extLst>
          </p:cNvPr>
          <p:cNvCxnSpPr>
            <a:cxnSpLocks/>
          </p:cNvCxnSpPr>
          <p:nvPr/>
        </p:nvCxnSpPr>
        <p:spPr>
          <a:xfrm>
            <a:off x="6703189" y="1319540"/>
            <a:ext cx="5379126" cy="0"/>
          </a:xfrm>
          <a:prstGeom prst="line">
            <a:avLst/>
          </a:prstGeom>
          <a:ln w="12700">
            <a:solidFill>
              <a:schemeClr val="tx1"/>
            </a:solidFill>
            <a:prstDash val="dash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8" name="Straight Connector 1117">
            <a:extLst>
              <a:ext uri="{FF2B5EF4-FFF2-40B4-BE49-F238E27FC236}">
                <a16:creationId xmlns:a16="http://schemas.microsoft.com/office/drawing/2014/main" id="{2D9C1E06-4933-D7A3-E8D6-EF6CA53EFD28}"/>
              </a:ext>
            </a:extLst>
          </p:cNvPr>
          <p:cNvCxnSpPr>
            <a:stCxn id="1028" idx="2"/>
          </p:cNvCxnSpPr>
          <p:nvPr/>
        </p:nvCxnSpPr>
        <p:spPr>
          <a:xfrm flipH="1">
            <a:off x="10142211" y="4032217"/>
            <a:ext cx="4332" cy="440613"/>
          </a:xfrm>
          <a:prstGeom prst="line">
            <a:avLst/>
          </a:prstGeom>
          <a:ln>
            <a:solidFill>
              <a:schemeClr val="tx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19" name="Picture 4" descr="Semantic Kernel's new icon and the art of teamwork ...">
            <a:extLst>
              <a:ext uri="{FF2B5EF4-FFF2-40B4-BE49-F238E27FC236}">
                <a16:creationId xmlns:a16="http://schemas.microsoft.com/office/drawing/2014/main" id="{AD130FBC-4DF5-67C8-7BB8-11804D7FBF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70268" y="4757758"/>
            <a:ext cx="666072" cy="6660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20" name="TextBox 1119">
            <a:extLst>
              <a:ext uri="{FF2B5EF4-FFF2-40B4-BE49-F238E27FC236}">
                <a16:creationId xmlns:a16="http://schemas.microsoft.com/office/drawing/2014/main" id="{971C9CCD-A9F9-A8C2-AF23-8F055F240D90}"/>
              </a:ext>
            </a:extLst>
          </p:cNvPr>
          <p:cNvSpPr txBox="1"/>
          <p:nvPr/>
        </p:nvSpPr>
        <p:spPr>
          <a:xfrm>
            <a:off x="9244466" y="4872224"/>
            <a:ext cx="1770686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  <a:sym typeface="Arial"/>
              </a:rPr>
              <a:t>Semantic Kernel</a:t>
            </a:r>
            <a:b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  <a:sym typeface="Arial"/>
              </a:rPr>
            </a:b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  <a:sym typeface="Arial"/>
              </a:rPr>
              <a:t>Multi-agent orchestrator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  <a:sym typeface="Arial"/>
            </a:endParaRPr>
          </a:p>
        </p:txBody>
      </p:sp>
      <p:cxnSp>
        <p:nvCxnSpPr>
          <p:cNvPr id="1121" name="Elbow Connector 1120">
            <a:extLst>
              <a:ext uri="{FF2B5EF4-FFF2-40B4-BE49-F238E27FC236}">
                <a16:creationId xmlns:a16="http://schemas.microsoft.com/office/drawing/2014/main" id="{646DCEB0-F9C9-3440-487A-00324FA93DCA}"/>
              </a:ext>
            </a:extLst>
          </p:cNvPr>
          <p:cNvCxnSpPr>
            <a:cxnSpLocks/>
            <a:stCxn id="1128" idx="1"/>
          </p:cNvCxnSpPr>
          <p:nvPr/>
        </p:nvCxnSpPr>
        <p:spPr>
          <a:xfrm rot="5400000" flipH="1" flipV="1">
            <a:off x="7161934" y="5325438"/>
            <a:ext cx="669058" cy="1300328"/>
          </a:xfrm>
          <a:prstGeom prst="bentConnector4">
            <a:avLst>
              <a:gd name="adj1" fmla="val 99858"/>
              <a:gd name="adj2" fmla="val 3200"/>
            </a:avLst>
          </a:prstGeom>
          <a:ln>
            <a:solidFill>
              <a:schemeClr val="tx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8" name="Right Brace 1127">
            <a:extLst>
              <a:ext uri="{FF2B5EF4-FFF2-40B4-BE49-F238E27FC236}">
                <a16:creationId xmlns:a16="http://schemas.microsoft.com/office/drawing/2014/main" id="{8A8D97EC-C83D-F1DB-3788-5AFD05E058D2}"/>
              </a:ext>
            </a:extLst>
          </p:cNvPr>
          <p:cNvSpPr/>
          <p:nvPr/>
        </p:nvSpPr>
        <p:spPr>
          <a:xfrm rot="16200000">
            <a:off x="5302651" y="4141450"/>
            <a:ext cx="196753" cy="4187612"/>
          </a:xfrm>
          <a:prstGeom prst="rightBrace">
            <a:avLst>
              <a:gd name="adj1" fmla="val 8333"/>
              <a:gd name="adj2" fmla="val 84513"/>
            </a:avLst>
          </a:prstGeom>
          <a:ln>
            <a:solidFill>
              <a:schemeClr val="tx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"/>
              <a:ea typeface="+mn-ea"/>
              <a:cs typeface="+mn-cs"/>
              <a:sym typeface="Arial"/>
            </a:endParaRPr>
          </a:p>
        </p:txBody>
      </p:sp>
      <p:pic>
        <p:nvPicPr>
          <p:cNvPr id="1134" name="Picture 4" descr="Model Context Protocol · GitHub">
            <a:extLst>
              <a:ext uri="{FF2B5EF4-FFF2-40B4-BE49-F238E27FC236}">
                <a16:creationId xmlns:a16="http://schemas.microsoft.com/office/drawing/2014/main" id="{EEAE2188-D002-A8FC-6205-092D90F3E9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12304" y="6404748"/>
            <a:ext cx="316276" cy="316276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36" name="TextBox 1135">
            <a:extLst>
              <a:ext uri="{FF2B5EF4-FFF2-40B4-BE49-F238E27FC236}">
                <a16:creationId xmlns:a16="http://schemas.microsoft.com/office/drawing/2014/main" id="{0B960685-46BA-CAA2-F55D-8528BBDCA8A1}"/>
              </a:ext>
            </a:extLst>
          </p:cNvPr>
          <p:cNvSpPr txBox="1"/>
          <p:nvPr/>
        </p:nvSpPr>
        <p:spPr>
          <a:xfrm>
            <a:off x="5347896" y="6471166"/>
            <a:ext cx="958869" cy="1834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  <a:sym typeface="Arial"/>
              </a:rPr>
              <a:t>MCP servers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  <a:sym typeface="Arial"/>
            </a:endParaRPr>
          </a:p>
        </p:txBody>
      </p:sp>
      <p:pic>
        <p:nvPicPr>
          <p:cNvPr id="1137" name="Picture 1136">
            <a:extLst>
              <a:ext uri="{FF2B5EF4-FFF2-40B4-BE49-F238E27FC236}">
                <a16:creationId xmlns:a16="http://schemas.microsoft.com/office/drawing/2014/main" id="{EA766055-420D-9C84-FE27-02EFCFF24357}"/>
              </a:ext>
            </a:extLst>
          </p:cNvPr>
          <p:cNvPicPr>
            <a:picLocks noChangeAspect="1"/>
          </p:cNvPicPr>
          <p:nvPr/>
        </p:nvPicPr>
        <p:blipFill>
          <a:blip r:embed="rId23" cstate="screen">
            <a:extLst>
              <a:ext uri="{BEBA8EAE-BF5A-486C-A8C5-ECC9F3942E4B}">
                <a14:imgProps xmlns:a14="http://schemas.microsoft.com/office/drawing/2010/main">
                  <a14:imgLayer r:embed="rId24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67620" y="6400218"/>
            <a:ext cx="310549" cy="325336"/>
          </a:xfrm>
          <a:prstGeom prst="rect">
            <a:avLst/>
          </a:prstGeom>
        </p:spPr>
      </p:pic>
      <p:sp>
        <p:nvSpPr>
          <p:cNvPr id="1138" name="TextBox 1137">
            <a:extLst>
              <a:ext uri="{FF2B5EF4-FFF2-40B4-BE49-F238E27FC236}">
                <a16:creationId xmlns:a16="http://schemas.microsoft.com/office/drawing/2014/main" id="{5F32BCF1-B733-3869-2A4D-545BC789DC55}"/>
              </a:ext>
            </a:extLst>
          </p:cNvPr>
          <p:cNvSpPr txBox="1"/>
          <p:nvPr/>
        </p:nvSpPr>
        <p:spPr>
          <a:xfrm>
            <a:off x="6627498" y="6437829"/>
            <a:ext cx="1012442" cy="2751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81933"/>
                </a:solidFill>
                <a:effectLst/>
                <a:uLnTx/>
                <a:uFillTx/>
                <a:latin typeface="Segoe Pro Display" panose="020B0502040504020203" pitchFamily="34" charset="0"/>
                <a:ea typeface="+mn-ea"/>
                <a:cs typeface="Arial"/>
                <a:sym typeface="Arial"/>
              </a:rPr>
              <a:t>A2A Servers</a:t>
            </a:r>
          </a:p>
        </p:txBody>
      </p:sp>
      <p:cxnSp>
        <p:nvCxnSpPr>
          <p:cNvPr id="1142" name="Elbow Connector 1141">
            <a:extLst>
              <a:ext uri="{FF2B5EF4-FFF2-40B4-BE49-F238E27FC236}">
                <a16:creationId xmlns:a16="http://schemas.microsoft.com/office/drawing/2014/main" id="{68307C14-C45F-614C-D67B-30D22376116D}"/>
              </a:ext>
            </a:extLst>
          </p:cNvPr>
          <p:cNvCxnSpPr>
            <a:cxnSpLocks/>
            <a:stCxn id="46" idx="2"/>
          </p:cNvCxnSpPr>
          <p:nvPr/>
        </p:nvCxnSpPr>
        <p:spPr>
          <a:xfrm rot="16200000" flipH="1">
            <a:off x="6738344" y="3553478"/>
            <a:ext cx="1088598" cy="1727976"/>
          </a:xfrm>
          <a:prstGeom prst="bentConnector2">
            <a:avLst/>
          </a:prstGeom>
          <a:ln>
            <a:solidFill>
              <a:schemeClr val="tx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8" name="Picture 4" descr="How to Create an Azure QnA Chat Bot">
            <a:extLst>
              <a:ext uri="{FF2B5EF4-FFF2-40B4-BE49-F238E27FC236}">
                <a16:creationId xmlns:a16="http://schemas.microsoft.com/office/drawing/2014/main" id="{7F411FB4-C6DA-75E9-2853-AEC7FB4FCC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08707" y="3294238"/>
            <a:ext cx="1075671" cy="5647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147" name="Straight Connector 1146">
            <a:extLst>
              <a:ext uri="{FF2B5EF4-FFF2-40B4-BE49-F238E27FC236}">
                <a16:creationId xmlns:a16="http://schemas.microsoft.com/office/drawing/2014/main" id="{6B485470-0ED7-34D2-E5BB-9F98F506B4F5}"/>
              </a:ext>
            </a:extLst>
          </p:cNvPr>
          <p:cNvCxnSpPr>
            <a:cxnSpLocks/>
            <a:stCxn id="1105" idx="1"/>
            <a:endCxn id="1028" idx="0"/>
          </p:cNvCxnSpPr>
          <p:nvPr/>
        </p:nvCxnSpPr>
        <p:spPr>
          <a:xfrm>
            <a:off x="10146097" y="1169526"/>
            <a:ext cx="446" cy="2124712"/>
          </a:xfrm>
          <a:prstGeom prst="line">
            <a:avLst/>
          </a:prstGeom>
          <a:ln>
            <a:solidFill>
              <a:schemeClr val="tx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4" name="TextBox 1153">
            <a:extLst>
              <a:ext uri="{FF2B5EF4-FFF2-40B4-BE49-F238E27FC236}">
                <a16:creationId xmlns:a16="http://schemas.microsoft.com/office/drawing/2014/main" id="{3A905335-6A96-0F50-517A-7EBAB1852CD2}"/>
              </a:ext>
            </a:extLst>
          </p:cNvPr>
          <p:cNvSpPr txBox="1"/>
          <p:nvPr/>
        </p:nvSpPr>
        <p:spPr>
          <a:xfrm>
            <a:off x="3738973" y="6470553"/>
            <a:ext cx="950189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  <a:sym typeface="Arial"/>
              </a:rPr>
              <a:t>External APIs</a:t>
            </a:r>
            <a:b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  <a:sym typeface="Arial"/>
              </a:rPr>
            </a:b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  <a:sym typeface="Arial"/>
              </a:rPr>
              <a:t>OpenAPI specs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  <a:sym typeface="Arial"/>
            </a:endParaRPr>
          </a:p>
        </p:txBody>
      </p:sp>
      <p:pic>
        <p:nvPicPr>
          <p:cNvPr id="1155" name="Picture 2" descr="Microsoft Fabric logo">
            <a:extLst>
              <a:ext uri="{FF2B5EF4-FFF2-40B4-BE49-F238E27FC236}">
                <a16:creationId xmlns:a16="http://schemas.microsoft.com/office/drawing/2014/main" id="{86636677-1D5B-DABF-E0FF-E9AB995C28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9319" y="6130294"/>
            <a:ext cx="335339" cy="335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56" name="Picture 6" descr="SharePoint logo">
            <a:extLst>
              <a:ext uri="{FF2B5EF4-FFF2-40B4-BE49-F238E27FC236}">
                <a16:creationId xmlns:a16="http://schemas.microsoft.com/office/drawing/2014/main" id="{2ABD5F47-6FEB-AFD5-0E10-68A750DC63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87671" y="6058437"/>
            <a:ext cx="718581" cy="4790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D9DC4F51-152B-AC67-49AD-065E59A12B65}"/>
              </a:ext>
            </a:extLst>
          </p:cNvPr>
          <p:cNvSpPr txBox="1"/>
          <p:nvPr/>
        </p:nvSpPr>
        <p:spPr>
          <a:xfrm>
            <a:off x="2208749" y="6205630"/>
            <a:ext cx="114959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  <a:sym typeface="Arial"/>
              </a:rPr>
              <a:t>SharePoint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  <a:sym typeface="Arial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5A0BA94-E933-B34B-4877-51AD6289D816}"/>
              </a:ext>
            </a:extLst>
          </p:cNvPr>
          <p:cNvSpPr txBox="1"/>
          <p:nvPr/>
        </p:nvSpPr>
        <p:spPr>
          <a:xfrm>
            <a:off x="965203" y="6205630"/>
            <a:ext cx="114959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  <a:sym typeface="Arial"/>
              </a:rPr>
              <a:t>Fabric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  <a:sym typeface="Arial"/>
            </a:endParaRPr>
          </a:p>
        </p:txBody>
      </p:sp>
      <p:cxnSp>
        <p:nvCxnSpPr>
          <p:cNvPr id="18" name="Elbow Connector 17">
            <a:extLst>
              <a:ext uri="{FF2B5EF4-FFF2-40B4-BE49-F238E27FC236}">
                <a16:creationId xmlns:a16="http://schemas.microsoft.com/office/drawing/2014/main" id="{3F759B03-B3DB-4911-64F4-F6415E11D656}"/>
              </a:ext>
            </a:extLst>
          </p:cNvPr>
          <p:cNvCxnSpPr>
            <a:cxnSpLocks/>
            <a:endCxn id="20" idx="1"/>
          </p:cNvCxnSpPr>
          <p:nvPr/>
        </p:nvCxnSpPr>
        <p:spPr>
          <a:xfrm rot="5400000">
            <a:off x="4133408" y="3894833"/>
            <a:ext cx="2031110" cy="2334283"/>
          </a:xfrm>
          <a:prstGeom prst="bentConnector3">
            <a:avLst>
              <a:gd name="adj1" fmla="val 78440"/>
            </a:avLst>
          </a:prstGeom>
          <a:ln>
            <a:solidFill>
              <a:schemeClr val="tx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ight Brace 19">
            <a:extLst>
              <a:ext uri="{FF2B5EF4-FFF2-40B4-BE49-F238E27FC236}">
                <a16:creationId xmlns:a16="http://schemas.microsoft.com/office/drawing/2014/main" id="{2DC8FB57-1A80-FBC0-C481-358FCE3A5D75}"/>
              </a:ext>
            </a:extLst>
          </p:cNvPr>
          <p:cNvSpPr/>
          <p:nvPr/>
        </p:nvSpPr>
        <p:spPr>
          <a:xfrm rot="16200000">
            <a:off x="2432552" y="3873378"/>
            <a:ext cx="174435" cy="4236234"/>
          </a:xfrm>
          <a:prstGeom prst="rightBrace">
            <a:avLst>
              <a:gd name="adj1" fmla="val 8333"/>
              <a:gd name="adj2" fmla="val 84513"/>
            </a:avLst>
          </a:prstGeom>
          <a:ln>
            <a:solidFill>
              <a:schemeClr val="tx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"/>
              <a:ea typeface="+mn-ea"/>
              <a:cs typeface="+mn-cs"/>
              <a:sym typeface="Arial"/>
            </a:endParaRPr>
          </a:p>
        </p:txBody>
      </p:sp>
      <p:pic>
        <p:nvPicPr>
          <p:cNvPr id="26" name="Picture 4" descr="OpenAPI ">
            <a:extLst>
              <a:ext uri="{FF2B5EF4-FFF2-40B4-BE49-F238E27FC236}">
                <a16:creationId xmlns:a16="http://schemas.microsoft.com/office/drawing/2014/main" id="{35DDB664-1558-C9DD-6325-ADC166CF06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8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28956" y="6327330"/>
            <a:ext cx="432893" cy="4328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9F7061CD-B282-3F59-FA2D-DE8B389AF9E6}"/>
              </a:ext>
            </a:extLst>
          </p:cNvPr>
          <p:cNvSpPr txBox="1"/>
          <p:nvPr/>
        </p:nvSpPr>
        <p:spPr>
          <a:xfrm>
            <a:off x="4119594" y="2959653"/>
            <a:ext cx="70525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Arial"/>
                <a:sym typeface="Arial"/>
              </a:rPr>
              <a:t>File search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5B92EA32-B6B6-E8F7-FCC0-A4A41E1833C0}"/>
              </a:ext>
            </a:extLst>
          </p:cNvPr>
          <p:cNvSpPr txBox="1"/>
          <p:nvPr/>
        </p:nvSpPr>
        <p:spPr>
          <a:xfrm>
            <a:off x="3957659" y="3404533"/>
            <a:ext cx="1029128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Arial"/>
                <a:sym typeface="Arial"/>
              </a:rPr>
              <a:t>Code interpreter</a:t>
            </a:r>
          </a:p>
        </p:txBody>
      </p:sp>
      <p:pic>
        <p:nvPicPr>
          <p:cNvPr id="31" name="Picture 2" descr="Twilio Logo, symbol, meaning, history, PNG, brand">
            <a:extLst>
              <a:ext uri="{FF2B5EF4-FFF2-40B4-BE49-F238E27FC236}">
                <a16:creationId xmlns:a16="http://schemas.microsoft.com/office/drawing/2014/main" id="{4B0250FA-6292-A545-6BDD-051C9913FF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029500" y="503130"/>
            <a:ext cx="697449" cy="3923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4" descr="Slack Logo: valor, história, PNG">
            <a:extLst>
              <a:ext uri="{FF2B5EF4-FFF2-40B4-BE49-F238E27FC236}">
                <a16:creationId xmlns:a16="http://schemas.microsoft.com/office/drawing/2014/main" id="{D87A15A9-7579-F106-BD5E-0FCCCA5CBD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42762" y="503129"/>
            <a:ext cx="697449" cy="3923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DE595790-8F7E-CAA8-8327-F6CD1ADB8BF1}"/>
              </a:ext>
            </a:extLst>
          </p:cNvPr>
          <p:cNvPicPr>
            <a:picLocks noChangeAspect="1"/>
          </p:cNvPicPr>
          <p:nvPr/>
        </p:nvPicPr>
        <p:blipFill>
          <a:blip r:embed="rId3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29782" y="435023"/>
            <a:ext cx="538574" cy="538574"/>
          </a:xfrm>
          <a:prstGeom prst="rect">
            <a:avLst/>
          </a:prstGeom>
        </p:spPr>
      </p:pic>
      <p:pic>
        <p:nvPicPr>
          <p:cNvPr id="34" name="Picture 6" descr="Microsoft Bot Framework Emulator 4.14.1 • AppDeployNews">
            <a:extLst>
              <a:ext uri="{FF2B5EF4-FFF2-40B4-BE49-F238E27FC236}">
                <a16:creationId xmlns:a16="http://schemas.microsoft.com/office/drawing/2014/main" id="{ECC525A3-B52A-4A6C-10AC-0C083C5A65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68844" y="478702"/>
            <a:ext cx="471010" cy="4710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36815448"/>
      </p:ext>
    </p:extLst>
  </p:cSld>
  <p:clrMapOvr>
    <a:masterClrMapping/>
  </p:clrMapOvr>
  <p:transition>
    <p:fade/>
  </p:transition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" name="Rounded Rectangle 45">
            <a:extLst>
              <a:ext uri="{FF2B5EF4-FFF2-40B4-BE49-F238E27FC236}">
                <a16:creationId xmlns:a16="http://schemas.microsoft.com/office/drawing/2014/main" id="{E2497380-C8D9-B68E-6882-02775F94A3F2}"/>
              </a:ext>
            </a:extLst>
          </p:cNvPr>
          <p:cNvSpPr/>
          <p:nvPr/>
        </p:nvSpPr>
        <p:spPr bwMode="auto">
          <a:xfrm>
            <a:off x="4292737" y="2732004"/>
            <a:ext cx="2293843" cy="2114911"/>
          </a:xfrm>
          <a:prstGeom prst="roundRect">
            <a:avLst>
              <a:gd name="adj" fmla="val 6089"/>
            </a:avLst>
          </a:prstGeom>
          <a:noFill/>
          <a:ln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Tex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Rounded Rectangle 45">
            <a:extLst>
              <a:ext uri="{FF2B5EF4-FFF2-40B4-BE49-F238E27FC236}">
                <a16:creationId xmlns:a16="http://schemas.microsoft.com/office/drawing/2014/main" id="{AC301A24-699A-21D0-8AC8-CFC132EF8FA9}"/>
              </a:ext>
            </a:extLst>
          </p:cNvPr>
          <p:cNvSpPr/>
          <p:nvPr/>
        </p:nvSpPr>
        <p:spPr bwMode="auto">
          <a:xfrm>
            <a:off x="206673" y="1118340"/>
            <a:ext cx="3432672" cy="2297021"/>
          </a:xfrm>
          <a:prstGeom prst="roundRect">
            <a:avLst>
              <a:gd name="adj" fmla="val 6089"/>
            </a:avLst>
          </a:prstGeom>
          <a:noFill/>
          <a:ln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Tex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96406E6-3E0C-BFC6-7BEC-03EA15A5A0B5}"/>
              </a:ext>
            </a:extLst>
          </p:cNvPr>
          <p:cNvSpPr txBox="1"/>
          <p:nvPr/>
        </p:nvSpPr>
        <p:spPr>
          <a:xfrm>
            <a:off x="1068649" y="1250978"/>
            <a:ext cx="163503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Microsoft Agents</a:t>
            </a:r>
          </a:p>
        </p:txBody>
      </p:sp>
      <p:pic>
        <p:nvPicPr>
          <p:cNvPr id="4" name="Picture 3" descr="A colorful hexagon with stars&#10;&#10;Description automatically generated">
            <a:extLst>
              <a:ext uri="{FF2B5EF4-FFF2-40B4-BE49-F238E27FC236}">
                <a16:creationId xmlns:a16="http://schemas.microsoft.com/office/drawing/2014/main" id="{4978636C-2B92-C857-B07E-A23E13E1A4E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09204" y="4880001"/>
            <a:ext cx="704590" cy="704590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706B0FBD-C486-6D7C-444F-E367F29A3D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15427" y="1761786"/>
            <a:ext cx="616799" cy="616799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6" name="Picture 16">
            <a:extLst>
              <a:ext uri="{FF2B5EF4-FFF2-40B4-BE49-F238E27FC236}">
                <a16:creationId xmlns:a16="http://schemas.microsoft.com/office/drawing/2014/main" id="{923DFBAC-BC8C-A966-721C-556ABC3B7E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18762" y="1778615"/>
            <a:ext cx="552387" cy="5523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>
            <a:extLst>
              <a:ext uri="{FF2B5EF4-FFF2-40B4-BE49-F238E27FC236}">
                <a16:creationId xmlns:a16="http://schemas.microsoft.com/office/drawing/2014/main" id="{1E3DEDD6-CE8C-8486-15ED-6CFE847AD9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5821" y="1692214"/>
            <a:ext cx="1200689" cy="6303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5C41CCF3-378C-AFBE-AADB-1C48212CABC8}"/>
              </a:ext>
            </a:extLst>
          </p:cNvPr>
          <p:cNvSpPr txBox="1"/>
          <p:nvPr/>
        </p:nvSpPr>
        <p:spPr>
          <a:xfrm>
            <a:off x="247604" y="2430046"/>
            <a:ext cx="114822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Segoe UI Semibold" panose="020B0502040204020203" pitchFamily="34" charset="0"/>
              </a:rPr>
              <a:t>Copilot Studio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Segoe UI Semibold" panose="020B0502040204020203" pitchFamily="34" charset="0"/>
              </a:rPr>
              <a:t>Agent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188D1DE-C7D4-3E7B-9266-52A3744AFBB5}"/>
              </a:ext>
            </a:extLst>
          </p:cNvPr>
          <p:cNvSpPr txBox="1"/>
          <p:nvPr/>
        </p:nvSpPr>
        <p:spPr>
          <a:xfrm>
            <a:off x="1352938" y="2430046"/>
            <a:ext cx="97662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Segoe UI Semibold" panose="020B0502040204020203" pitchFamily="34" charset="0"/>
              </a:rPr>
              <a:t>Foundry </a:t>
            </a:r>
            <a:r>
              <a:rPr kumimoji="0" lang="en-US" sz="120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Segoe UI Semibold" panose="020B0502040204020203" pitchFamily="34" charset="0"/>
              </a:rPr>
              <a:t>Agent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BC7C68E-36D3-75AE-D99D-9D2FEBFB3DD5}"/>
              </a:ext>
            </a:extLst>
          </p:cNvPr>
          <p:cNvSpPr txBox="1"/>
          <p:nvPr/>
        </p:nvSpPr>
        <p:spPr>
          <a:xfrm>
            <a:off x="2296174" y="2420830"/>
            <a:ext cx="122057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HK" sz="1200" kern="1200">
                <a:solidFill>
                  <a:schemeClr val="tx1"/>
                </a:solidFill>
                <a:latin typeface="+mn-lt"/>
                <a:ea typeface="+mn-ea"/>
                <a:cs typeface="Segoe UI Semibold" panose="020B0502040204020203" pitchFamily="34" charset="0"/>
              </a:rPr>
              <a:t>Semantic Kernel</a:t>
            </a:r>
            <a:endParaRPr lang="en-US" sz="1200" kern="1200">
              <a:solidFill>
                <a:schemeClr val="tx1"/>
              </a:solidFill>
              <a:latin typeface="+mn-lt"/>
              <a:ea typeface="+mn-ea"/>
              <a:cs typeface="Segoe UI Semibold" panose="020B0502040204020203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Segoe UI Semibold" panose="020B0502040204020203" pitchFamily="34" charset="0"/>
              </a:rPr>
              <a:t>Agents</a:t>
            </a:r>
          </a:p>
        </p:txBody>
      </p:sp>
      <p:sp>
        <p:nvSpPr>
          <p:cNvPr id="11" name="Rounded Rectangle 45">
            <a:extLst>
              <a:ext uri="{FF2B5EF4-FFF2-40B4-BE49-F238E27FC236}">
                <a16:creationId xmlns:a16="http://schemas.microsoft.com/office/drawing/2014/main" id="{CCBAD438-FE98-3A31-94EA-BE382E809EBE}"/>
              </a:ext>
            </a:extLst>
          </p:cNvPr>
          <p:cNvSpPr/>
          <p:nvPr/>
        </p:nvSpPr>
        <p:spPr bwMode="auto">
          <a:xfrm>
            <a:off x="206673" y="4424134"/>
            <a:ext cx="3432672" cy="1222023"/>
          </a:xfrm>
          <a:prstGeom prst="roundRect">
            <a:avLst>
              <a:gd name="adj" fmla="val 6089"/>
            </a:avLst>
          </a:prstGeom>
          <a:noFill/>
          <a:ln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Tex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E8EBE7A-4719-B77C-09D5-6BD33E7F6E98}"/>
              </a:ext>
            </a:extLst>
          </p:cNvPr>
          <p:cNvSpPr txBox="1"/>
          <p:nvPr/>
        </p:nvSpPr>
        <p:spPr>
          <a:xfrm>
            <a:off x="1136867" y="4568755"/>
            <a:ext cx="160696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kern="1200">
                <a:solidFill>
                  <a:schemeClr val="tx1"/>
                </a:solidFill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3</a:t>
            </a:r>
            <a:r>
              <a:rPr lang="en-US" b="1" kern="1200" baseline="30000">
                <a:solidFill>
                  <a:schemeClr val="tx1"/>
                </a:solidFill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rd</a:t>
            </a:r>
            <a:r>
              <a:rPr lang="en-US" b="1" kern="1200">
                <a:solidFill>
                  <a:schemeClr val="tx1"/>
                </a:solidFill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 Party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 Agents</a:t>
            </a:r>
          </a:p>
        </p:txBody>
      </p:sp>
      <p:sp>
        <p:nvSpPr>
          <p:cNvPr id="158" name="Rounded Rectangle 45">
            <a:extLst>
              <a:ext uri="{FF2B5EF4-FFF2-40B4-BE49-F238E27FC236}">
                <a16:creationId xmlns:a16="http://schemas.microsoft.com/office/drawing/2014/main" id="{3784EDB8-2245-5DE0-447A-964086D7453D}"/>
              </a:ext>
            </a:extLst>
          </p:cNvPr>
          <p:cNvSpPr/>
          <p:nvPr/>
        </p:nvSpPr>
        <p:spPr bwMode="auto">
          <a:xfrm>
            <a:off x="7469345" y="549083"/>
            <a:ext cx="2721020" cy="2297021"/>
          </a:xfrm>
          <a:prstGeom prst="roundRect">
            <a:avLst>
              <a:gd name="adj" fmla="val 6089"/>
            </a:avLst>
          </a:prstGeom>
          <a:noFill/>
          <a:ln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Text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57" name="Picture 156">
            <a:extLst>
              <a:ext uri="{FF2B5EF4-FFF2-40B4-BE49-F238E27FC236}">
                <a16:creationId xmlns:a16="http://schemas.microsoft.com/office/drawing/2014/main" id="{12A8C010-4EA4-D5A9-B498-A4796BCC283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758659" y="707310"/>
            <a:ext cx="569290" cy="539420"/>
          </a:xfrm>
          <a:prstGeom prst="rect">
            <a:avLst/>
          </a:prstGeom>
        </p:spPr>
      </p:pic>
      <p:sp>
        <p:nvSpPr>
          <p:cNvPr id="159" name="Rectangle: Rounded Corners 158">
            <a:extLst>
              <a:ext uri="{FF2B5EF4-FFF2-40B4-BE49-F238E27FC236}">
                <a16:creationId xmlns:a16="http://schemas.microsoft.com/office/drawing/2014/main" id="{3914B8C3-8DF5-6004-F53F-B505C2EECF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9127874" y="1260043"/>
            <a:ext cx="936896" cy="586016"/>
          </a:xfrm>
          <a:prstGeom prst="roundRect">
            <a:avLst>
              <a:gd name="adj" fmla="val 11808"/>
            </a:avLst>
          </a:prstGeom>
          <a:gradFill flip="none" rotWithShape="1">
            <a:gsLst>
              <a:gs pos="32000">
                <a:srgbClr val="C03BC4"/>
              </a:gs>
              <a:gs pos="100000">
                <a:srgbClr val="399A91"/>
              </a:gs>
              <a:gs pos="68000">
                <a:srgbClr val="0078D4"/>
              </a:gs>
              <a:gs pos="0">
                <a:srgbClr val="FF5C39"/>
              </a:gs>
            </a:gsLst>
            <a:path path="circle">
              <a:fillToRect l="100000" t="100000"/>
            </a:path>
            <a:tileRect r="-100000" b="-100000"/>
          </a:gradFill>
          <a:ln w="63897" cap="flat">
            <a:noFill/>
            <a:prstDash val="solid"/>
            <a:miter/>
          </a:ln>
          <a:effectLst>
            <a:outerShdw blurRad="63500" dist="63500" dir="2700000" algn="tl" rotWithShape="0">
              <a:srgbClr val="454142">
                <a:alpha val="20000"/>
              </a:srgbClr>
            </a:outerShdw>
          </a:effectLst>
        </p:spPr>
        <p:txBody>
          <a:bodyPr rot="0" spcFirstLastPara="0" vertOverflow="overflow" horzOverflow="overflow" vert="horz" wrap="square" lIns="72000" tIns="144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 w="3175">
                <a:noFill/>
              </a:ln>
              <a:gradFill>
                <a:gsLst>
                  <a:gs pos="53147">
                    <a:srgbClr val="FFFFFF"/>
                  </a:gs>
                  <a:gs pos="28000">
                    <a:srgbClr val="FFFFFF"/>
                  </a:gs>
                </a:gsLst>
                <a:path path="circle">
                  <a:fillToRect l="100000" b="100000"/>
                </a:path>
              </a:gradFill>
              <a:effectLst/>
              <a:uLnTx/>
              <a:uFillTx/>
              <a:latin typeface="Segoe UI Semibold"/>
              <a:ea typeface="+mn-ea"/>
              <a:cs typeface="Segoe UI" pitchFamily="34" charset="0"/>
            </a:endParaRPr>
          </a:p>
        </p:txBody>
      </p:sp>
      <p:sp>
        <p:nvSpPr>
          <p:cNvPr id="160" name="TextBox 159">
            <a:extLst>
              <a:ext uri="{FF2B5EF4-FFF2-40B4-BE49-F238E27FC236}">
                <a16:creationId xmlns:a16="http://schemas.microsoft.com/office/drawing/2014/main" id="{A31F7621-9532-F2DC-CBF6-129F9A92F0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9212455" y="1422397"/>
            <a:ext cx="701315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-50" normalizeH="0" baseline="0" noProof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" pitchFamily="34" charset="0"/>
              </a:rPr>
              <a:t>APIs</a:t>
            </a:r>
          </a:p>
        </p:txBody>
      </p:sp>
      <p:sp>
        <p:nvSpPr>
          <p:cNvPr id="161" name="Rectangle: Rounded Corners 160">
            <a:extLst>
              <a:ext uri="{FF2B5EF4-FFF2-40B4-BE49-F238E27FC236}">
                <a16:creationId xmlns:a16="http://schemas.microsoft.com/office/drawing/2014/main" id="{1F4FAB44-3876-5C8E-3EA2-08194BB265A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665102" y="1260043"/>
            <a:ext cx="1048956" cy="586016"/>
          </a:xfrm>
          <a:prstGeom prst="roundRect">
            <a:avLst>
              <a:gd name="adj" fmla="val 11808"/>
            </a:avLst>
          </a:prstGeom>
          <a:gradFill flip="none" rotWithShape="1">
            <a:gsLst>
              <a:gs pos="32000">
                <a:srgbClr val="C03BC4"/>
              </a:gs>
              <a:gs pos="100000">
                <a:srgbClr val="399A91"/>
              </a:gs>
              <a:gs pos="68000">
                <a:srgbClr val="0078D4"/>
              </a:gs>
              <a:gs pos="0">
                <a:srgbClr val="FF5C39"/>
              </a:gs>
            </a:gsLst>
            <a:path path="circle">
              <a:fillToRect l="100000" t="100000"/>
            </a:path>
            <a:tileRect r="-100000" b="-100000"/>
          </a:gradFill>
          <a:ln w="63897" cap="flat">
            <a:noFill/>
            <a:prstDash val="solid"/>
            <a:miter/>
          </a:ln>
          <a:effectLst>
            <a:outerShdw blurRad="63500" dist="63500" dir="2700000" algn="tl" rotWithShape="0">
              <a:srgbClr val="454142">
                <a:alpha val="20000"/>
              </a:srgbClr>
            </a:outerShdw>
          </a:effectLst>
        </p:spPr>
        <p:txBody>
          <a:bodyPr rot="0" spcFirstLastPara="0" vertOverflow="overflow" horzOverflow="overflow" vert="horz" wrap="square" lIns="72000" tIns="144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 w="3175">
                <a:noFill/>
              </a:ln>
              <a:gradFill>
                <a:gsLst>
                  <a:gs pos="53147">
                    <a:srgbClr val="FFFFFF"/>
                  </a:gs>
                  <a:gs pos="28000">
                    <a:srgbClr val="FFFFFF"/>
                  </a:gs>
                </a:gsLst>
                <a:path path="circle">
                  <a:fillToRect l="100000" b="100000"/>
                </a:path>
              </a:gradFill>
              <a:effectLst/>
              <a:uLnTx/>
              <a:uFillTx/>
              <a:latin typeface="Segoe UI Semibold"/>
              <a:ea typeface="+mn-ea"/>
              <a:cs typeface="Segoe UI" pitchFamily="34" charset="0"/>
            </a:endParaRPr>
          </a:p>
        </p:txBody>
      </p:sp>
      <p:sp>
        <p:nvSpPr>
          <p:cNvPr id="162" name="TextBox 161">
            <a:extLst>
              <a:ext uri="{FF2B5EF4-FFF2-40B4-BE49-F238E27FC236}">
                <a16:creationId xmlns:a16="http://schemas.microsoft.com/office/drawing/2014/main" id="{7BE6C2D3-35A9-CEA8-10D5-B71F73458F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7964613" y="1428852"/>
            <a:ext cx="749444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-50" normalizeH="0" baseline="0" noProof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" pitchFamily="34" charset="0"/>
              </a:rPr>
              <a:t>MCPs</a:t>
            </a:r>
          </a:p>
        </p:txBody>
      </p:sp>
      <p:pic>
        <p:nvPicPr>
          <p:cNvPr id="164" name="Picture 10" descr="MCP (Model Context Protocol) Logo Fr... · LobeHub">
            <a:extLst>
              <a:ext uri="{FF2B5EF4-FFF2-40B4-BE49-F238E27FC236}">
                <a16:creationId xmlns:a16="http://schemas.microsoft.com/office/drawing/2014/main" id="{BEA8303E-4F99-F00E-EB03-2E42698FDD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2478" y="1459407"/>
            <a:ext cx="219828" cy="219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7" name="TextBox 166">
            <a:extLst>
              <a:ext uri="{FF2B5EF4-FFF2-40B4-BE49-F238E27FC236}">
                <a16:creationId xmlns:a16="http://schemas.microsoft.com/office/drawing/2014/main" id="{6E106E39-191A-A8B2-CA69-E77EE1966E15}"/>
              </a:ext>
            </a:extLst>
          </p:cNvPr>
          <p:cNvSpPr txBox="1"/>
          <p:nvPr/>
        </p:nvSpPr>
        <p:spPr>
          <a:xfrm>
            <a:off x="8251697" y="869298"/>
            <a:ext cx="163503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API </a:t>
            </a:r>
            <a:r>
              <a:rPr lang="en-HK" b="1" kern="1200">
                <a:solidFill>
                  <a:schemeClr val="tx1"/>
                </a:solidFill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Management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 Semibold" panose="020B0502040204020203" pitchFamily="34" charset="0"/>
              <a:ea typeface="+mn-ea"/>
              <a:cs typeface="Segoe UI Semibold" panose="020B0502040204020203" pitchFamily="34" charset="0"/>
            </a:endParaRPr>
          </a:p>
        </p:txBody>
      </p:sp>
      <p:cxnSp>
        <p:nvCxnSpPr>
          <p:cNvPr id="169" name="Straight Arrow Connector 168">
            <a:extLst>
              <a:ext uri="{FF2B5EF4-FFF2-40B4-BE49-F238E27FC236}">
                <a16:creationId xmlns:a16="http://schemas.microsoft.com/office/drawing/2014/main" id="{217C7554-B9CE-4766-6D20-CD029A98716C}"/>
              </a:ext>
            </a:extLst>
          </p:cNvPr>
          <p:cNvCxnSpPr>
            <a:cxnSpLocks/>
            <a:stCxn id="2" idx="2"/>
            <a:endCxn id="11" idx="0"/>
          </p:cNvCxnSpPr>
          <p:nvPr/>
        </p:nvCxnSpPr>
        <p:spPr>
          <a:xfrm>
            <a:off x="1923009" y="3415361"/>
            <a:ext cx="0" cy="1008773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0" name="Picture 169">
            <a:extLst>
              <a:ext uri="{FF2B5EF4-FFF2-40B4-BE49-F238E27FC236}">
                <a16:creationId xmlns:a16="http://schemas.microsoft.com/office/drawing/2014/main" id="{9CBED591-52CC-2A9A-A282-45F6DC630507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50950" y="3789460"/>
            <a:ext cx="310549" cy="325336"/>
          </a:xfrm>
          <a:prstGeom prst="rect">
            <a:avLst/>
          </a:prstGeom>
        </p:spPr>
      </p:pic>
      <p:sp>
        <p:nvSpPr>
          <p:cNvPr id="171" name="TextBox 170">
            <a:extLst>
              <a:ext uri="{FF2B5EF4-FFF2-40B4-BE49-F238E27FC236}">
                <a16:creationId xmlns:a16="http://schemas.microsoft.com/office/drawing/2014/main" id="{C30AE789-035A-51E2-89B5-AE3DBBB9E269}"/>
              </a:ext>
            </a:extLst>
          </p:cNvPr>
          <p:cNvSpPr txBox="1"/>
          <p:nvPr/>
        </p:nvSpPr>
        <p:spPr>
          <a:xfrm>
            <a:off x="1810828" y="3827071"/>
            <a:ext cx="468010" cy="276999"/>
          </a:xfrm>
          <a:prstGeom prst="rect">
            <a:avLst/>
          </a:prstGeom>
          <a:solidFill>
            <a:srgbClr val="FFF8F3"/>
          </a:solidFill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Pro Display" panose="020B0502040504020203" pitchFamily="34" charset="0"/>
                <a:ea typeface="+mn-ea"/>
                <a:cs typeface="+mn-cs"/>
              </a:rPr>
              <a:t>A2A</a:t>
            </a:r>
          </a:p>
        </p:txBody>
      </p:sp>
      <p:cxnSp>
        <p:nvCxnSpPr>
          <p:cNvPr id="179" name="Straight Arrow Connector 178">
            <a:extLst>
              <a:ext uri="{FF2B5EF4-FFF2-40B4-BE49-F238E27FC236}">
                <a16:creationId xmlns:a16="http://schemas.microsoft.com/office/drawing/2014/main" id="{A9819119-B972-2CB5-02AF-AB202ECBE594}"/>
              </a:ext>
            </a:extLst>
          </p:cNvPr>
          <p:cNvCxnSpPr>
            <a:cxnSpLocks/>
            <a:stCxn id="161" idx="3"/>
            <a:endCxn id="159" idx="1"/>
          </p:cNvCxnSpPr>
          <p:nvPr/>
        </p:nvCxnSpPr>
        <p:spPr>
          <a:xfrm>
            <a:off x="8714058" y="1553051"/>
            <a:ext cx="413816" cy="0"/>
          </a:xfrm>
          <a:prstGeom prst="straightConnector1">
            <a:avLst/>
          </a:prstGeom>
          <a:ln>
            <a:solidFill>
              <a:schemeClr val="tx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TextBox 183">
            <a:extLst>
              <a:ext uri="{FF2B5EF4-FFF2-40B4-BE49-F238E27FC236}">
                <a16:creationId xmlns:a16="http://schemas.microsoft.com/office/drawing/2014/main" id="{8F5BC17B-EBB1-CBE6-6335-E05F7CC747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4720236" y="2891902"/>
            <a:ext cx="161137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-50" normalizeH="0" baseline="0" noProof="0">
                <a:ln w="3175"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Segoe UI" pitchFamily="34" charset="0"/>
              </a:rPr>
              <a:t>Azure API Center</a:t>
            </a:r>
          </a:p>
        </p:txBody>
      </p:sp>
      <p:pic>
        <p:nvPicPr>
          <p:cNvPr id="185" name="Picture 4" descr="Azure API Center - Visual Studio Marketplace">
            <a:extLst>
              <a:ext uri="{FF2B5EF4-FFF2-40B4-BE49-F238E27FC236}">
                <a16:creationId xmlns:a16="http://schemas.microsoft.com/office/drawing/2014/main" id="{CD73A25F-2643-111E-A3E7-6B6BDB1895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3502" y="2863555"/>
            <a:ext cx="412236" cy="4122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7" name="Rectangle: Rounded Corners 186">
            <a:extLst>
              <a:ext uri="{FF2B5EF4-FFF2-40B4-BE49-F238E27FC236}">
                <a16:creationId xmlns:a16="http://schemas.microsoft.com/office/drawing/2014/main" id="{A47B4466-1F35-7383-02B6-C7A4B0F1912D}"/>
              </a:ext>
            </a:extLst>
          </p:cNvPr>
          <p:cNvSpPr/>
          <p:nvPr/>
        </p:nvSpPr>
        <p:spPr>
          <a:xfrm>
            <a:off x="4983537" y="3301628"/>
            <a:ext cx="1449023" cy="1274168"/>
          </a:xfrm>
          <a:prstGeom prst="roundRect">
            <a:avLst>
              <a:gd name="adj" fmla="val 11808"/>
            </a:avLst>
          </a:prstGeom>
          <a:gradFill flip="none" rotWithShape="1">
            <a:gsLst>
              <a:gs pos="32000">
                <a:srgbClr val="C03BC4"/>
              </a:gs>
              <a:gs pos="100000">
                <a:srgbClr val="399A91"/>
              </a:gs>
              <a:gs pos="68000">
                <a:srgbClr val="0078D4"/>
              </a:gs>
              <a:gs pos="0">
                <a:srgbClr val="FF5C39"/>
              </a:gs>
            </a:gsLst>
            <a:path path="circle">
              <a:fillToRect l="100000" t="100000"/>
            </a:path>
            <a:tileRect r="-100000" b="-100000"/>
          </a:gradFill>
          <a:ln w="63897" cap="flat">
            <a:noFill/>
            <a:prstDash val="solid"/>
            <a:miter/>
          </a:ln>
          <a:effectLst>
            <a:outerShdw blurRad="63500" dist="63500" dir="2700000" algn="tl" rotWithShape="0">
              <a:srgbClr val="454142">
                <a:alpha val="20000"/>
              </a:srgbClr>
            </a:outerShdw>
          </a:effectLst>
        </p:spPr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 w="3175">
                <a:noFill/>
              </a:ln>
              <a:gradFill>
                <a:gsLst>
                  <a:gs pos="53147">
                    <a:srgbClr val="FFFFFF"/>
                  </a:gs>
                  <a:gs pos="28000">
                    <a:srgbClr val="FFFFFF"/>
                  </a:gs>
                </a:gsLst>
                <a:path path="circle">
                  <a:fillToRect l="100000" b="100000"/>
                </a:path>
              </a:gradFill>
              <a:effectLst/>
              <a:uLnTx/>
              <a:uFillTx/>
              <a:latin typeface="Segoe UI Semibold"/>
              <a:ea typeface="+mn-ea"/>
              <a:cs typeface="Segoe UI" pitchFamily="34" charset="0"/>
            </a:endParaRPr>
          </a:p>
        </p:txBody>
      </p:sp>
      <p:sp>
        <p:nvSpPr>
          <p:cNvPr id="188" name="TextBox 187">
            <a:extLst>
              <a:ext uri="{FF2B5EF4-FFF2-40B4-BE49-F238E27FC236}">
                <a16:creationId xmlns:a16="http://schemas.microsoft.com/office/drawing/2014/main" id="{78133EFD-DE40-4712-2566-BFCC4E9322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129487" y="3351173"/>
            <a:ext cx="1202426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-50" normalizeH="0" baseline="0" noProof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Segoe UI" pitchFamily="34" charset="0"/>
              </a:rPr>
              <a:t>MCP Registry</a:t>
            </a:r>
          </a:p>
        </p:txBody>
      </p:sp>
      <p:sp>
        <p:nvSpPr>
          <p:cNvPr id="189" name="TextBox 188">
            <a:extLst>
              <a:ext uri="{FF2B5EF4-FFF2-40B4-BE49-F238E27FC236}">
                <a16:creationId xmlns:a16="http://schemas.microsoft.com/office/drawing/2014/main" id="{0F04541D-509B-95A8-AAA0-6DDC77A144C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525925" y="3691797"/>
            <a:ext cx="71736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-50" normalizeH="0" baseline="0" noProof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Segoe UI" pitchFamily="34" charset="0"/>
              </a:rPr>
              <a:t>MCP</a:t>
            </a:r>
          </a:p>
        </p:txBody>
      </p:sp>
      <p:sp>
        <p:nvSpPr>
          <p:cNvPr id="190" name="TextBox 189">
            <a:extLst>
              <a:ext uri="{FF2B5EF4-FFF2-40B4-BE49-F238E27FC236}">
                <a16:creationId xmlns:a16="http://schemas.microsoft.com/office/drawing/2014/main" id="{10449E4D-FFA5-CF90-2775-6FC067CCAE7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525925" y="3851817"/>
            <a:ext cx="71736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-50" normalizeH="0" baseline="0" noProof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Segoe UI" pitchFamily="34" charset="0"/>
              </a:rPr>
              <a:t>MCP</a:t>
            </a:r>
          </a:p>
        </p:txBody>
      </p:sp>
      <p:sp>
        <p:nvSpPr>
          <p:cNvPr id="191" name="TextBox 190">
            <a:extLst>
              <a:ext uri="{FF2B5EF4-FFF2-40B4-BE49-F238E27FC236}">
                <a16:creationId xmlns:a16="http://schemas.microsoft.com/office/drawing/2014/main" id="{F5ADFF1C-DB04-F424-3848-0FA7EF9070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525925" y="4011837"/>
            <a:ext cx="71736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-50" normalizeH="0" baseline="0" noProof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Segoe UI" pitchFamily="34" charset="0"/>
              </a:rPr>
              <a:t>MCP</a:t>
            </a:r>
          </a:p>
        </p:txBody>
      </p:sp>
      <p:sp>
        <p:nvSpPr>
          <p:cNvPr id="192" name="TextBox 191">
            <a:extLst>
              <a:ext uri="{FF2B5EF4-FFF2-40B4-BE49-F238E27FC236}">
                <a16:creationId xmlns:a16="http://schemas.microsoft.com/office/drawing/2014/main" id="{93E7752D-7CF4-5A85-FDB4-45704784BF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525925" y="4171857"/>
            <a:ext cx="71736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-50" normalizeH="0" baseline="0" noProof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Segoe UI" pitchFamily="34" charset="0"/>
              </a:rPr>
              <a:t>MCP</a:t>
            </a:r>
          </a:p>
        </p:txBody>
      </p:sp>
      <p:sp>
        <p:nvSpPr>
          <p:cNvPr id="193" name="TextBox 192">
            <a:extLst>
              <a:ext uri="{FF2B5EF4-FFF2-40B4-BE49-F238E27FC236}">
                <a16:creationId xmlns:a16="http://schemas.microsoft.com/office/drawing/2014/main" id="{19A682D1-E86E-5A44-104F-7C9A4B70A0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525925" y="4331877"/>
            <a:ext cx="71736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-50" normalizeH="0" baseline="0" noProof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Segoe UI" pitchFamily="34" charset="0"/>
              </a:rPr>
              <a:t>….</a:t>
            </a:r>
          </a:p>
        </p:txBody>
      </p:sp>
      <p:cxnSp>
        <p:nvCxnSpPr>
          <p:cNvPr id="194" name="Connector: Elbow 193">
            <a:extLst>
              <a:ext uri="{FF2B5EF4-FFF2-40B4-BE49-F238E27FC236}">
                <a16:creationId xmlns:a16="http://schemas.microsoft.com/office/drawing/2014/main" id="{19E74527-8206-F432-0E20-47F56C43B508}"/>
              </a:ext>
            </a:extLst>
          </p:cNvPr>
          <p:cNvCxnSpPr>
            <a:cxnSpLocks/>
            <a:endCxn id="189" idx="1"/>
          </p:cNvCxnSpPr>
          <p:nvPr/>
        </p:nvCxnSpPr>
        <p:spPr>
          <a:xfrm rot="16200000" flipH="1">
            <a:off x="5250579" y="3501090"/>
            <a:ext cx="193118" cy="357574"/>
          </a:xfrm>
          <a:prstGeom prst="bentConnector2">
            <a:avLst/>
          </a:prstGeom>
          <a:noFill/>
          <a:ln w="9525" cap="flat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195" name="Connector: Elbow 194">
            <a:extLst>
              <a:ext uri="{FF2B5EF4-FFF2-40B4-BE49-F238E27FC236}">
                <a16:creationId xmlns:a16="http://schemas.microsoft.com/office/drawing/2014/main" id="{BADD0787-2538-6365-3FB3-6A3C3214B25D}"/>
              </a:ext>
            </a:extLst>
          </p:cNvPr>
          <p:cNvCxnSpPr>
            <a:cxnSpLocks/>
            <a:endCxn id="190" idx="1"/>
          </p:cNvCxnSpPr>
          <p:nvPr/>
        </p:nvCxnSpPr>
        <p:spPr>
          <a:xfrm rot="16200000" flipH="1">
            <a:off x="5170569" y="3581100"/>
            <a:ext cx="353138" cy="357574"/>
          </a:xfrm>
          <a:prstGeom prst="bentConnector2">
            <a:avLst/>
          </a:prstGeom>
          <a:noFill/>
          <a:ln w="9525" cap="flat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196" name="Connector: Elbow 195">
            <a:extLst>
              <a:ext uri="{FF2B5EF4-FFF2-40B4-BE49-F238E27FC236}">
                <a16:creationId xmlns:a16="http://schemas.microsoft.com/office/drawing/2014/main" id="{8AA9267F-E87E-2CBB-ACE6-6DB86A48E9BB}"/>
              </a:ext>
            </a:extLst>
          </p:cNvPr>
          <p:cNvCxnSpPr>
            <a:cxnSpLocks/>
            <a:endCxn id="191" idx="1"/>
          </p:cNvCxnSpPr>
          <p:nvPr/>
        </p:nvCxnSpPr>
        <p:spPr>
          <a:xfrm rot="16200000" flipH="1">
            <a:off x="5144799" y="3715349"/>
            <a:ext cx="404679" cy="357574"/>
          </a:xfrm>
          <a:prstGeom prst="bentConnector2">
            <a:avLst/>
          </a:prstGeom>
          <a:noFill/>
          <a:ln w="9525" cap="flat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197" name="Connector: Elbow 196">
            <a:extLst>
              <a:ext uri="{FF2B5EF4-FFF2-40B4-BE49-F238E27FC236}">
                <a16:creationId xmlns:a16="http://schemas.microsoft.com/office/drawing/2014/main" id="{45998F0E-B941-3843-ECC3-733661D7DCC3}"/>
              </a:ext>
            </a:extLst>
          </p:cNvPr>
          <p:cNvCxnSpPr>
            <a:cxnSpLocks/>
            <a:endCxn id="192" idx="1"/>
          </p:cNvCxnSpPr>
          <p:nvPr/>
        </p:nvCxnSpPr>
        <p:spPr>
          <a:xfrm rot="16200000" flipH="1">
            <a:off x="5051694" y="3782265"/>
            <a:ext cx="590888" cy="357574"/>
          </a:xfrm>
          <a:prstGeom prst="bentConnector2">
            <a:avLst/>
          </a:prstGeom>
          <a:noFill/>
          <a:ln w="9525" cap="flat" cmpd="sng" algn="ctr">
            <a:solidFill>
              <a:srgbClr val="FFFFFF"/>
            </a:solidFill>
            <a:prstDash val="solid"/>
            <a:miter lim="800000"/>
          </a:ln>
          <a:effectLst/>
        </p:spPr>
      </p:cxnSp>
      <p:pic>
        <p:nvPicPr>
          <p:cNvPr id="198" name="Picture 10" descr="MCP (Model Context Protocol) Logo Fr... · LobeHub">
            <a:extLst>
              <a:ext uri="{FF2B5EF4-FFF2-40B4-BE49-F238E27FC236}">
                <a16:creationId xmlns:a16="http://schemas.microsoft.com/office/drawing/2014/main" id="{497620D6-8739-500E-641D-11432FBCEB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91054" y="3384274"/>
            <a:ext cx="154594" cy="1545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" name="Picture 204">
            <a:extLst>
              <a:ext uri="{FF2B5EF4-FFF2-40B4-BE49-F238E27FC236}">
                <a16:creationId xmlns:a16="http://schemas.microsoft.com/office/drawing/2014/main" id="{4BAB705C-00EB-55EB-2491-CCD852EFB9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9438">
            <a:off x="9053265" y="3657863"/>
            <a:ext cx="584853" cy="584853"/>
          </a:xfrm>
          <a:prstGeom prst="rect">
            <a:avLst/>
          </a:prstGeom>
        </p:spPr>
      </p:pic>
      <p:pic>
        <p:nvPicPr>
          <p:cNvPr id="206" name="Picture 205">
            <a:extLst>
              <a:ext uri="{FF2B5EF4-FFF2-40B4-BE49-F238E27FC236}">
                <a16:creationId xmlns:a16="http://schemas.microsoft.com/office/drawing/2014/main" id="{31FD75A5-507D-C755-77E0-2CFC573DD0C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9438">
            <a:off x="8475328" y="3695041"/>
            <a:ext cx="482825" cy="482825"/>
          </a:xfrm>
          <a:prstGeom prst="rect">
            <a:avLst/>
          </a:prstGeom>
        </p:spPr>
      </p:pic>
      <p:pic>
        <p:nvPicPr>
          <p:cNvPr id="207" name="Picture 206">
            <a:extLst>
              <a:ext uri="{FF2B5EF4-FFF2-40B4-BE49-F238E27FC236}">
                <a16:creationId xmlns:a16="http://schemas.microsoft.com/office/drawing/2014/main" id="{7B2715B8-7D67-1172-7388-946ABBDDDA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9438">
            <a:off x="7895693" y="3686688"/>
            <a:ext cx="482825" cy="482825"/>
          </a:xfrm>
          <a:prstGeom prst="rect">
            <a:avLst/>
          </a:prstGeom>
        </p:spPr>
      </p:pic>
      <p:sp>
        <p:nvSpPr>
          <p:cNvPr id="208" name="Rounded Rectangle 45">
            <a:extLst>
              <a:ext uri="{FF2B5EF4-FFF2-40B4-BE49-F238E27FC236}">
                <a16:creationId xmlns:a16="http://schemas.microsoft.com/office/drawing/2014/main" id="{1E90B2BD-5AFE-5A94-870E-D2B874A7A8D6}"/>
              </a:ext>
            </a:extLst>
          </p:cNvPr>
          <p:cNvSpPr/>
          <p:nvPr/>
        </p:nvSpPr>
        <p:spPr bwMode="auto">
          <a:xfrm>
            <a:off x="7507354" y="3182379"/>
            <a:ext cx="2405321" cy="1205520"/>
          </a:xfrm>
          <a:prstGeom prst="roundRect">
            <a:avLst>
              <a:gd name="adj" fmla="val 6089"/>
            </a:avLst>
          </a:prstGeom>
          <a:noFill/>
          <a:ln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Tex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09" name="TextBox 208">
            <a:extLst>
              <a:ext uri="{FF2B5EF4-FFF2-40B4-BE49-F238E27FC236}">
                <a16:creationId xmlns:a16="http://schemas.microsoft.com/office/drawing/2014/main" id="{F9D7BF30-EA6D-71A0-6065-6B4EAED53C3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8251697" y="1100255"/>
            <a:ext cx="161137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300" i="1" kern="1200" spc="-50">
                <a:ln w="3175">
                  <a:noFill/>
                </a:ln>
                <a:solidFill>
                  <a:srgbClr val="FFFFFF"/>
                </a:solidFill>
                <a:latin typeface="Aptos" panose="02110004020202020204"/>
                <a:ea typeface="+mn-ea"/>
                <a:cs typeface="Segoe UI" pitchFamily="34" charset="0"/>
              </a:rPr>
              <a:t>Remote MCP Proxy</a:t>
            </a:r>
            <a:endParaRPr kumimoji="0" lang="en-US" sz="1300" b="0" i="1" u="none" strike="noStrike" kern="1200" cap="none" spc="-50" normalizeH="0" baseline="0" noProof="0">
              <a:ln w="3175"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Segoe UI" pitchFamily="34" charset="0"/>
            </a:endParaRPr>
          </a:p>
        </p:txBody>
      </p:sp>
      <p:sp>
        <p:nvSpPr>
          <p:cNvPr id="229" name="TextBox 228">
            <a:extLst>
              <a:ext uri="{FF2B5EF4-FFF2-40B4-BE49-F238E27FC236}">
                <a16:creationId xmlns:a16="http://schemas.microsoft.com/office/drawing/2014/main" id="{2E16EA66-C35F-FD83-746E-93E644A5AE78}"/>
              </a:ext>
            </a:extLst>
          </p:cNvPr>
          <p:cNvSpPr txBox="1"/>
          <p:nvPr/>
        </p:nvSpPr>
        <p:spPr>
          <a:xfrm>
            <a:off x="7507354" y="4710460"/>
            <a:ext cx="331858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HK" b="1" kern="1200" dirty="0">
                <a:solidFill>
                  <a:schemeClr val="tx1"/>
                </a:solidFill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MCP Server from API </a:t>
            </a:r>
            <a:r>
              <a:rPr lang="en-HK" b="1" kern="1200" dirty="0" err="1">
                <a:solidFill>
                  <a:schemeClr val="tx1"/>
                </a:solidFill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Center</a:t>
            </a:r>
            <a:r>
              <a:rPr lang="en-HK" b="1" kern="1200" dirty="0">
                <a:solidFill>
                  <a:schemeClr val="tx1"/>
                </a:solidFill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 Discovery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 Semibold" panose="020B0502040204020203" pitchFamily="34" charset="0"/>
              <a:ea typeface="+mn-ea"/>
              <a:cs typeface="Segoe UI Semibold" panose="020B0502040204020203" pitchFamily="34" charset="0"/>
            </a:endParaRPr>
          </a:p>
        </p:txBody>
      </p:sp>
      <p:sp>
        <p:nvSpPr>
          <p:cNvPr id="230" name="Rounded Rectangle 45">
            <a:extLst>
              <a:ext uri="{FF2B5EF4-FFF2-40B4-BE49-F238E27FC236}">
                <a16:creationId xmlns:a16="http://schemas.microsoft.com/office/drawing/2014/main" id="{D180CB9A-B518-6028-DF46-E80C224D9C09}"/>
              </a:ext>
            </a:extLst>
          </p:cNvPr>
          <p:cNvSpPr/>
          <p:nvPr/>
        </p:nvSpPr>
        <p:spPr bwMode="auto">
          <a:xfrm>
            <a:off x="7507354" y="4659454"/>
            <a:ext cx="3249999" cy="2114911"/>
          </a:xfrm>
          <a:prstGeom prst="roundRect">
            <a:avLst>
              <a:gd name="adj" fmla="val 6089"/>
            </a:avLst>
          </a:prstGeom>
          <a:noFill/>
          <a:ln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Text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028" name="Picture 4" descr="icon">
            <a:extLst>
              <a:ext uri="{FF2B5EF4-FFF2-40B4-BE49-F238E27FC236}">
                <a16:creationId xmlns:a16="http://schemas.microsoft.com/office/drawing/2014/main" id="{88444AC4-1551-866E-AD68-1BF596E917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2216" y="6197743"/>
            <a:ext cx="505733" cy="5057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8" name="Picture 14" descr="Why we Invested in Neon - M12">
            <a:extLst>
              <a:ext uri="{FF2B5EF4-FFF2-40B4-BE49-F238E27FC236}">
                <a16:creationId xmlns:a16="http://schemas.microsoft.com/office/drawing/2014/main" id="{824BA420-679C-0AC3-D07F-310C7F3E97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2216" y="5710810"/>
            <a:ext cx="1027276" cy="4355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0" name="TextBox 239">
            <a:extLst>
              <a:ext uri="{FF2B5EF4-FFF2-40B4-BE49-F238E27FC236}">
                <a16:creationId xmlns:a16="http://schemas.microsoft.com/office/drawing/2014/main" id="{58D8E475-39A1-8C82-2F6D-E7822CDDFCF1}"/>
              </a:ext>
            </a:extLst>
          </p:cNvPr>
          <p:cNvSpPr txBox="1"/>
          <p:nvPr/>
        </p:nvSpPr>
        <p:spPr>
          <a:xfrm>
            <a:off x="8160746" y="3303017"/>
            <a:ext cx="151147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HK" sz="1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MCP servers</a:t>
            </a:r>
            <a:endParaRPr lang="en-HK"/>
          </a:p>
        </p:txBody>
      </p:sp>
      <p:cxnSp>
        <p:nvCxnSpPr>
          <p:cNvPr id="248" name="Connector: Curved 247">
            <a:extLst>
              <a:ext uri="{FF2B5EF4-FFF2-40B4-BE49-F238E27FC236}">
                <a16:creationId xmlns:a16="http://schemas.microsoft.com/office/drawing/2014/main" id="{708F2507-9874-B923-3C0C-5463BCCF6FCF}"/>
              </a:ext>
            </a:extLst>
          </p:cNvPr>
          <p:cNvCxnSpPr>
            <a:stCxn id="2" idx="3"/>
            <a:endCxn id="186" idx="1"/>
          </p:cNvCxnSpPr>
          <p:nvPr/>
        </p:nvCxnSpPr>
        <p:spPr>
          <a:xfrm>
            <a:off x="3639345" y="2266851"/>
            <a:ext cx="653392" cy="1522609"/>
          </a:xfrm>
          <a:prstGeom prst="curvedConnector3">
            <a:avLst/>
          </a:prstGeom>
          <a:ln>
            <a:solidFill>
              <a:schemeClr val="tx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0" name="Connector: Curved 249">
            <a:extLst>
              <a:ext uri="{FF2B5EF4-FFF2-40B4-BE49-F238E27FC236}">
                <a16:creationId xmlns:a16="http://schemas.microsoft.com/office/drawing/2014/main" id="{4CFAB6D5-A7C3-AB32-0E31-1495B486DC62}"/>
              </a:ext>
            </a:extLst>
          </p:cNvPr>
          <p:cNvCxnSpPr>
            <a:stCxn id="11" idx="3"/>
            <a:endCxn id="186" idx="1"/>
          </p:cNvCxnSpPr>
          <p:nvPr/>
        </p:nvCxnSpPr>
        <p:spPr>
          <a:xfrm flipV="1">
            <a:off x="3639345" y="3789460"/>
            <a:ext cx="653392" cy="1245686"/>
          </a:xfrm>
          <a:prstGeom prst="curvedConnector3">
            <a:avLst/>
          </a:prstGeom>
          <a:ln>
            <a:solidFill>
              <a:schemeClr val="tx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0" name="Connector: Curved 1029">
            <a:extLst>
              <a:ext uri="{FF2B5EF4-FFF2-40B4-BE49-F238E27FC236}">
                <a16:creationId xmlns:a16="http://schemas.microsoft.com/office/drawing/2014/main" id="{80490756-4759-529D-255C-79362D656FD7}"/>
              </a:ext>
            </a:extLst>
          </p:cNvPr>
          <p:cNvCxnSpPr>
            <a:cxnSpLocks/>
            <a:stCxn id="186" idx="3"/>
            <a:endCxn id="230" idx="1"/>
          </p:cNvCxnSpPr>
          <p:nvPr/>
        </p:nvCxnSpPr>
        <p:spPr>
          <a:xfrm>
            <a:off x="6586580" y="3789460"/>
            <a:ext cx="920774" cy="1927450"/>
          </a:xfrm>
          <a:prstGeom prst="curvedConnector3">
            <a:avLst>
              <a:gd name="adj1" fmla="val 50000"/>
            </a:avLst>
          </a:prstGeom>
          <a:ln>
            <a:solidFill>
              <a:schemeClr val="tx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5" name="Connector: Curved 1034">
            <a:extLst>
              <a:ext uri="{FF2B5EF4-FFF2-40B4-BE49-F238E27FC236}">
                <a16:creationId xmlns:a16="http://schemas.microsoft.com/office/drawing/2014/main" id="{B733A0C4-0FAC-A7AD-85F0-FCFC70671E01}"/>
              </a:ext>
            </a:extLst>
          </p:cNvPr>
          <p:cNvCxnSpPr>
            <a:stCxn id="186" idx="3"/>
            <a:endCxn id="208" idx="1"/>
          </p:cNvCxnSpPr>
          <p:nvPr/>
        </p:nvCxnSpPr>
        <p:spPr>
          <a:xfrm flipV="1">
            <a:off x="6586580" y="3785139"/>
            <a:ext cx="920774" cy="4321"/>
          </a:xfrm>
          <a:prstGeom prst="curvedConnector3">
            <a:avLst/>
          </a:prstGeom>
          <a:ln>
            <a:solidFill>
              <a:schemeClr val="tx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7" name="Connector: Curved 1036">
            <a:extLst>
              <a:ext uri="{FF2B5EF4-FFF2-40B4-BE49-F238E27FC236}">
                <a16:creationId xmlns:a16="http://schemas.microsoft.com/office/drawing/2014/main" id="{A560CCFF-05C7-7601-32AC-B71EC82DFE19}"/>
              </a:ext>
            </a:extLst>
          </p:cNvPr>
          <p:cNvCxnSpPr>
            <a:stCxn id="186" idx="3"/>
            <a:endCxn id="158" idx="1"/>
          </p:cNvCxnSpPr>
          <p:nvPr/>
        </p:nvCxnSpPr>
        <p:spPr>
          <a:xfrm flipV="1">
            <a:off x="6586580" y="1697594"/>
            <a:ext cx="882765" cy="2091866"/>
          </a:xfrm>
          <a:prstGeom prst="curvedConnector3">
            <a:avLst/>
          </a:prstGeom>
          <a:ln>
            <a:solidFill>
              <a:schemeClr val="tx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9" name="Connector: Curved 1058">
            <a:extLst>
              <a:ext uri="{FF2B5EF4-FFF2-40B4-BE49-F238E27FC236}">
                <a16:creationId xmlns:a16="http://schemas.microsoft.com/office/drawing/2014/main" id="{8841EC0A-0A59-5D47-456E-1C93FF613ED1}"/>
              </a:ext>
            </a:extLst>
          </p:cNvPr>
          <p:cNvCxnSpPr>
            <a:cxnSpLocks/>
            <a:stCxn id="208" idx="3"/>
            <a:endCxn id="1060" idx="1"/>
          </p:cNvCxnSpPr>
          <p:nvPr/>
        </p:nvCxnSpPr>
        <p:spPr>
          <a:xfrm flipV="1">
            <a:off x="9912675" y="3773645"/>
            <a:ext cx="608899" cy="11494"/>
          </a:xfrm>
          <a:prstGeom prst="curvedConnector3">
            <a:avLst/>
          </a:prstGeom>
          <a:ln>
            <a:solidFill>
              <a:schemeClr val="tx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0" name="Rounded Rectangle 45">
            <a:extLst>
              <a:ext uri="{FF2B5EF4-FFF2-40B4-BE49-F238E27FC236}">
                <a16:creationId xmlns:a16="http://schemas.microsoft.com/office/drawing/2014/main" id="{5C458C3E-D425-BF04-2EE9-E4EDFF3BF5D9}"/>
              </a:ext>
            </a:extLst>
          </p:cNvPr>
          <p:cNvSpPr/>
          <p:nvPr/>
        </p:nvSpPr>
        <p:spPr bwMode="auto">
          <a:xfrm>
            <a:off x="10521574" y="2986597"/>
            <a:ext cx="1489100" cy="1574095"/>
          </a:xfrm>
          <a:prstGeom prst="roundRect">
            <a:avLst>
              <a:gd name="adj" fmla="val 6089"/>
            </a:avLst>
          </a:prstGeom>
          <a:noFill/>
          <a:ln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Tex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65" name="TextBox 1064">
            <a:extLst>
              <a:ext uri="{FF2B5EF4-FFF2-40B4-BE49-F238E27FC236}">
                <a16:creationId xmlns:a16="http://schemas.microsoft.com/office/drawing/2014/main" id="{9CD745FD-0D4B-98A2-33C2-C34028940181}"/>
              </a:ext>
            </a:extLst>
          </p:cNvPr>
          <p:cNvSpPr txBox="1"/>
          <p:nvPr/>
        </p:nvSpPr>
        <p:spPr>
          <a:xfrm>
            <a:off x="10521574" y="3271688"/>
            <a:ext cx="1489100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0" lang="en-HK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Data sources, Enterprise Application, external services, etc.</a:t>
            </a:r>
            <a:endParaRPr lang="en-HK" sz="1200" dirty="0"/>
          </a:p>
        </p:txBody>
      </p:sp>
      <p:sp>
        <p:nvSpPr>
          <p:cNvPr id="1070" name="Title 1069">
            <a:extLst>
              <a:ext uri="{FF2B5EF4-FFF2-40B4-BE49-F238E27FC236}">
                <a16:creationId xmlns:a16="http://schemas.microsoft.com/office/drawing/2014/main" id="{A9FE85C9-72A0-65D3-CD65-7BF8DADB32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7604" y="359500"/>
            <a:ext cx="11018520" cy="538609"/>
          </a:xfrm>
        </p:spPr>
        <p:txBody>
          <a:bodyPr/>
          <a:lstStyle/>
          <a:p>
            <a:r>
              <a:rPr lang="en-US" sz="3500" dirty="0"/>
              <a:t>Building and Managing MCP servers</a:t>
            </a:r>
            <a:endParaRPr lang="en-HK" sz="3500" dirty="0"/>
          </a:p>
        </p:txBody>
      </p:sp>
      <p:cxnSp>
        <p:nvCxnSpPr>
          <p:cNvPr id="1071" name="Connector: Curved 1070">
            <a:extLst>
              <a:ext uri="{FF2B5EF4-FFF2-40B4-BE49-F238E27FC236}">
                <a16:creationId xmlns:a16="http://schemas.microsoft.com/office/drawing/2014/main" id="{39298DD3-7A4A-2DD3-C628-0936EF6DC7F2}"/>
              </a:ext>
            </a:extLst>
          </p:cNvPr>
          <p:cNvCxnSpPr>
            <a:cxnSpLocks/>
            <a:stCxn id="158" idx="3"/>
            <a:endCxn id="1075" idx="1"/>
          </p:cNvCxnSpPr>
          <p:nvPr/>
        </p:nvCxnSpPr>
        <p:spPr>
          <a:xfrm flipV="1">
            <a:off x="10190365" y="1697593"/>
            <a:ext cx="329689" cy="1"/>
          </a:xfrm>
          <a:prstGeom prst="curvedConnector3">
            <a:avLst/>
          </a:prstGeom>
          <a:ln>
            <a:solidFill>
              <a:schemeClr val="tx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5" name="Rounded Rectangle 45">
            <a:extLst>
              <a:ext uri="{FF2B5EF4-FFF2-40B4-BE49-F238E27FC236}">
                <a16:creationId xmlns:a16="http://schemas.microsoft.com/office/drawing/2014/main" id="{2054E0A0-7DFE-3A2C-A126-232CCBCF6E3E}"/>
              </a:ext>
            </a:extLst>
          </p:cNvPr>
          <p:cNvSpPr/>
          <p:nvPr/>
        </p:nvSpPr>
        <p:spPr bwMode="auto">
          <a:xfrm>
            <a:off x="10520054" y="910545"/>
            <a:ext cx="1489100" cy="1574095"/>
          </a:xfrm>
          <a:prstGeom prst="roundRect">
            <a:avLst>
              <a:gd name="adj" fmla="val 6089"/>
            </a:avLst>
          </a:prstGeom>
          <a:noFill/>
          <a:ln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Tex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78" name="TextBox 1077">
            <a:extLst>
              <a:ext uri="{FF2B5EF4-FFF2-40B4-BE49-F238E27FC236}">
                <a16:creationId xmlns:a16="http://schemas.microsoft.com/office/drawing/2014/main" id="{C9DBD88B-A13E-2167-ABC5-24B1C5367FC9}"/>
              </a:ext>
            </a:extLst>
          </p:cNvPr>
          <p:cNvSpPr txBox="1"/>
          <p:nvPr/>
        </p:nvSpPr>
        <p:spPr>
          <a:xfrm>
            <a:off x="10520054" y="1252550"/>
            <a:ext cx="148910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0" lang="en-HK" sz="12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Existing Application that only have API support</a:t>
            </a:r>
            <a:endParaRPr lang="en-HK" sz="1200"/>
          </a:p>
        </p:txBody>
      </p:sp>
      <mc:AlternateContent xmlns:mc="http://schemas.openxmlformats.org/markup-compatibility/2006">
        <mc:Choice xmlns:am3d="http://schemas.microsoft.com/office/drawing/2017/model3d" Requires="am3d">
          <p:graphicFrame>
            <p:nvGraphicFramePr>
              <p:cNvPr id="1081" name="3D Model 1080" descr="Theme 5 - 3D announcement bug: Preview">
                <a:extLst>
                  <a:ext uri="{FF2B5EF4-FFF2-40B4-BE49-F238E27FC236}">
                    <a16:creationId xmlns:a16="http://schemas.microsoft.com/office/drawing/2014/main" id="{8598B569-403D-95D7-6330-8AB90CAD236B}"/>
                  </a:ext>
                </a:extLst>
              </p:cNvPr>
              <p:cNvGraphicFramePr>
                <a:graphicFrameLocks noChangeAspect="1"/>
              </p:cNvGraphicFramePr>
              <p:nvPr/>
            </p:nvGraphicFramePr>
            <p:xfrm>
              <a:off x="5882862" y="2490623"/>
              <a:ext cx="745081" cy="273091"/>
            </p:xfrm>
            <a:graphic>
              <a:graphicData uri="http://schemas.microsoft.com/office/drawing/2017/model3d">
                <am3d:model3d r:embed="rId18">
                  <am3d:spPr>
                    <a:xfrm>
                      <a:off x="0" y="0"/>
                      <a:ext cx="745081" cy="273091"/>
                    </a:xfrm>
                    <a:prstGeom prst="rect">
                      <a:avLst/>
                    </a:prstGeom>
                  </am3d:spPr>
                  <am3d:camera>
                    <am3d:pos x="0" y="0" z="50123624"/>
                    <am3d:up dx="0" dy="36000000" dz="0"/>
                    <am3d:lookAt x="0" y="0" z="0"/>
                    <am3d:perspective fov="2700000"/>
                  </am3d:camera>
                  <am3d:trans>
                    <am3d:meterPerModelUnit n="999810" d="1000000"/>
                    <am3d:preTrans dx="6584955" dy="-74908" dz="809846"/>
                    <am3d:scale>
                      <am3d:sx n="1000000" d="1000000"/>
                      <am3d:sy n="1000000" d="1000000"/>
                      <am3d:sz n="1000000" d="1000000"/>
                    </am3d:scale>
                    <am3d:rot ay="-150000"/>
                    <am3d:postTrans dx="0" dy="0" dz="0"/>
                  </am3d:trans>
                  <am3d:raster rName="Office3DRenderer" rVer="16.0.8326">
                    <am3d:blip r:embed="rId19"/>
                  </am3d:raster>
                  <am3d:objViewport viewportSz="834500"/>
                  <am3d:ambientLight>
                    <am3d:clr>
                      <a:scrgbClr r="50000" g="50000" b="50000"/>
                    </am3d:clr>
                    <am3d:illuminance n="500000" d="1000000"/>
                  </am3d:ambientLight>
                  <am3d:ptLight rad="0">
                    <am3d:clr>
                      <a:scrgbClr r="100000" g="75000" b="50000"/>
                    </am3d:clr>
                    <am3d:intensity n="9765625" d="1000000"/>
                    <am3d:pos x="21959998" y="70920001" z="16344003"/>
                  </am3d:ptLight>
                  <am3d:ptLight rad="0">
                    <am3d:clr>
                      <a:scrgbClr r="40000" g="60000" b="95000"/>
                    </am3d:clr>
                    <am3d:intensity n="12250000" d="1000000"/>
                    <am3d:pos x="-37964106" y="51130435" z="57631972"/>
                  </am3d:ptLight>
                  <am3d:ptLight rad="0">
                    <am3d:clr>
                      <a:scrgbClr r="86837" g="72700" b="100000"/>
                    </am3d:clr>
                    <am3d:intensity n="3125000" d="1000000"/>
                    <am3d:pos x="-37739122" y="58056624" z="-34769649"/>
                  </am3d:ptLight>
                </am3d:model3d>
              </a:graphicData>
            </a:graphic>
          </p:graphicFrame>
        </mc:Choice>
        <mc:Fallback>
          <p:pic>
            <p:nvPicPr>
              <p:cNvPr id="1081" name="3D Model 1080" descr="Theme 5 - 3D announcement bug: Preview">
                <a:extLst>
                  <a:ext uri="{FF2B5EF4-FFF2-40B4-BE49-F238E27FC236}">
                    <a16:creationId xmlns:a16="http://schemas.microsoft.com/office/drawing/2014/main" id="{8598B569-403D-95D7-6330-8AB90CAD236B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19"/>
              <a:stretch>
                <a:fillRect/>
              </a:stretch>
            </p:blipFill>
            <p:spPr>
              <a:xfrm>
                <a:off x="5882862" y="2490623"/>
                <a:ext cx="745081" cy="273091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am3d="http://schemas.microsoft.com/office/drawing/2017/model3d" Requires="am3d">
          <p:graphicFrame>
            <p:nvGraphicFramePr>
              <p:cNvPr id="1082" name="3D Model 1081" descr="Theme 5 - 3D announcement bug: Preview">
                <a:extLst>
                  <a:ext uri="{FF2B5EF4-FFF2-40B4-BE49-F238E27FC236}">
                    <a16:creationId xmlns:a16="http://schemas.microsoft.com/office/drawing/2014/main" id="{45CF477D-C35C-E964-714B-011682C4A999}"/>
                  </a:ext>
                </a:extLst>
              </p:cNvPr>
              <p:cNvGraphicFramePr>
                <a:graphicFrameLocks noChangeAspect="1"/>
              </p:cNvGraphicFramePr>
              <p:nvPr/>
            </p:nvGraphicFramePr>
            <p:xfrm>
              <a:off x="9360334" y="356403"/>
              <a:ext cx="745081" cy="273091"/>
            </p:xfrm>
            <a:graphic>
              <a:graphicData uri="http://schemas.microsoft.com/office/drawing/2017/model3d">
                <am3d:model3d r:embed="rId18">
                  <am3d:spPr>
                    <a:xfrm>
                      <a:off x="0" y="0"/>
                      <a:ext cx="745081" cy="273091"/>
                    </a:xfrm>
                    <a:prstGeom prst="rect">
                      <a:avLst/>
                    </a:prstGeom>
                  </am3d:spPr>
                  <am3d:camera>
                    <am3d:pos x="0" y="0" z="50123624"/>
                    <am3d:up dx="0" dy="36000000" dz="0"/>
                    <am3d:lookAt x="0" y="0" z="0"/>
                    <am3d:perspective fov="2700000"/>
                  </am3d:camera>
                  <am3d:trans>
                    <am3d:meterPerModelUnit n="999810" d="1000000"/>
                    <am3d:preTrans dx="6584955" dy="-74908" dz="809846"/>
                    <am3d:scale>
                      <am3d:sx n="1000000" d="1000000"/>
                      <am3d:sy n="1000000" d="1000000"/>
                      <am3d:sz n="1000000" d="1000000"/>
                    </am3d:scale>
                    <am3d:rot ay="-150000"/>
                    <am3d:postTrans dx="0" dy="0" dz="0"/>
                  </am3d:trans>
                  <am3d:raster rName="Office3DRenderer" rVer="16.0.8326">
                    <am3d:blip r:embed="rId19"/>
                  </am3d:raster>
                  <am3d:objViewport viewportSz="834500"/>
                  <am3d:ambientLight>
                    <am3d:clr>
                      <a:scrgbClr r="50000" g="50000" b="50000"/>
                    </am3d:clr>
                    <am3d:illuminance n="500000" d="1000000"/>
                  </am3d:ambientLight>
                  <am3d:ptLight rad="0">
                    <am3d:clr>
                      <a:scrgbClr r="100000" g="75000" b="50000"/>
                    </am3d:clr>
                    <am3d:intensity n="9765625" d="1000000"/>
                    <am3d:pos x="21959998" y="70920001" z="16344003"/>
                  </am3d:ptLight>
                  <am3d:ptLight rad="0">
                    <am3d:clr>
                      <a:scrgbClr r="40000" g="60000" b="95000"/>
                    </am3d:clr>
                    <am3d:intensity n="12250000" d="1000000"/>
                    <am3d:pos x="-37964106" y="51130435" z="57631972"/>
                  </am3d:ptLight>
                  <am3d:ptLight rad="0">
                    <am3d:clr>
                      <a:scrgbClr r="86837" g="72700" b="100000"/>
                    </am3d:clr>
                    <am3d:intensity n="3125000" d="1000000"/>
                    <am3d:pos x="-37739122" y="58056624" z="-34769649"/>
                  </am3d:ptLight>
                </am3d:model3d>
              </a:graphicData>
            </a:graphic>
          </p:graphicFrame>
        </mc:Choice>
        <mc:Fallback>
          <p:pic>
            <p:nvPicPr>
              <p:cNvPr id="1082" name="3D Model 1081" descr="Theme 5 - 3D announcement bug: Preview">
                <a:extLst>
                  <a:ext uri="{FF2B5EF4-FFF2-40B4-BE49-F238E27FC236}">
                    <a16:creationId xmlns:a16="http://schemas.microsoft.com/office/drawing/2014/main" id="{45CF477D-C35C-E964-714B-011682C4A999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19"/>
              <a:stretch>
                <a:fillRect/>
              </a:stretch>
            </p:blipFill>
            <p:spPr>
              <a:xfrm>
                <a:off x="9360334" y="356403"/>
                <a:ext cx="745081" cy="273091"/>
              </a:xfrm>
              <a:prstGeom prst="rect">
                <a:avLst/>
              </a:prstGeom>
            </p:spPr>
          </p:pic>
        </mc:Fallback>
      </mc:AlternateContent>
      <p:pic>
        <p:nvPicPr>
          <p:cNvPr id="1026" name="Picture 2">
            <a:extLst>
              <a:ext uri="{FF2B5EF4-FFF2-40B4-BE49-F238E27FC236}">
                <a16:creationId xmlns:a16="http://schemas.microsoft.com/office/drawing/2014/main" id="{85F59E52-1DD8-83CB-856F-6701D3D1E7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2209" y="5134440"/>
            <a:ext cx="435800" cy="435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566089CC-CFFD-676E-D90C-CD1E6E0DF438}"/>
              </a:ext>
            </a:extLst>
          </p:cNvPr>
          <p:cNvSpPr txBox="1"/>
          <p:nvPr/>
        </p:nvSpPr>
        <p:spPr>
          <a:xfrm>
            <a:off x="8160385" y="5159942"/>
            <a:ext cx="92077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HK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Microsoft Docs</a:t>
            </a:r>
            <a:endParaRPr lang="en-HK" sz="1200" dirty="0"/>
          </a:p>
        </p:txBody>
      </p:sp>
      <p:pic>
        <p:nvPicPr>
          <p:cNvPr id="16" name="Picture 4" descr="icon">
            <a:extLst>
              <a:ext uri="{FF2B5EF4-FFF2-40B4-BE49-F238E27FC236}">
                <a16:creationId xmlns:a16="http://schemas.microsoft.com/office/drawing/2014/main" id="{17C6C7AD-B4B7-1188-1E81-2A33700476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12108" y="5168584"/>
            <a:ext cx="326640" cy="326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6ACA2349-9E7E-6DD5-6E2F-580FB6DBABB0}"/>
              </a:ext>
            </a:extLst>
          </p:cNvPr>
          <p:cNvSpPr txBox="1"/>
          <p:nvPr/>
        </p:nvSpPr>
        <p:spPr>
          <a:xfrm>
            <a:off x="9467784" y="5213840"/>
            <a:ext cx="92077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HK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Atlassian</a:t>
            </a:r>
            <a:endParaRPr lang="en-HK" sz="1200" dirty="0"/>
          </a:p>
        </p:txBody>
      </p:sp>
      <p:pic>
        <p:nvPicPr>
          <p:cNvPr id="18" name="Picture 6" descr="icon">
            <a:extLst>
              <a:ext uri="{FF2B5EF4-FFF2-40B4-BE49-F238E27FC236}">
                <a16:creationId xmlns:a16="http://schemas.microsoft.com/office/drawing/2014/main" id="{7E8EBE1E-1AD3-7959-4B84-5CF45D7CED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25516" y="5739144"/>
            <a:ext cx="435567" cy="4355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70B42E86-F73A-D500-C955-A94B12F05AAA}"/>
              </a:ext>
            </a:extLst>
          </p:cNvPr>
          <p:cNvSpPr txBox="1"/>
          <p:nvPr/>
        </p:nvSpPr>
        <p:spPr>
          <a:xfrm>
            <a:off x="9652171" y="5776318"/>
            <a:ext cx="82306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HK" sz="1200" b="1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Paypal</a:t>
            </a:r>
            <a:endParaRPr lang="en-HK" sz="1200" dirty="0"/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33D19A8E-C28A-9FE8-EC68-A624810D4AF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627832" y="2229708"/>
            <a:ext cx="2469501" cy="544596"/>
          </a:xfrm>
          <a:prstGeom prst="roundRect">
            <a:avLst>
              <a:gd name="adj" fmla="val 11808"/>
            </a:avLst>
          </a:prstGeom>
          <a:gradFill flip="none" rotWithShape="1">
            <a:gsLst>
              <a:gs pos="32000">
                <a:srgbClr val="C03BC4"/>
              </a:gs>
              <a:gs pos="100000">
                <a:srgbClr val="399A91"/>
              </a:gs>
              <a:gs pos="68000">
                <a:srgbClr val="0078D4"/>
              </a:gs>
              <a:gs pos="0">
                <a:srgbClr val="FF5C39"/>
              </a:gs>
            </a:gsLst>
            <a:path path="circle">
              <a:fillToRect l="100000" t="100000"/>
            </a:path>
            <a:tileRect r="-100000" b="-100000"/>
          </a:gradFill>
          <a:ln w="63897" cap="flat">
            <a:noFill/>
            <a:prstDash val="solid"/>
            <a:miter/>
          </a:ln>
          <a:effectLst>
            <a:outerShdw blurRad="63500" dist="63500" dir="2700000" algn="tl" rotWithShape="0">
              <a:srgbClr val="454142">
                <a:alpha val="20000"/>
              </a:srgbClr>
            </a:outerShdw>
          </a:effectLst>
        </p:spPr>
        <p:txBody>
          <a:bodyPr rot="0" spcFirstLastPara="0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 w="3175">
                <a:noFill/>
              </a:ln>
              <a:gradFill>
                <a:gsLst>
                  <a:gs pos="53147">
                    <a:srgbClr val="FFFFFF"/>
                  </a:gs>
                  <a:gs pos="28000">
                    <a:srgbClr val="FFFFFF"/>
                  </a:gs>
                </a:gsLst>
                <a:path path="circle">
                  <a:fillToRect l="100000" b="100000"/>
                </a:path>
              </a:gradFill>
              <a:effectLst/>
              <a:uLnTx/>
              <a:uFillTx/>
              <a:latin typeface="Segoe UI Semibold"/>
              <a:ea typeface="+mn-ea"/>
              <a:cs typeface="Segoe UI" pitchFamily="34" charset="0"/>
            </a:endParaRPr>
          </a:p>
        </p:txBody>
      </p:sp>
      <p:sp>
        <p:nvSpPr>
          <p:cNvPr id="22" name="TextBox 60">
            <a:extLst>
              <a:ext uri="{FF2B5EF4-FFF2-40B4-BE49-F238E27FC236}">
                <a16:creationId xmlns:a16="http://schemas.microsoft.com/office/drawing/2014/main" id="{F12215A8-3DCE-CF62-A599-699C4A1986B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7799034" y="2252672"/>
            <a:ext cx="2002054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-50" normalizeH="0" baseline="0" noProof="0" dirty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"/>
              </a:rPr>
              <a:t>Safety Policies</a:t>
            </a:r>
            <a:endParaRPr kumimoji="0" lang="en-US" sz="1400" b="0" i="0" u="none" strike="noStrike" kern="1200" cap="none" spc="-50" normalizeH="0" baseline="0" noProof="0" dirty="0">
              <a:ln w="3175">
                <a:noFill/>
              </a:ln>
              <a:solidFill>
                <a:srgbClr val="FFFFFF"/>
              </a:solidFill>
              <a:effectLst/>
              <a:uLnTx/>
              <a:uFillTx/>
              <a:latin typeface="Segoe UI Semibold"/>
              <a:ea typeface="+mn-ea"/>
              <a:cs typeface="Segoe UI" pitchFamily="34" charset="0"/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866F2C70-B1E7-D347-32DE-998E040F1B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8083740" y="2468116"/>
            <a:ext cx="1579795" cy="277106"/>
          </a:xfrm>
          <a:prstGeom prst="roundRect">
            <a:avLst>
              <a:gd name="adj" fmla="val 50000"/>
            </a:avLst>
          </a:prstGeom>
          <a:solidFill>
            <a:srgbClr val="091F2C"/>
          </a:solidFill>
          <a:ln w="19050" cap="rnd">
            <a:gradFill flip="none" rotWithShape="1">
              <a:gsLst>
                <a:gs pos="0">
                  <a:srgbClr val="F65567"/>
                </a:gs>
                <a:gs pos="32000">
                  <a:srgbClr val="AC35AF"/>
                </a:gs>
                <a:gs pos="68000">
                  <a:srgbClr val="0A6BBA"/>
                </a:gs>
                <a:gs pos="100000">
                  <a:srgbClr val="318581"/>
                </a:gs>
              </a:gsLst>
              <a:path path="circle">
                <a:fillToRect l="100000" t="100000"/>
              </a:path>
              <a:tileRect r="-100000" b="-100000"/>
            </a:gradFill>
            <a:headEnd type="none" w="lg" len="sm"/>
            <a:tailEnd type="arrow" w="lg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rIns="3600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redential Manager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EC7A01C-DCD6-99A4-313E-D3E7FD41C1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6731014" y="1317603"/>
            <a:ext cx="694310" cy="369332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/>
          <a:p>
            <a:pPr algn="ctr">
              <a:defRPr/>
            </a:pPr>
            <a:r>
              <a:rPr lang="en-US" sz="1200" spc="-50" dirty="0">
                <a:ln w="3175">
                  <a:noFill/>
                </a:ln>
                <a:solidFill>
                  <a:schemeClr val="tx1"/>
                </a:solidFill>
                <a:cs typeface="Segoe UI" pitchFamily="34" charset="0"/>
              </a:rPr>
              <a:t>OAuth token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F00CB29-DE35-D488-594A-080D63F5E0EF}"/>
              </a:ext>
            </a:extLst>
          </p:cNvPr>
          <p:cNvSpPr txBox="1"/>
          <p:nvPr/>
        </p:nvSpPr>
        <p:spPr>
          <a:xfrm>
            <a:off x="9538748" y="6396735"/>
            <a:ext cx="82306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HK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…</a:t>
            </a:r>
            <a:endParaRPr lang="en-HK" sz="1200" dirty="0"/>
          </a:p>
        </p:txBody>
      </p:sp>
    </p:spTree>
    <p:extLst>
      <p:ext uri="{BB962C8B-B14F-4D97-AF65-F5344CB8AC3E}">
        <p14:creationId xmlns:p14="http://schemas.microsoft.com/office/powerpoint/2010/main" val="248483832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47" presetClass="entr" presetSubtype="0" fill="hold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" presetID="47" presetClass="entr" presetSubtype="0" fill="hold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2082591-C74D-09C3-BB78-7342308B63A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05334"/>
            <a:ext cx="12192000" cy="6447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1201012"/>
      </p:ext>
    </p:extLst>
  </p:cSld>
  <p:clrMapOvr>
    <a:masterClrMapping/>
  </p:clrMapOvr>
  <p:transition>
    <p:fade/>
  </p:transition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340D516-D4A8-D3B8-C264-0B87BA726E2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: Rounded Corners 22">
            <a:extLst>
              <a:ext uri="{FF2B5EF4-FFF2-40B4-BE49-F238E27FC236}">
                <a16:creationId xmlns:a16="http://schemas.microsoft.com/office/drawing/2014/main" id="{125B42B3-0F03-24CD-CA78-0DF1D9F169DB}"/>
              </a:ext>
            </a:extLst>
          </p:cNvPr>
          <p:cNvSpPr/>
          <p:nvPr/>
        </p:nvSpPr>
        <p:spPr bwMode="auto">
          <a:xfrm>
            <a:off x="6149038" y="5352243"/>
            <a:ext cx="5111039" cy="553998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solidFill>
              <a:schemeClr val="bg1"/>
            </a:solidFill>
            <a:headEnd type="none" w="med" len="med"/>
            <a:tailEnd type="none" w="med" len="med"/>
          </a:ln>
          <a:effectLst>
            <a:outerShdw blurRad="63500" algn="tl" rotWithShape="0">
              <a:schemeClr val="tx1">
                <a:alpha val="30000"/>
              </a:scheme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  <a:sym typeface="Arial"/>
            </a:endParaRPr>
          </a:p>
        </p:txBody>
      </p:sp>
      <p:sp>
        <p:nvSpPr>
          <p:cNvPr id="8" name="Rectangle: Rounded Corners 26">
            <a:extLst>
              <a:ext uri="{FF2B5EF4-FFF2-40B4-BE49-F238E27FC236}">
                <a16:creationId xmlns:a16="http://schemas.microsoft.com/office/drawing/2014/main" id="{6B518DA5-A366-0D6A-03E7-4544A749D5D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3342184" y="1852677"/>
            <a:ext cx="2636939" cy="3342218"/>
          </a:xfrm>
          <a:prstGeom prst="roundRect">
            <a:avLst>
              <a:gd name="adj" fmla="val 4624"/>
            </a:avLst>
          </a:prstGeom>
          <a:solidFill>
            <a:schemeClr val="tx1">
              <a:alpha val="12000"/>
            </a:schemeClr>
          </a:solidFill>
          <a:ln w="6350">
            <a:solidFill>
              <a:schemeClr val="tx1">
                <a:alpha val="30000"/>
              </a:schemeClr>
            </a:solidFill>
            <a:headEnd type="none" w="med" len="med"/>
            <a:tailEnd type="none" w="med" len="med"/>
          </a:ln>
          <a:effectLst>
            <a:outerShdw blurRad="127000" dist="63500" dir="2700000" algn="tl" rotWithShape="0">
              <a:prstClr val="black">
                <a:alpha val="2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Display Semibold"/>
              <a:ea typeface="+mn-ea"/>
              <a:cs typeface="Segoe UI" pitchFamily="34" charset="0"/>
              <a:sym typeface="Arial"/>
            </a:endParaRPr>
          </a:p>
        </p:txBody>
      </p: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6216762E-D3BD-2384-76E9-2AA6387C7ED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931922" y="1167292"/>
            <a:ext cx="10328155" cy="384674"/>
          </a:xfrm>
          <a:prstGeom prst="roundRect">
            <a:avLst>
              <a:gd name="adj" fmla="val 50000"/>
            </a:avLst>
          </a:prstGeom>
          <a:gradFill flip="none" rotWithShape="0">
            <a:gsLst>
              <a:gs pos="28000">
                <a:srgbClr val="0C9ED9">
                  <a:alpha val="0"/>
                </a:srgbClr>
              </a:gs>
              <a:gs pos="100000">
                <a:srgbClr val="0C9ED9"/>
              </a:gs>
            </a:gsLst>
            <a:lin ang="745" scaled="1"/>
            <a:tileRect/>
          </a:gradFill>
          <a:ln w="6350" cap="flat">
            <a:solidFill>
              <a:schemeClr val="tx1">
                <a:alpha val="3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err="1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Segoe Sans Text"/>
              <a:ea typeface="+mn-ea"/>
              <a:cs typeface="Arial"/>
              <a:sym typeface="Arial"/>
            </a:endParaRPr>
          </a:p>
        </p:txBody>
      </p:sp>
      <p:pic>
        <p:nvPicPr>
          <p:cNvPr id="167" name="Graphic 166">
            <a:extLst>
              <a:ext uri="{FF2B5EF4-FFF2-40B4-BE49-F238E27FC236}">
                <a16:creationId xmlns:a16="http://schemas.microsoft.com/office/drawing/2014/main" id="{E16D571B-B188-9256-326F-74E6067586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185180" y="2739484"/>
            <a:ext cx="824498" cy="824498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7" name="Rectangle: Rounded Corners 26">
            <a:extLst>
              <a:ext uri="{FF2B5EF4-FFF2-40B4-BE49-F238E27FC236}">
                <a16:creationId xmlns:a16="http://schemas.microsoft.com/office/drawing/2014/main" id="{7DD4E73C-977C-DF57-6971-5E013E5CF4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660019" y="1858075"/>
            <a:ext cx="2545112" cy="3286736"/>
          </a:xfrm>
          <a:prstGeom prst="roundRect">
            <a:avLst>
              <a:gd name="adj" fmla="val 4624"/>
            </a:avLst>
          </a:prstGeom>
          <a:solidFill>
            <a:schemeClr val="tx1">
              <a:alpha val="12000"/>
            </a:schemeClr>
          </a:solidFill>
          <a:ln w="6350">
            <a:solidFill>
              <a:schemeClr val="tx1">
                <a:alpha val="30000"/>
              </a:schemeClr>
            </a:solidFill>
            <a:headEnd type="none" w="med" len="med"/>
            <a:tailEnd type="none" w="med" len="med"/>
          </a:ln>
          <a:effectLst>
            <a:outerShdw blurRad="127000" dist="63500" dir="2700000" algn="tl" rotWithShape="0">
              <a:prstClr val="black">
                <a:alpha val="2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Display Semibold"/>
              <a:ea typeface="Segoe UI" pitchFamily="34" charset="0"/>
              <a:cs typeface="Segoe UI" pitchFamily="34" charset="0"/>
              <a:sym typeface="Arial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8C934-4F05-A2B0-86FF-BC6FFCCC75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/>
          <a:lstStyle/>
          <a:p>
            <a:pPr algn="ctr"/>
            <a:r>
              <a:rPr lang="en-US" dirty="0"/>
              <a:t>Building Agents in your Preferred Way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F3FDE075-7DDD-448E-FE22-6D0004648CB8}"/>
              </a:ext>
            </a:extLst>
          </p:cNvPr>
          <p:cNvSpPr txBox="1"/>
          <p:nvPr/>
        </p:nvSpPr>
        <p:spPr>
          <a:xfrm>
            <a:off x="1054848" y="4169966"/>
            <a:ext cx="1801554" cy="33855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 pitchFamily="2" charset="0"/>
                <a:ea typeface="+mn-ea"/>
                <a:cs typeface="Segoe Sans Text" pitchFamily="2" charset="0"/>
                <a:sym typeface="Arial"/>
              </a:rPr>
              <a:t>Agent Builder</a:t>
            </a:r>
          </a:p>
        </p:txBody>
      </p:sp>
      <p:sp>
        <p:nvSpPr>
          <p:cNvPr id="14" name="Rectangle: Rounded Corners 26">
            <a:extLst>
              <a:ext uri="{FF2B5EF4-FFF2-40B4-BE49-F238E27FC236}">
                <a16:creationId xmlns:a16="http://schemas.microsoft.com/office/drawing/2014/main" id="{5E222EC6-313A-DD90-015E-7A32B71AE9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6116176" y="1850020"/>
            <a:ext cx="5143902" cy="3287663"/>
          </a:xfrm>
          <a:prstGeom prst="roundRect">
            <a:avLst>
              <a:gd name="adj" fmla="val 4624"/>
            </a:avLst>
          </a:prstGeom>
          <a:solidFill>
            <a:schemeClr val="tx1">
              <a:alpha val="12000"/>
            </a:schemeClr>
          </a:solidFill>
          <a:ln w="6350">
            <a:solidFill>
              <a:schemeClr val="tx1">
                <a:alpha val="30000"/>
              </a:schemeClr>
            </a:solidFill>
            <a:headEnd type="none" w="med" len="med"/>
            <a:tailEnd type="none" w="med" len="med"/>
          </a:ln>
          <a:effectLst>
            <a:outerShdw blurRad="127000" dist="63500" dir="2700000" algn="tl" rotWithShape="0">
              <a:prstClr val="black">
                <a:alpha val="2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Display Semibold"/>
              <a:ea typeface="+mn-ea"/>
              <a:cs typeface="Segoe UI" pitchFamily="34" charset="0"/>
              <a:sym typeface="Arial"/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9147CBD4-2AF1-551C-BFDD-CAA778D100B5}"/>
              </a:ext>
            </a:extLst>
          </p:cNvPr>
          <p:cNvSpPr/>
          <p:nvPr/>
        </p:nvSpPr>
        <p:spPr bwMode="auto">
          <a:xfrm>
            <a:off x="7759195" y="1705343"/>
            <a:ext cx="2070684" cy="329724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solidFill>
              <a:schemeClr val="bg1"/>
            </a:solidFill>
            <a:headEnd type="none" w="med" len="med"/>
            <a:tailEnd type="none" w="med" len="med"/>
          </a:ln>
          <a:effectLst>
            <a:outerShdw blurRad="63500" algn="tl" rotWithShape="0">
              <a:schemeClr val="tx1">
                <a:alpha val="30000"/>
              </a:scheme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Display Semibold"/>
                <a:ea typeface="+mn-ea"/>
                <a:cs typeface="Segoe UI" pitchFamily="34" charset="0"/>
                <a:sym typeface="Arial"/>
              </a:rPr>
              <a:t>For developer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DBC9920A-7EC5-F282-7206-A0B7669E2769}"/>
              </a:ext>
            </a:extLst>
          </p:cNvPr>
          <p:cNvSpPr txBox="1"/>
          <p:nvPr/>
        </p:nvSpPr>
        <p:spPr>
          <a:xfrm>
            <a:off x="7438185" y="3070162"/>
            <a:ext cx="3498970" cy="83099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/>
                <a:ea typeface="+mn-ea"/>
                <a:cs typeface="Segoe Sans Text"/>
                <a:sym typeface="Arial"/>
              </a:rPr>
              <a:t>Microsoft 365 Agents SDK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/>
                <a:ea typeface="+mn-ea"/>
                <a:cs typeface="Segoe Sans Text"/>
                <a:sym typeface="Arial"/>
              </a:rPr>
              <a:t>Provision &amp; deploy</a:t>
            </a:r>
            <a:r>
              <a:rPr kumimoji="0" lang="en-HK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/>
                <a:ea typeface="+mn-ea"/>
                <a:cs typeface="Segoe Sans Text"/>
                <a:sym typeface="Arial"/>
              </a:rPr>
              <a:t> to</a:t>
            </a:r>
            <a:r>
              <a:rPr kumimoji="0" lang="zh-TW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/>
                <a:ea typeface="+mn-ea"/>
                <a:cs typeface="Segoe Sans Text"/>
                <a:sym typeface="Arial"/>
              </a:rPr>
              <a:t>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/>
                <a:ea typeface="+mn-ea"/>
                <a:cs typeface="Segoe Sans Text"/>
                <a:sym typeface="Arial"/>
              </a:rPr>
              <a:t>Azure with M365 Agents Toolkit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DAB03A3-07D1-D73E-090E-4607EF8FF022}"/>
              </a:ext>
            </a:extLst>
          </p:cNvPr>
          <p:cNvSpPr txBox="1"/>
          <p:nvPr/>
        </p:nvSpPr>
        <p:spPr>
          <a:xfrm>
            <a:off x="3709977" y="4169967"/>
            <a:ext cx="180176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 pitchFamily="2" charset="0"/>
                <a:ea typeface="+mn-ea"/>
                <a:cs typeface="Segoe Sans Text" pitchFamily="2" charset="0"/>
                <a:sym typeface="Arial"/>
              </a:rPr>
              <a:t>Copilot Studio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7BE539CA-AF6F-4B1E-F0FF-10CAAE64E456}"/>
              </a:ext>
            </a:extLst>
          </p:cNvPr>
          <p:cNvSpPr/>
          <p:nvPr/>
        </p:nvSpPr>
        <p:spPr bwMode="auto">
          <a:xfrm>
            <a:off x="3549644" y="1715947"/>
            <a:ext cx="2122428" cy="32696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solidFill>
              <a:schemeClr val="bg1"/>
            </a:solidFill>
            <a:headEnd type="none" w="med" len="med"/>
            <a:tailEnd type="none" w="med" len="med"/>
          </a:ln>
          <a:effectLst>
            <a:outerShdw blurRad="63500" algn="tl" rotWithShape="0">
              <a:schemeClr val="tx1">
                <a:alpha val="30000"/>
              </a:scheme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Display Semibold"/>
                <a:ea typeface="+mn-ea"/>
                <a:cs typeface="Segoe UI" pitchFamily="34" charset="0"/>
                <a:sym typeface="Arial"/>
              </a:rPr>
              <a:t>For makers</a:t>
            </a:r>
          </a:p>
        </p:txBody>
      </p:sp>
      <p:sp>
        <p:nvSpPr>
          <p:cNvPr id="32" name="Rectangle: Rounded Corners 22">
            <a:extLst>
              <a:ext uri="{FF2B5EF4-FFF2-40B4-BE49-F238E27FC236}">
                <a16:creationId xmlns:a16="http://schemas.microsoft.com/office/drawing/2014/main" id="{F4CD6679-7668-ECB2-4D83-5F46868250DA}"/>
              </a:ext>
            </a:extLst>
          </p:cNvPr>
          <p:cNvSpPr/>
          <p:nvPr/>
        </p:nvSpPr>
        <p:spPr bwMode="auto">
          <a:xfrm>
            <a:off x="3342185" y="6120801"/>
            <a:ext cx="7917894" cy="46334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solidFill>
              <a:schemeClr val="bg1"/>
            </a:solidFill>
            <a:headEnd type="none" w="med" len="med"/>
            <a:tailEnd type="none" w="med" len="med"/>
          </a:ln>
          <a:effectLst>
            <a:outerShdw blurRad="63500" algn="tl" rotWithShape="0">
              <a:schemeClr val="tx1">
                <a:alpha val="30000"/>
              </a:scheme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  <a:sym typeface="Arial"/>
            </a:endParaRPr>
          </a:p>
        </p:txBody>
      </p:sp>
      <p:pic>
        <p:nvPicPr>
          <p:cNvPr id="4" name="Picture 3" descr="A colorful logo with white text&#10;&#10;AI-generated content may be incorrect.">
            <a:extLst>
              <a:ext uri="{FF2B5EF4-FFF2-40B4-BE49-F238E27FC236}">
                <a16:creationId xmlns:a16="http://schemas.microsoft.com/office/drawing/2014/main" id="{9C82A064-D2FA-806B-119C-F56AB147BC8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66048" y="3207687"/>
            <a:ext cx="629994" cy="629994"/>
          </a:xfrm>
          <a:prstGeom prst="rect">
            <a:avLst/>
          </a:prstGeom>
        </p:spPr>
      </p:pic>
      <p:sp>
        <p:nvSpPr>
          <p:cNvPr id="11" name="Rectangle: Rounded Corners 26">
            <a:extLst>
              <a:ext uri="{FF2B5EF4-FFF2-40B4-BE49-F238E27FC236}">
                <a16:creationId xmlns:a16="http://schemas.microsoft.com/office/drawing/2014/main" id="{A010D7FE-4317-DA45-5CED-F230AF5B607E}"/>
              </a:ext>
            </a:extLst>
          </p:cNvPr>
          <p:cNvSpPr/>
          <p:nvPr/>
        </p:nvSpPr>
        <p:spPr bwMode="auto">
          <a:xfrm>
            <a:off x="919255" y="1713189"/>
            <a:ext cx="2070684" cy="329724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solidFill>
              <a:schemeClr val="bg1"/>
            </a:solidFill>
            <a:headEnd type="none" w="med" len="med"/>
            <a:tailEnd type="none" w="med" len="med"/>
          </a:ln>
          <a:effectLst>
            <a:outerShdw blurRad="63500" algn="tl" rotWithShape="0">
              <a:schemeClr val="tx1">
                <a:alpha val="30000"/>
              </a:scheme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Display Semibold"/>
                <a:ea typeface="Segoe UI" pitchFamily="34" charset="0"/>
                <a:cs typeface="Segoe UI" pitchFamily="34" charset="0"/>
                <a:sym typeface="Arial"/>
              </a:rPr>
              <a:t>For end users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873B28D-E41B-99DD-5ECE-4A93617AF68C}"/>
              </a:ext>
            </a:extLst>
          </p:cNvPr>
          <p:cNvSpPr txBox="1"/>
          <p:nvPr/>
        </p:nvSpPr>
        <p:spPr>
          <a:xfrm>
            <a:off x="1122746" y="1254873"/>
            <a:ext cx="1536655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Display Semibold"/>
                <a:ea typeface="+mn-ea"/>
                <a:cs typeface="Arial"/>
                <a:sym typeface="Arial"/>
              </a:rPr>
              <a:t>No code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3DE46F3-3596-BBAF-DB31-2B82FB95029C}"/>
              </a:ext>
            </a:extLst>
          </p:cNvPr>
          <p:cNvSpPr txBox="1"/>
          <p:nvPr/>
        </p:nvSpPr>
        <p:spPr>
          <a:xfrm>
            <a:off x="9583297" y="1254873"/>
            <a:ext cx="1536655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Display Semibold"/>
                <a:ea typeface="+mn-ea"/>
                <a:cs typeface="Arial"/>
                <a:sym typeface="Arial"/>
              </a:rPr>
              <a:t>Pro code</a:t>
            </a:r>
          </a:p>
        </p:txBody>
      </p:sp>
      <p:pic>
        <p:nvPicPr>
          <p:cNvPr id="45" name="Picture 44" descr="A logo with a rainbow colored design&#10;&#10;AI-generated content may be incorrect.">
            <a:extLst>
              <a:ext uri="{FF2B5EF4-FFF2-40B4-BE49-F238E27FC236}">
                <a16:creationId xmlns:a16="http://schemas.microsoft.com/office/drawing/2014/main" id="{1A5F8A54-270E-3792-1EAB-9EBC2793155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59265" y="2601483"/>
            <a:ext cx="915233" cy="915233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41A5B506-9736-6CB6-D674-35E482E53D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960591" y="6227893"/>
            <a:ext cx="311170" cy="311168"/>
          </a:xfrm>
          <a:prstGeom prst="rect">
            <a:avLst/>
          </a:prstGeom>
          <a:effectLst/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9E1794C0-7BBC-32BF-3BE2-4B8330BBA34F}"/>
              </a:ext>
            </a:extLst>
          </p:cNvPr>
          <p:cNvSpPr txBox="1"/>
          <p:nvPr/>
        </p:nvSpPr>
        <p:spPr>
          <a:xfrm>
            <a:off x="6095999" y="6181074"/>
            <a:ext cx="233749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 pitchFamily="2" charset="0"/>
                <a:ea typeface="+mn-ea"/>
                <a:cs typeface="Segoe Sans Text" pitchFamily="2" charset="0"/>
                <a:sym typeface="Arial"/>
              </a:rPr>
              <a:t>Azure AI Foundry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Arial"/>
              <a:sym typeface="Arial"/>
            </a:endParaRPr>
          </a:p>
        </p:txBody>
      </p:sp>
      <p:pic>
        <p:nvPicPr>
          <p:cNvPr id="5" name="Picture 4" descr="A logo with a black background&#10;&#10;AI-generated content may be incorrect.">
            <a:extLst>
              <a:ext uri="{FF2B5EF4-FFF2-40B4-BE49-F238E27FC236}">
                <a16:creationId xmlns:a16="http://schemas.microsoft.com/office/drawing/2014/main" id="{7ABD08E5-7B41-4F25-1A24-315B6C23433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8837" y="5432819"/>
            <a:ext cx="375450" cy="375448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1DC3E02A-E534-D41E-569F-87FC1DFD8CD1}"/>
              </a:ext>
            </a:extLst>
          </p:cNvPr>
          <p:cNvSpPr txBox="1"/>
          <p:nvPr/>
        </p:nvSpPr>
        <p:spPr>
          <a:xfrm>
            <a:off x="6561583" y="5459272"/>
            <a:ext cx="246459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 pitchFamily="2" charset="0"/>
                <a:ea typeface="+mn-ea"/>
                <a:cs typeface="Segoe Sans Text" pitchFamily="2" charset="0"/>
                <a:sym typeface="Arial"/>
              </a:rPr>
              <a:t>Semantic Kernel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Arial"/>
              <a:sym typeface="Arial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9B954F8-62F9-6CBB-610A-8FF3F2B535B3}"/>
              </a:ext>
            </a:extLst>
          </p:cNvPr>
          <p:cNvGrpSpPr/>
          <p:nvPr/>
        </p:nvGrpSpPr>
        <p:grpSpPr>
          <a:xfrm>
            <a:off x="8872675" y="5503129"/>
            <a:ext cx="351733" cy="294984"/>
            <a:chOff x="3400908" y="749396"/>
            <a:chExt cx="351733" cy="294984"/>
          </a:xfrm>
        </p:grpSpPr>
        <p:sp>
          <p:nvSpPr>
            <p:cNvPr id="13" name="Google Shape;1675;p69">
              <a:extLst>
                <a:ext uri="{FF2B5EF4-FFF2-40B4-BE49-F238E27FC236}">
                  <a16:creationId xmlns:a16="http://schemas.microsoft.com/office/drawing/2014/main" id="{1FE237BC-8066-CB49-84FE-7AEA2F0F753A}"/>
                </a:ext>
              </a:extLst>
            </p:cNvPr>
            <p:cNvSpPr/>
            <p:nvPr/>
          </p:nvSpPr>
          <p:spPr>
            <a:xfrm>
              <a:off x="3529187" y="925486"/>
              <a:ext cx="25668" cy="57080"/>
            </a:xfrm>
            <a:custGeom>
              <a:avLst/>
              <a:gdLst/>
              <a:ahLst/>
              <a:cxnLst/>
              <a:rect l="l" t="t" r="r" b="b"/>
              <a:pathLst>
                <a:path w="2914" h="6450" extrusionOk="0">
                  <a:moveTo>
                    <a:pt x="1457" y="1"/>
                  </a:moveTo>
                  <a:cubicBezTo>
                    <a:pt x="647" y="1"/>
                    <a:pt x="1" y="654"/>
                    <a:pt x="1" y="1457"/>
                  </a:cubicBezTo>
                  <a:lnTo>
                    <a:pt x="1" y="4994"/>
                  </a:lnTo>
                  <a:cubicBezTo>
                    <a:pt x="1" y="5796"/>
                    <a:pt x="647" y="6450"/>
                    <a:pt x="1457" y="6450"/>
                  </a:cubicBezTo>
                  <a:cubicBezTo>
                    <a:pt x="2259" y="6450"/>
                    <a:pt x="2913" y="5796"/>
                    <a:pt x="2913" y="4994"/>
                  </a:cubicBezTo>
                  <a:lnTo>
                    <a:pt x="2913" y="1457"/>
                  </a:lnTo>
                  <a:cubicBezTo>
                    <a:pt x="2913" y="654"/>
                    <a:pt x="2259" y="1"/>
                    <a:pt x="1457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a Sans" pitchFamily="2" charset="77"/>
                <a:ea typeface="+mn-ea"/>
                <a:cs typeface="Arial"/>
                <a:sym typeface="Arial"/>
              </a:endParaRPr>
            </a:p>
          </p:txBody>
        </p:sp>
        <p:sp>
          <p:nvSpPr>
            <p:cNvPr id="15" name="Google Shape;1676;p69">
              <a:extLst>
                <a:ext uri="{FF2B5EF4-FFF2-40B4-BE49-F238E27FC236}">
                  <a16:creationId xmlns:a16="http://schemas.microsoft.com/office/drawing/2014/main" id="{6CA90189-2396-AC85-98CA-63D0ED77B67A}"/>
                </a:ext>
              </a:extLst>
            </p:cNvPr>
            <p:cNvSpPr/>
            <p:nvPr/>
          </p:nvSpPr>
          <p:spPr>
            <a:xfrm>
              <a:off x="3598765" y="925486"/>
              <a:ext cx="25659" cy="57080"/>
            </a:xfrm>
            <a:custGeom>
              <a:avLst/>
              <a:gdLst/>
              <a:ahLst/>
              <a:cxnLst/>
              <a:rect l="l" t="t" r="r" b="b"/>
              <a:pathLst>
                <a:path w="2913" h="6450" extrusionOk="0">
                  <a:moveTo>
                    <a:pt x="1456" y="1"/>
                  </a:moveTo>
                  <a:cubicBezTo>
                    <a:pt x="654" y="1"/>
                    <a:pt x="0" y="654"/>
                    <a:pt x="0" y="1457"/>
                  </a:cubicBezTo>
                  <a:lnTo>
                    <a:pt x="0" y="4994"/>
                  </a:lnTo>
                  <a:cubicBezTo>
                    <a:pt x="0" y="5796"/>
                    <a:pt x="654" y="6450"/>
                    <a:pt x="1456" y="6450"/>
                  </a:cubicBezTo>
                  <a:cubicBezTo>
                    <a:pt x="2259" y="6450"/>
                    <a:pt x="2913" y="5796"/>
                    <a:pt x="2913" y="4994"/>
                  </a:cubicBezTo>
                  <a:lnTo>
                    <a:pt x="2913" y="1457"/>
                  </a:lnTo>
                  <a:cubicBezTo>
                    <a:pt x="2913" y="654"/>
                    <a:pt x="2259" y="1"/>
                    <a:pt x="1456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a Sans" pitchFamily="2" charset="77"/>
                <a:ea typeface="+mn-ea"/>
                <a:cs typeface="Arial"/>
                <a:sym typeface="Arial"/>
              </a:endParaRPr>
            </a:p>
          </p:txBody>
        </p:sp>
        <p:sp>
          <p:nvSpPr>
            <p:cNvPr id="17" name="Google Shape;1677;p69">
              <a:extLst>
                <a:ext uri="{FF2B5EF4-FFF2-40B4-BE49-F238E27FC236}">
                  <a16:creationId xmlns:a16="http://schemas.microsoft.com/office/drawing/2014/main" id="{A0C2F4B1-F508-3C75-200C-09409D8CADAE}"/>
                </a:ext>
              </a:extLst>
            </p:cNvPr>
            <p:cNvSpPr/>
            <p:nvPr/>
          </p:nvSpPr>
          <p:spPr>
            <a:xfrm>
              <a:off x="3400908" y="749396"/>
              <a:ext cx="351733" cy="294984"/>
            </a:xfrm>
            <a:custGeom>
              <a:avLst/>
              <a:gdLst/>
              <a:ahLst/>
              <a:cxnLst/>
              <a:rect l="l" t="t" r="r" b="b"/>
              <a:pathLst>
                <a:path w="39931" h="33333" extrusionOk="0">
                  <a:moveTo>
                    <a:pt x="39797" y="24973"/>
                  </a:moveTo>
                  <a:cubicBezTo>
                    <a:pt x="38363" y="27463"/>
                    <a:pt x="30048" y="33332"/>
                    <a:pt x="19965" y="33332"/>
                  </a:cubicBezTo>
                  <a:cubicBezTo>
                    <a:pt x="9882" y="33332"/>
                    <a:pt x="1575" y="27463"/>
                    <a:pt x="141" y="24973"/>
                  </a:cubicBezTo>
                  <a:cubicBezTo>
                    <a:pt x="37" y="24795"/>
                    <a:pt x="0" y="24587"/>
                    <a:pt x="0" y="24379"/>
                  </a:cubicBezTo>
                  <a:lnTo>
                    <a:pt x="0" y="19951"/>
                  </a:lnTo>
                  <a:cubicBezTo>
                    <a:pt x="0" y="19765"/>
                    <a:pt x="30" y="19586"/>
                    <a:pt x="97" y="19416"/>
                  </a:cubicBezTo>
                  <a:cubicBezTo>
                    <a:pt x="721" y="17863"/>
                    <a:pt x="2341" y="15604"/>
                    <a:pt x="4429" y="14995"/>
                  </a:cubicBezTo>
                  <a:cubicBezTo>
                    <a:pt x="4711" y="14281"/>
                    <a:pt x="5120" y="13241"/>
                    <a:pt x="5506" y="12476"/>
                  </a:cubicBezTo>
                  <a:cubicBezTo>
                    <a:pt x="5439" y="11889"/>
                    <a:pt x="5417" y="11280"/>
                    <a:pt x="5417" y="10670"/>
                  </a:cubicBezTo>
                  <a:cubicBezTo>
                    <a:pt x="5417" y="8456"/>
                    <a:pt x="5885" y="6509"/>
                    <a:pt x="7297" y="5068"/>
                  </a:cubicBezTo>
                  <a:cubicBezTo>
                    <a:pt x="7958" y="4392"/>
                    <a:pt x="8775" y="3872"/>
                    <a:pt x="9749" y="3485"/>
                  </a:cubicBezTo>
                  <a:cubicBezTo>
                    <a:pt x="12074" y="1591"/>
                    <a:pt x="15388" y="0"/>
                    <a:pt x="19928" y="0"/>
                  </a:cubicBezTo>
                  <a:cubicBezTo>
                    <a:pt x="24476" y="0"/>
                    <a:pt x="27856" y="1591"/>
                    <a:pt x="30182" y="3485"/>
                  </a:cubicBezTo>
                  <a:cubicBezTo>
                    <a:pt x="31156" y="3872"/>
                    <a:pt x="31973" y="4392"/>
                    <a:pt x="32634" y="5068"/>
                  </a:cubicBezTo>
                  <a:cubicBezTo>
                    <a:pt x="34053" y="6509"/>
                    <a:pt x="34522" y="8456"/>
                    <a:pt x="34522" y="10670"/>
                  </a:cubicBezTo>
                  <a:cubicBezTo>
                    <a:pt x="34522" y="11280"/>
                    <a:pt x="34499" y="11889"/>
                    <a:pt x="34432" y="12476"/>
                  </a:cubicBezTo>
                  <a:cubicBezTo>
                    <a:pt x="34819" y="13241"/>
                    <a:pt x="35227" y="14281"/>
                    <a:pt x="35502" y="14995"/>
                  </a:cubicBezTo>
                  <a:cubicBezTo>
                    <a:pt x="37598" y="15604"/>
                    <a:pt x="39218" y="17863"/>
                    <a:pt x="39834" y="19416"/>
                  </a:cubicBezTo>
                  <a:cubicBezTo>
                    <a:pt x="39901" y="19586"/>
                    <a:pt x="39931" y="19765"/>
                    <a:pt x="39931" y="19951"/>
                  </a:cubicBezTo>
                  <a:lnTo>
                    <a:pt x="39931" y="24379"/>
                  </a:lnTo>
                  <a:cubicBezTo>
                    <a:pt x="39931" y="24587"/>
                    <a:pt x="39901" y="24795"/>
                    <a:pt x="39797" y="24973"/>
                  </a:cubicBezTo>
                  <a:close/>
                  <a:moveTo>
                    <a:pt x="21318" y="10128"/>
                  </a:moveTo>
                  <a:cubicBezTo>
                    <a:pt x="21251" y="9578"/>
                    <a:pt x="21214" y="9088"/>
                    <a:pt x="21214" y="8642"/>
                  </a:cubicBezTo>
                  <a:lnTo>
                    <a:pt x="21214" y="8612"/>
                  </a:lnTo>
                  <a:cubicBezTo>
                    <a:pt x="21214" y="7334"/>
                    <a:pt x="21496" y="6494"/>
                    <a:pt x="21942" y="5989"/>
                  </a:cubicBezTo>
                  <a:cubicBezTo>
                    <a:pt x="22514" y="5335"/>
                    <a:pt x="23681" y="4838"/>
                    <a:pt x="26155" y="5105"/>
                  </a:cubicBezTo>
                  <a:cubicBezTo>
                    <a:pt x="28659" y="5380"/>
                    <a:pt x="30056" y="5997"/>
                    <a:pt x="30851" y="6814"/>
                  </a:cubicBezTo>
                  <a:cubicBezTo>
                    <a:pt x="31624" y="7594"/>
                    <a:pt x="32025" y="8776"/>
                    <a:pt x="32025" y="10670"/>
                  </a:cubicBezTo>
                  <a:cubicBezTo>
                    <a:pt x="32025" y="12684"/>
                    <a:pt x="31735" y="13873"/>
                    <a:pt x="31096" y="14593"/>
                  </a:cubicBezTo>
                  <a:cubicBezTo>
                    <a:pt x="30487" y="15284"/>
                    <a:pt x="29291" y="15842"/>
                    <a:pt x="26675" y="15842"/>
                  </a:cubicBezTo>
                  <a:cubicBezTo>
                    <a:pt x="24669" y="15842"/>
                    <a:pt x="23517" y="15188"/>
                    <a:pt x="22782" y="14281"/>
                  </a:cubicBezTo>
                  <a:cubicBezTo>
                    <a:pt x="21986" y="13315"/>
                    <a:pt x="21548" y="11889"/>
                    <a:pt x="21318" y="10128"/>
                  </a:cubicBezTo>
                  <a:close/>
                  <a:moveTo>
                    <a:pt x="18613" y="10128"/>
                  </a:moveTo>
                  <a:cubicBezTo>
                    <a:pt x="18687" y="9578"/>
                    <a:pt x="18717" y="9088"/>
                    <a:pt x="18717" y="8642"/>
                  </a:cubicBezTo>
                  <a:lnTo>
                    <a:pt x="18717" y="8612"/>
                  </a:lnTo>
                  <a:cubicBezTo>
                    <a:pt x="18717" y="7334"/>
                    <a:pt x="18435" y="6494"/>
                    <a:pt x="17989" y="5989"/>
                  </a:cubicBezTo>
                  <a:cubicBezTo>
                    <a:pt x="17424" y="5335"/>
                    <a:pt x="16250" y="4838"/>
                    <a:pt x="13783" y="5105"/>
                  </a:cubicBezTo>
                  <a:cubicBezTo>
                    <a:pt x="11279" y="5380"/>
                    <a:pt x="9875" y="5997"/>
                    <a:pt x="9080" y="6814"/>
                  </a:cubicBezTo>
                  <a:cubicBezTo>
                    <a:pt x="8315" y="7594"/>
                    <a:pt x="7913" y="8776"/>
                    <a:pt x="7913" y="10670"/>
                  </a:cubicBezTo>
                  <a:cubicBezTo>
                    <a:pt x="7913" y="12684"/>
                    <a:pt x="8203" y="13873"/>
                    <a:pt x="8842" y="14593"/>
                  </a:cubicBezTo>
                  <a:cubicBezTo>
                    <a:pt x="9444" y="15284"/>
                    <a:pt x="10640" y="15842"/>
                    <a:pt x="13256" y="15842"/>
                  </a:cubicBezTo>
                  <a:cubicBezTo>
                    <a:pt x="15269" y="15842"/>
                    <a:pt x="16421" y="15188"/>
                    <a:pt x="17157" y="14281"/>
                  </a:cubicBezTo>
                  <a:cubicBezTo>
                    <a:pt x="17944" y="13315"/>
                    <a:pt x="18390" y="11889"/>
                    <a:pt x="18613" y="10128"/>
                  </a:cubicBezTo>
                  <a:close/>
                  <a:moveTo>
                    <a:pt x="20255" y="15009"/>
                  </a:moveTo>
                  <a:lnTo>
                    <a:pt x="20129" y="15009"/>
                  </a:lnTo>
                  <a:cubicBezTo>
                    <a:pt x="19980" y="15009"/>
                    <a:pt x="19750" y="15009"/>
                    <a:pt x="19683" y="15009"/>
                  </a:cubicBezTo>
                  <a:cubicBezTo>
                    <a:pt x="19505" y="15307"/>
                    <a:pt x="19312" y="15589"/>
                    <a:pt x="19089" y="15857"/>
                  </a:cubicBezTo>
                  <a:cubicBezTo>
                    <a:pt x="17811" y="17432"/>
                    <a:pt x="15901" y="18338"/>
                    <a:pt x="13256" y="18338"/>
                  </a:cubicBezTo>
                  <a:cubicBezTo>
                    <a:pt x="10388" y="18338"/>
                    <a:pt x="8285" y="17744"/>
                    <a:pt x="6970" y="16243"/>
                  </a:cubicBezTo>
                  <a:cubicBezTo>
                    <a:pt x="6895" y="16161"/>
                    <a:pt x="6829" y="16072"/>
                    <a:pt x="6829" y="16072"/>
                  </a:cubicBezTo>
                  <a:lnTo>
                    <a:pt x="6665" y="16243"/>
                  </a:lnTo>
                  <a:lnTo>
                    <a:pt x="6665" y="27195"/>
                  </a:lnTo>
                  <a:cubicBezTo>
                    <a:pt x="9050" y="28488"/>
                    <a:pt x="14170" y="30821"/>
                    <a:pt x="19965" y="30821"/>
                  </a:cubicBezTo>
                  <a:cubicBezTo>
                    <a:pt x="25761" y="30821"/>
                    <a:pt x="30888" y="28488"/>
                    <a:pt x="33273" y="27195"/>
                  </a:cubicBezTo>
                  <a:lnTo>
                    <a:pt x="33273" y="16243"/>
                  </a:lnTo>
                  <a:lnTo>
                    <a:pt x="33110" y="16072"/>
                  </a:lnTo>
                  <a:cubicBezTo>
                    <a:pt x="33110" y="16072"/>
                    <a:pt x="33058" y="16146"/>
                    <a:pt x="32969" y="16243"/>
                  </a:cubicBezTo>
                  <a:cubicBezTo>
                    <a:pt x="31646" y="17744"/>
                    <a:pt x="29543" y="18338"/>
                    <a:pt x="26675" y="18338"/>
                  </a:cubicBezTo>
                  <a:cubicBezTo>
                    <a:pt x="24037" y="18338"/>
                    <a:pt x="22120" y="17432"/>
                    <a:pt x="20842" y="15857"/>
                  </a:cubicBezTo>
                  <a:cubicBezTo>
                    <a:pt x="20627" y="15589"/>
                    <a:pt x="20434" y="15307"/>
                    <a:pt x="20255" y="15009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a Sans" pitchFamily="2" charset="77"/>
                <a:ea typeface="+mn-ea"/>
                <a:cs typeface="Arial"/>
                <a:sym typeface="Arial"/>
              </a:endParaRPr>
            </a:p>
          </p:txBody>
        </p:sp>
      </p:grpSp>
      <p:sp>
        <p:nvSpPr>
          <p:cNvPr id="31" name="TextBox 30">
            <a:extLst>
              <a:ext uri="{FF2B5EF4-FFF2-40B4-BE49-F238E27FC236}">
                <a16:creationId xmlns:a16="http://schemas.microsoft.com/office/drawing/2014/main" id="{276C7811-6C63-697C-B017-B477B697F663}"/>
              </a:ext>
            </a:extLst>
          </p:cNvPr>
          <p:cNvSpPr txBox="1"/>
          <p:nvPr/>
        </p:nvSpPr>
        <p:spPr>
          <a:xfrm>
            <a:off x="9268317" y="5459272"/>
            <a:ext cx="206894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 pitchFamily="2" charset="0"/>
                <a:ea typeface="+mn-ea"/>
                <a:cs typeface="Segoe Sans Text" pitchFamily="2" charset="0"/>
                <a:sym typeface="Arial"/>
              </a:rPr>
              <a:t>GitHub Copilot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Arial"/>
              <a:sym typeface="Arial"/>
            </a:endParaRPr>
          </a:p>
        </p:txBody>
      </p:sp>
      <p:pic>
        <p:nvPicPr>
          <p:cNvPr id="34" name="Graphic 33">
            <a:extLst>
              <a:ext uri="{FF2B5EF4-FFF2-40B4-BE49-F238E27FC236}">
                <a16:creationId xmlns:a16="http://schemas.microsoft.com/office/drawing/2014/main" id="{78BA3F80-8206-B222-F011-D0DD2949005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660957" y="2240992"/>
            <a:ext cx="635085" cy="635085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DA980EB6-B7DC-37B0-C283-0F453F8983C5}"/>
              </a:ext>
            </a:extLst>
          </p:cNvPr>
          <p:cNvSpPr txBox="1"/>
          <p:nvPr/>
        </p:nvSpPr>
        <p:spPr>
          <a:xfrm>
            <a:off x="7433095" y="2249627"/>
            <a:ext cx="3498970" cy="58477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HK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/>
                <a:ea typeface="+mn-ea"/>
                <a:cs typeface="Segoe Sans Text"/>
                <a:sym typeface="Arial"/>
              </a:rPr>
              <a:t>Edit with code with Copilot Studio VS code extension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Text"/>
              <a:ea typeface="+mn-ea"/>
              <a:cs typeface="Segoe Sans Text"/>
              <a:sym typeface="Arial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B06F7F7D-153A-1B20-06C4-69770BB3382F}"/>
              </a:ext>
            </a:extLst>
          </p:cNvPr>
          <p:cNvSpPr txBox="1"/>
          <p:nvPr/>
        </p:nvSpPr>
        <p:spPr>
          <a:xfrm>
            <a:off x="7397642" y="4291428"/>
            <a:ext cx="2793789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 pitchFamily="2" charset="0"/>
                <a:ea typeface="+mn-ea"/>
                <a:cs typeface="Segoe Sans Text" pitchFamily="2" charset="0"/>
                <a:sym typeface="Arial"/>
              </a:rPr>
              <a:t>Azure AI Foundry A</a:t>
            </a:r>
            <a:r>
              <a:rPr kumimoji="0" lang="en-HK" altLang="zh-TW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 pitchFamily="2" charset="0"/>
                <a:ea typeface="+mn-ea"/>
                <a:cs typeface="Segoe Sans Text" pitchFamily="2" charset="0"/>
                <a:sym typeface="Arial"/>
              </a:rPr>
              <a:t>gents</a:t>
            </a: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HK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 pitchFamily="2" charset="0"/>
                <a:ea typeface="+mn-ea"/>
                <a:cs typeface="Segoe Sans Text" pitchFamily="2" charset="0"/>
                <a:sym typeface="Arial"/>
              </a:rPr>
              <a:t>Azure AI Foundry SDK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Arial"/>
              <a:sym typeface="Arial"/>
            </a:endParaRPr>
          </a:p>
        </p:txBody>
      </p:sp>
      <p:pic>
        <p:nvPicPr>
          <p:cNvPr id="37" name="Graphic 36">
            <a:extLst>
              <a:ext uri="{FF2B5EF4-FFF2-40B4-BE49-F238E27FC236}">
                <a16:creationId xmlns:a16="http://schemas.microsoft.com/office/drawing/2014/main" id="{EF4AA368-5B2A-C63F-E609-0A37ED545D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738282" y="4294166"/>
            <a:ext cx="480434" cy="480431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348221393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 animBg="1"/>
      <p:bldP spid="8" grpId="0" animBg="1"/>
      <p:bldP spid="7" grpId="0" animBg="1"/>
      <p:bldP spid="29" grpId="0"/>
      <p:bldP spid="14" grpId="0" animBg="1"/>
      <p:bldP spid="23" grpId="0" animBg="1"/>
      <p:bldP spid="25" grpId="0"/>
      <p:bldP spid="21" grpId="0"/>
      <p:bldP spid="20" grpId="0" animBg="1"/>
      <p:bldP spid="32" grpId="0" animBg="1"/>
      <p:bldP spid="11" grpId="0" animBg="1"/>
      <p:bldP spid="10" grpId="0"/>
      <p:bldP spid="9" grpId="0"/>
      <p:bldP spid="31" grpId="0"/>
      <p:bldP spid="35" grpId="0"/>
      <p:bldP spid="36" grpId="0"/>
    </p:bld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B1354971-3F05-7681-C1E5-E4C547FE11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199" y="1687117"/>
            <a:ext cx="7139709" cy="1846659"/>
          </a:xfrm>
        </p:spPr>
        <p:txBody>
          <a:bodyPr/>
          <a:lstStyle/>
          <a:p>
            <a:r>
              <a:rPr lang="en-HK" dirty="0"/>
              <a:t>Working with A2A &amp; MCP with Azure AI Foundry Agent Servic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708C561-C419-7039-1391-7CB86221313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84200" y="3962400"/>
            <a:ext cx="5577840" cy="553998"/>
          </a:xfrm>
        </p:spPr>
        <p:txBody>
          <a:bodyPr/>
          <a:lstStyle/>
          <a:p>
            <a:r>
              <a:rPr lang="en-HK" dirty="0"/>
              <a:t>Kinfey Lo</a:t>
            </a:r>
          </a:p>
          <a:p>
            <a:r>
              <a:rPr lang="en-US" dirty="0"/>
              <a:t>Microsoft Senior </a:t>
            </a:r>
            <a:r>
              <a:rPr lang="en-US"/>
              <a:t>Cloud Advoc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680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EFCB73-D2E2-20FA-24CF-8132FD1A5D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olorful cubes on a white background&#10;&#10;AI-generated content may be incorrect.">
            <a:extLst>
              <a:ext uri="{FF2B5EF4-FFF2-40B4-BE49-F238E27FC236}">
                <a16:creationId xmlns:a16="http://schemas.microsoft.com/office/drawing/2014/main" id="{C6AC4BF0-5D59-853E-F7DA-350E9213A23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B2950E52-BE84-9F32-EB16-AC52D4753EAD}"/>
              </a:ext>
            </a:extLst>
          </p:cNvPr>
          <p:cNvSpPr/>
          <p:nvPr/>
        </p:nvSpPr>
        <p:spPr bwMode="auto">
          <a:xfrm>
            <a:off x="124691" y="2132637"/>
            <a:ext cx="9607487" cy="4656090"/>
          </a:xfrm>
          <a:prstGeom prst="roundRect">
            <a:avLst>
              <a:gd name="adj" fmla="val 5179"/>
            </a:avLst>
          </a:prstGeom>
          <a:solidFill>
            <a:schemeClr val="bg1">
              <a:alpha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HK" sz="2000" err="1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5" name="Rectangle: Rounded Corners 64">
            <a:extLst>
              <a:ext uri="{FF2B5EF4-FFF2-40B4-BE49-F238E27FC236}">
                <a16:creationId xmlns:a16="http://schemas.microsoft.com/office/drawing/2014/main" id="{D8E34A99-7DAF-7AF8-37A8-45B3E5CD9DB8}"/>
              </a:ext>
            </a:extLst>
          </p:cNvPr>
          <p:cNvSpPr/>
          <p:nvPr/>
        </p:nvSpPr>
        <p:spPr bwMode="auto">
          <a:xfrm>
            <a:off x="9809019" y="2833255"/>
            <a:ext cx="2207168" cy="2708006"/>
          </a:xfrm>
          <a:prstGeom prst="roundRect">
            <a:avLst>
              <a:gd name="adj" fmla="val 5179"/>
            </a:avLst>
          </a:prstGeom>
          <a:solidFill>
            <a:schemeClr val="bg1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HK" sz="2000" err="1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292520A-6CF9-9192-8B0F-08A6D84506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HK" b="1" dirty="0"/>
              <a:t>Microsoft Cloud &amp; AI Bootcamp</a:t>
            </a:r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id="{0267A4AB-B713-20F0-E9DD-F4F0CD1E3E8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217" y="991382"/>
            <a:ext cx="2637617" cy="477016"/>
          </a:xfrm>
          <a:prstGeom prst="rect">
            <a:avLst/>
          </a:prstGeom>
        </p:spPr>
      </p:pic>
      <p:sp>
        <p:nvSpPr>
          <p:cNvPr id="60" name="TextBox 59">
            <a:extLst>
              <a:ext uri="{FF2B5EF4-FFF2-40B4-BE49-F238E27FC236}">
                <a16:creationId xmlns:a16="http://schemas.microsoft.com/office/drawing/2014/main" id="{C3072BB6-43A7-69CA-591A-8425095E9D67}"/>
              </a:ext>
            </a:extLst>
          </p:cNvPr>
          <p:cNvSpPr txBox="1"/>
          <p:nvPr/>
        </p:nvSpPr>
        <p:spPr>
          <a:xfrm>
            <a:off x="9937365" y="5141151"/>
            <a:ext cx="200198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HK" sz="1000">
                <a:hlinkClick r:id="rId5"/>
              </a:rPr>
              <a:t>https://www.microsoft.com/en-hk/CloudandAIBootcamp/</a:t>
            </a:r>
            <a:endParaRPr lang="en-HK" sz="1000"/>
          </a:p>
        </p:txBody>
      </p:sp>
      <p:pic>
        <p:nvPicPr>
          <p:cNvPr id="64" name="Picture 63" descr="A qr code with black dots&#10;&#10;AI-generated content may be incorrect.">
            <a:extLst>
              <a:ext uri="{FF2B5EF4-FFF2-40B4-BE49-F238E27FC236}">
                <a16:creationId xmlns:a16="http://schemas.microsoft.com/office/drawing/2014/main" id="{81BAB028-197C-132C-76C7-1A95362888C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977780" y="3221963"/>
            <a:ext cx="1870040" cy="188768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  <p:sp>
        <p:nvSpPr>
          <p:cNvPr id="66" name="TextBox 65">
            <a:extLst>
              <a:ext uri="{FF2B5EF4-FFF2-40B4-BE49-F238E27FC236}">
                <a16:creationId xmlns:a16="http://schemas.microsoft.com/office/drawing/2014/main" id="{1782D9BF-51C8-360E-1C67-CBFC0E0A6EF0}"/>
              </a:ext>
            </a:extLst>
          </p:cNvPr>
          <p:cNvSpPr txBox="1"/>
          <p:nvPr/>
        </p:nvSpPr>
        <p:spPr>
          <a:xfrm>
            <a:off x="9977780" y="2918844"/>
            <a:ext cx="1870040" cy="27161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65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Arial"/>
                <a:sym typeface="Arial"/>
              </a:rPr>
              <a:t>Register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79E469DE-3F3A-17C6-2DE7-CA44DC96A7E5}"/>
              </a:ext>
            </a:extLst>
          </p:cNvPr>
          <p:cNvSpPr txBox="1"/>
          <p:nvPr/>
        </p:nvSpPr>
        <p:spPr>
          <a:xfrm>
            <a:off x="553546" y="1523036"/>
            <a:ext cx="878724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i="0" dirty="0">
                <a:solidFill>
                  <a:srgbClr val="161616"/>
                </a:solidFill>
                <a:effectLst/>
                <a:latin typeface="Segoe UI" panose="020B0502040204020203" pitchFamily="34" charset="0"/>
              </a:rPr>
              <a:t>A digital experience is designed to accelerate your AI ambitions, from strategy to secure, scalable execution.</a:t>
            </a:r>
            <a:endParaRPr lang="en-HK" dirty="0"/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1F4CC618-B132-E960-8378-AE4D567F7867}"/>
              </a:ext>
            </a:extLst>
          </p:cNvPr>
          <p:cNvGraphicFramePr>
            <a:graphicFrameLocks noGrp="1"/>
          </p:cNvGraphicFramePr>
          <p:nvPr/>
        </p:nvGraphicFramePr>
        <p:xfrm>
          <a:off x="217090" y="2217862"/>
          <a:ext cx="9460156" cy="4485640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890987">
                  <a:extLst>
                    <a:ext uri="{9D8B030D-6E8A-4147-A177-3AD203B41FA5}">
                      <a16:colId xmlns:a16="http://schemas.microsoft.com/office/drawing/2014/main" val="2977370182"/>
                    </a:ext>
                  </a:extLst>
                </a:gridCol>
                <a:gridCol w="2339273">
                  <a:extLst>
                    <a:ext uri="{9D8B030D-6E8A-4147-A177-3AD203B41FA5}">
                      <a16:colId xmlns:a16="http://schemas.microsoft.com/office/drawing/2014/main" val="1473912011"/>
                    </a:ext>
                  </a:extLst>
                </a:gridCol>
                <a:gridCol w="2076632">
                  <a:extLst>
                    <a:ext uri="{9D8B030D-6E8A-4147-A177-3AD203B41FA5}">
                      <a16:colId xmlns:a16="http://schemas.microsoft.com/office/drawing/2014/main" val="2189676248"/>
                    </a:ext>
                  </a:extLst>
                </a:gridCol>
                <a:gridCol w="2076632">
                  <a:extLst>
                    <a:ext uri="{9D8B030D-6E8A-4147-A177-3AD203B41FA5}">
                      <a16:colId xmlns:a16="http://schemas.microsoft.com/office/drawing/2014/main" val="2042017784"/>
                    </a:ext>
                  </a:extLst>
                </a:gridCol>
                <a:gridCol w="2076632">
                  <a:extLst>
                    <a:ext uri="{9D8B030D-6E8A-4147-A177-3AD203B41FA5}">
                      <a16:colId xmlns:a16="http://schemas.microsoft.com/office/drawing/2014/main" val="10369485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endParaRPr lang="en-HK" sz="1200"/>
                    </a:p>
                  </a:txBody>
                  <a:tcPr marL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i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eading in Age of AI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Architecting Scalable, Intelligent AI system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Building &amp; Scaling AI Apps + Agent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Migrate &amp; </a:t>
                      </a:r>
                      <a:r>
                        <a:rPr lang="en-US" sz="1200" b="1" err="1"/>
                        <a:t>Modernise</a:t>
                      </a:r>
                      <a:endParaRPr lang="en-US" sz="1200" b="1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4318322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HK" sz="1200"/>
                    </a:p>
                  </a:txBody>
                  <a:tcPr marL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7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2 July 2025 (T</a:t>
                      </a:r>
                      <a:r>
                        <a:rPr lang="en-HK" sz="1200" b="0" i="0" kern="120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e</a:t>
                      </a:r>
                      <a:r>
                        <a:rPr lang="en-HK" sz="1200" b="0" i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lang="en-US" sz="1200" b="0" i="0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7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3 July 2025</a:t>
                      </a:r>
                      <a:r>
                        <a:rPr lang="en-HK" sz="1200" b="0" i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Wed)</a:t>
                      </a:r>
                      <a:endParaRPr lang="en-US" sz="1200" b="0" i="0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7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4 July 2025 </a:t>
                      </a:r>
                      <a:r>
                        <a:rPr lang="en-HK" sz="1200" b="0" i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lang="en-HK" sz="1200" b="0" i="0" kern="120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ur</a:t>
                      </a:r>
                      <a:r>
                        <a:rPr lang="en-HK" sz="1200" b="0" i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lang="en-US" sz="1200" b="0" i="0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7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5 July 2025</a:t>
                      </a:r>
                      <a:r>
                        <a:rPr lang="en-HK" sz="1200" b="0" i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Fri)</a:t>
                      </a:r>
                      <a:endParaRPr lang="en-US" sz="120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55156620"/>
                  </a:ext>
                </a:extLst>
              </a:tr>
              <a:tr h="467149">
                <a:tc>
                  <a:txBody>
                    <a:bodyPr/>
                    <a:lstStyle/>
                    <a:p>
                      <a:pPr algn="ctr"/>
                      <a:r>
                        <a:rPr lang="en-HK" sz="1200"/>
                        <a:t>Target Audience</a:t>
                      </a:r>
                    </a:p>
                  </a:txBody>
                  <a:tcPr marL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i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or </a:t>
                      </a:r>
                      <a:r>
                        <a:rPr lang="en-US" sz="1200" b="0" i="0" kern="120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xOs</a:t>
                      </a:r>
                      <a:r>
                        <a:rPr lang="en-US" sz="1200" b="0" i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Business, and Technical Decision Makers defining AI strategy.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7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For IT Pros and Technical Decision Makers building secure, scalable AI.</a:t>
                      </a:r>
                      <a:endParaRPr lang="en-HK" sz="120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7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For Developers eager to advance with the latest tools.</a:t>
                      </a:r>
                      <a:endParaRPr lang="en-HK" sz="120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7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For IT Decision Makers and IT Pros adopting AI-ready, secure infrastructure.</a:t>
                      </a:r>
                      <a:endParaRPr lang="en-HK" sz="120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41717938"/>
                  </a:ext>
                </a:extLst>
              </a:tr>
              <a:tr h="398118">
                <a:tc>
                  <a:txBody>
                    <a:bodyPr/>
                    <a:lstStyle/>
                    <a:p>
                      <a:pPr marL="0" marR="0" lvl="0" indent="0" algn="ctr" defTabSz="9327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HK" sz="1200" b="0" kern="1200">
                          <a:solidFill>
                            <a:schemeClr val="tx1"/>
                          </a:solidFill>
                          <a:effectLst/>
                        </a:rPr>
                        <a:t>12:30-13:15</a:t>
                      </a:r>
                    </a:p>
                  </a:txBody>
                  <a:tcPr marL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  <a:p>
                      <a:pPr algn="ctr"/>
                      <a:r>
                        <a:rPr lang="en-US" sz="1200"/>
                        <a:t>Competing in the Age of Intelligence</a:t>
                      </a:r>
                      <a:endParaRPr lang="en-HK" sz="120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Microsoft AI Horizons - Season 3 of AI</a:t>
                      </a:r>
                      <a:endParaRPr lang="en-HK" sz="120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HK" sz="1200"/>
                        <a:t>New Agentic Development World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Migrate and </a:t>
                      </a:r>
                      <a:r>
                        <a:rPr lang="en-US" sz="1200" err="1"/>
                        <a:t>Modernise</a:t>
                      </a:r>
                      <a:r>
                        <a:rPr lang="en-US" sz="1200"/>
                        <a:t> Your Estate for AI Innovation</a:t>
                      </a:r>
                      <a:endParaRPr lang="en-HK" sz="120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5419377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327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HK" sz="1200" b="0" i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3:15-14:00</a:t>
                      </a:r>
                    </a:p>
                  </a:txBody>
                  <a:tcPr marL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HK" sz="1200"/>
                        <a:t>Leading the AI Shift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HK" sz="1200"/>
                        <a:t>Fuelling Intelligent Systems - Data Readiness for AI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AI-Accelerated Developer Tools and Platforms</a:t>
                      </a:r>
                      <a:endParaRPr lang="en-HK" sz="120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/>
                        <a:t>Accelerate AI Innovation on a proven platform for Linux</a:t>
                      </a:r>
                      <a:endParaRPr lang="en-HK" sz="120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6029228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327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HK" sz="1200" b="0" i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:00-14:45</a:t>
                      </a:r>
                    </a:p>
                  </a:txBody>
                  <a:tcPr marL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HK" sz="1200"/>
                        <a:t>Executive AI Briefing: Inside Microsoft’s Customer Zero Playbook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HK" sz="1200"/>
                        <a:t>Automation vs. Intelligence - Where Do AI Agents Fit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Building World Class Cloud and AI Platform with Cloud Native and AKS</a:t>
                      </a:r>
                      <a:endParaRPr lang="en-HK" sz="120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End-to-End AI Innovation: Embedding AI in Every Step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6155592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327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HK" sz="1200" b="0" i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:45-15:30</a:t>
                      </a:r>
                    </a:p>
                  </a:txBody>
                  <a:tcPr marL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How businesses can unlock business and financial benefits in the Age of AI</a:t>
                      </a:r>
                      <a:endParaRPr lang="en-HK" sz="120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Microsoft Datacenters: Illuminating the Unseen Power of the Cloud</a:t>
                      </a:r>
                      <a:endParaRPr lang="en-HK" sz="120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Fireside Chat: Next-gen AI Developer</a:t>
                      </a:r>
                      <a:endParaRPr lang="en-HK" sz="120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HK" sz="120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124558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327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HK" sz="1200" b="0" i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:30-16:15</a:t>
                      </a:r>
                    </a:p>
                  </a:txBody>
                  <a:tcPr marL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HK" sz="120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Ultimate Guide to Navigate the Latest AI Models on Azure</a:t>
                      </a:r>
                      <a:endParaRPr lang="en-HK" sz="120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HK" sz="1200"/>
                        <a:t>Build AI Agents in Azure AI Foundry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HK" sz="12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143416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94123121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5E947B-6B04-909B-C557-5ABA553CDE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0E4537A1-683A-0307-1609-BC9C2589F6B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1222376" y="4787956"/>
            <a:ext cx="9747249" cy="914400"/>
            <a:chOff x="1222376" y="4787956"/>
            <a:chExt cx="9747249" cy="914400"/>
          </a:xfrm>
          <a:gradFill flip="none" rotWithShape="1">
            <a:gsLst>
              <a:gs pos="0">
                <a:srgbClr val="0078D4"/>
              </a:gs>
              <a:gs pos="99000">
                <a:srgbClr val="C03BC4"/>
              </a:gs>
            </a:gsLst>
            <a:lin ang="0" scaled="1"/>
            <a:tileRect/>
          </a:gradFill>
        </p:grpSpPr>
        <p:sp>
          <p:nvSpPr>
            <p:cNvPr id="4" name="Rounded Rectangle 12">
              <a:extLst>
                <a:ext uri="{FF2B5EF4-FFF2-40B4-BE49-F238E27FC236}">
                  <a16:creationId xmlns:a16="http://schemas.microsoft.com/office/drawing/2014/main" id="{0F731107-9866-D53F-4731-6E15FD9E5DC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1222376" y="4787956"/>
              <a:ext cx="3030647" cy="914400"/>
            </a:xfrm>
            <a:prstGeom prst="roundRect">
              <a:avLst>
                <a:gd name="adj" fmla="val 19649"/>
              </a:avLst>
            </a:prstGeom>
            <a:grpFill/>
            <a:ln w="1270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10155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Sans Text Semibold"/>
                  <a:ea typeface="+mn-ea"/>
                  <a:cs typeface="Segoe Sans Text Semibold"/>
                  <a:sym typeface="Arial"/>
                </a:rPr>
                <a:t>Flexible Deployment Options</a:t>
              </a:r>
              <a:endPara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 Semibold" pitchFamily="2" charset="0"/>
                <a:ea typeface="+mn-ea"/>
                <a:cs typeface="Segoe Sans Text Semibold" pitchFamily="2" charset="0"/>
                <a:sym typeface="Arial"/>
              </a:endParaRPr>
            </a:p>
          </p:txBody>
        </p:sp>
        <p:sp>
          <p:nvSpPr>
            <p:cNvPr id="5" name="Rounded Rectangle 12">
              <a:extLst>
                <a:ext uri="{FF2B5EF4-FFF2-40B4-BE49-F238E27FC236}">
                  <a16:creationId xmlns:a16="http://schemas.microsoft.com/office/drawing/2014/main" id="{CD90DAE7-59E7-3F25-3637-90866D445C0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4580677" y="4787956"/>
              <a:ext cx="3030647" cy="914400"/>
            </a:xfrm>
            <a:prstGeom prst="roundRect">
              <a:avLst>
                <a:gd name="adj" fmla="val 19649"/>
              </a:avLst>
            </a:prstGeom>
            <a:grpFill/>
            <a:ln w="1270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10155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Sans Text Semibold"/>
                  <a:ea typeface="+mn-ea"/>
                  <a:cs typeface="Segoe Sans Text Semibold"/>
                  <a:sym typeface="Arial"/>
                </a:rPr>
                <a:t>Simple Model Choice</a:t>
              </a:r>
              <a:endPara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 Semibold" pitchFamily="2" charset="0"/>
                <a:ea typeface="+mn-ea"/>
                <a:cs typeface="Segoe Sans Text Semibold" pitchFamily="2" charset="0"/>
                <a:sym typeface="Arial"/>
              </a:endParaRPr>
            </a:p>
          </p:txBody>
        </p:sp>
        <p:sp>
          <p:nvSpPr>
            <p:cNvPr id="6" name="Rounded Rectangle 12">
              <a:extLst>
                <a:ext uri="{FF2B5EF4-FFF2-40B4-BE49-F238E27FC236}">
                  <a16:creationId xmlns:a16="http://schemas.microsoft.com/office/drawing/2014/main" id="{1E2F7B67-4426-1417-0E5C-CF64605488E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7938978" y="4787956"/>
              <a:ext cx="3030647" cy="914400"/>
            </a:xfrm>
            <a:prstGeom prst="roundRect">
              <a:avLst>
                <a:gd name="adj" fmla="val 18098"/>
              </a:avLst>
            </a:prstGeom>
            <a:grpFill/>
            <a:ln w="1270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10155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Sans Text Semibold"/>
                  <a:ea typeface="+mn-ea"/>
                  <a:cs typeface="Segoe Sans Text Semibold"/>
                  <a:sym typeface="Arial"/>
                </a:rPr>
                <a:t>Enterprise-Grade Reliability</a:t>
              </a:r>
              <a:endPara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 Semibold" pitchFamily="2" charset="0"/>
                <a:ea typeface="+mn-ea"/>
                <a:cs typeface="Segoe Sans Text Semibold" pitchFamily="2" charset="0"/>
                <a:sym typeface="Arial"/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F43E6FBF-D7EC-5FD3-CB2B-956FB0F4C0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737294" y="-6677"/>
            <a:ext cx="2717412" cy="479061"/>
            <a:chOff x="4737294" y="-6677"/>
            <a:chExt cx="2717412" cy="479061"/>
          </a:xfrm>
        </p:grpSpPr>
        <p:grpSp>
          <p:nvGrpSpPr>
            <p:cNvPr id="8" name="Group 7" descr="Azure AI Foundry tag">
              <a:extLst>
                <a:ext uri="{FF2B5EF4-FFF2-40B4-BE49-F238E27FC236}">
                  <a16:creationId xmlns:a16="http://schemas.microsoft.com/office/drawing/2014/main" id="{702E9F97-5959-7B68-1674-02E20618D576}"/>
                </a:ext>
              </a:extLst>
            </p:cNvPr>
            <p:cNvGrpSpPr/>
            <p:nvPr/>
          </p:nvGrpSpPr>
          <p:grpSpPr>
            <a:xfrm>
              <a:off x="4737294" y="-6677"/>
              <a:ext cx="2717412" cy="479061"/>
              <a:chOff x="4737294" y="-6677"/>
              <a:chExt cx="3106352" cy="547628"/>
            </a:xfrm>
          </p:grpSpPr>
          <p:sp>
            <p:nvSpPr>
              <p:cNvPr id="12" name="Round Same Side Corner Rectangle 4">
                <a:extLst>
                  <a:ext uri="{FF2B5EF4-FFF2-40B4-BE49-F238E27FC236}">
                    <a16:creationId xmlns:a16="http://schemas.microsoft.com/office/drawing/2014/main" id="{2BDD4A7D-0F08-3623-A500-A103450E3DEE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/>
              <p:nvPr/>
            </p:nvSpPr>
            <p:spPr bwMode="auto">
              <a:xfrm rot="10800000">
                <a:off x="4737294" y="-6677"/>
                <a:ext cx="3106352" cy="547628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="horz" wrap="square" lIns="182047" tIns="145638" rIns="182047" bIns="1456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367" rtl="0" eaLnBrk="1" latinLnBrk="0" hangingPunct="1">
                  <a:defRPr sz="1765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183" algn="l" defTabSz="914367" rtl="0" eaLnBrk="1" latinLnBrk="0" hangingPunct="1">
                  <a:defRPr sz="1765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367" algn="l" defTabSz="914367" rtl="0" eaLnBrk="1" latinLnBrk="0" hangingPunct="1">
                  <a:defRPr sz="1765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550" algn="l" defTabSz="914367" rtl="0" eaLnBrk="1" latinLnBrk="0" hangingPunct="1">
                  <a:defRPr sz="1765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734" algn="l" defTabSz="914367" rtl="0" eaLnBrk="1" latinLnBrk="0" hangingPunct="1">
                  <a:defRPr sz="1765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5918" algn="l" defTabSz="914367" rtl="0" eaLnBrk="1" latinLnBrk="0" hangingPunct="1">
                  <a:defRPr sz="1765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101" algn="l" defTabSz="914367" rtl="0" eaLnBrk="1" latinLnBrk="0" hangingPunct="1">
                  <a:defRPr sz="1765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284" algn="l" defTabSz="914367" rtl="0" eaLnBrk="1" latinLnBrk="0" hangingPunct="1">
                  <a:defRPr sz="1765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469" algn="l" defTabSz="914367" rtl="0" eaLnBrk="1" latinLnBrk="0" hangingPunct="1">
                  <a:defRPr sz="1765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2833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1" i="0" u="none" strike="noStrike" kern="1200" cap="none" spc="0" normalizeH="0" baseline="0" noProof="0" err="1">
                  <a:ln>
                    <a:noFill/>
                  </a:ln>
                  <a:solidFill>
                    <a:srgbClr val="091F2C"/>
                  </a:solidFill>
                  <a:effectLst/>
                  <a:uLnTx/>
                  <a:uFillTx/>
                  <a:latin typeface="Segoe UI Variable Display Semibold" pitchFamily="2" charset="0"/>
                  <a:ea typeface="Segoe UI" pitchFamily="34" charset="0"/>
                  <a:cs typeface="Segoe UI" pitchFamily="34" charset="0"/>
                  <a:sym typeface="Arial"/>
                </a:endParaRPr>
              </a:p>
            </p:txBody>
          </p:sp>
          <p:sp>
            <p:nvSpPr>
              <p:cNvPr id="13" name="Title 6">
                <a:extLst>
                  <a:ext uri="{FF2B5EF4-FFF2-40B4-BE49-F238E27FC236}">
                    <a16:creationId xmlns:a16="http://schemas.microsoft.com/office/drawing/2014/main" id="{16FFAF7A-4A36-EF77-81EA-2453A8522AE3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342287" y="100023"/>
                <a:ext cx="2333056" cy="316645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>
                <a:defPPr>
                  <a:defRPr lang="en-US"/>
                </a:defPPr>
                <a:lvl1pPr marL="0" algn="ctr" defTabSz="491019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None/>
                  <a:defRPr lang="en-US" sz="4800" b="0" kern="1200" cap="none" spc="-50" baseline="0">
                    <a:ln w="3175">
                      <a:noFill/>
                    </a:ln>
                    <a:gradFill>
                      <a:gsLst>
                        <a:gs pos="1399">
                          <a:srgbClr val="FFFFFF"/>
                        </a:gs>
                        <a:gs pos="12587">
                          <a:srgbClr val="FFFFFF"/>
                        </a:gs>
                      </a:gsLst>
                      <a:path path="circle">
                        <a:fillToRect l="100000" t="100000"/>
                      </a:path>
                    </a:gradFill>
                    <a:effectLst/>
                    <a:latin typeface="Segoe UI Variable Display Semib" pitchFamily="2" charset="0"/>
                    <a:ea typeface="+mn-ea"/>
                    <a:cs typeface="Segoe UI" pitchFamily="34" charset="0"/>
                  </a:defRPr>
                </a:lvl1pPr>
                <a:lvl2pPr marL="457183" algn="l" defTabSz="914367" rtl="0" eaLnBrk="1" latinLnBrk="0" hangingPunct="1">
                  <a:defRPr sz="1765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367" algn="l" defTabSz="914367" rtl="0" eaLnBrk="1" latinLnBrk="0" hangingPunct="1">
                  <a:defRPr sz="1765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550" algn="l" defTabSz="914367" rtl="0" eaLnBrk="1" latinLnBrk="0" hangingPunct="1">
                  <a:defRPr sz="1765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734" algn="l" defTabSz="914367" rtl="0" eaLnBrk="1" latinLnBrk="0" hangingPunct="1">
                  <a:defRPr sz="1765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5918" algn="l" defTabSz="914367" rtl="0" eaLnBrk="1" latinLnBrk="0" hangingPunct="1">
                  <a:defRPr sz="1765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101" algn="l" defTabSz="914367" rtl="0" eaLnBrk="1" latinLnBrk="0" hangingPunct="1">
                  <a:defRPr sz="1765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284" algn="l" defTabSz="914367" rtl="0" eaLnBrk="1" latinLnBrk="0" hangingPunct="1">
                  <a:defRPr sz="1765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469" algn="l" defTabSz="914367" rtl="0" eaLnBrk="1" latinLnBrk="0" hangingPunct="1">
                  <a:defRPr sz="1765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28098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Variable Display Semibold"/>
                    <a:ea typeface="+mn-ea"/>
                    <a:cs typeface="Segoe UI"/>
                    <a:sym typeface="Arial"/>
                  </a:rPr>
                  <a:t>Azure AI Foundry</a:t>
                </a:r>
                <a:endParaRPr kumimoji="0" lang="en-CA" sz="1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Variable Display Semibold"/>
                  <a:ea typeface="+mn-ea"/>
                  <a:cs typeface="Segoe UI"/>
                  <a:sym typeface="Arial"/>
                </a:endParaRPr>
              </a:p>
            </p:txBody>
          </p: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143169C0-C142-DD27-1318-F447C02EC327}"/>
                </a:ext>
              </a:extLst>
            </p:cNvPr>
            <p:cNvGrpSpPr/>
            <p:nvPr/>
          </p:nvGrpSpPr>
          <p:grpSpPr>
            <a:xfrm>
              <a:off x="4819500" y="69850"/>
              <a:ext cx="321725" cy="321725"/>
              <a:chOff x="4889841" y="66675"/>
              <a:chExt cx="321725" cy="321725"/>
            </a:xfrm>
          </p:grpSpPr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98832D2D-D821-9CBE-81DC-BB053633E02F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/>
              <p:nvPr/>
            </p:nvSpPr>
            <p:spPr bwMode="auto">
              <a:xfrm>
                <a:off x="4889841" y="66675"/>
                <a:ext cx="321725" cy="321725"/>
              </a:xfrm>
              <a:prstGeom prst="ellipse">
                <a:avLst/>
              </a:prstGeom>
              <a:solidFill>
                <a:schemeClr val="bg1"/>
              </a:solidFill>
              <a:ln w="165100"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="horz" wrap="square" lIns="182047" tIns="145638" rIns="182047" bIns="1456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367" rtl="0" eaLnBrk="1" latinLnBrk="0" hangingPunct="1">
                  <a:defRPr sz="1765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183" algn="l" defTabSz="914367" rtl="0" eaLnBrk="1" latinLnBrk="0" hangingPunct="1">
                  <a:defRPr sz="1765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367" algn="l" defTabSz="914367" rtl="0" eaLnBrk="1" latinLnBrk="0" hangingPunct="1">
                  <a:defRPr sz="1765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550" algn="l" defTabSz="914367" rtl="0" eaLnBrk="1" latinLnBrk="0" hangingPunct="1">
                  <a:defRPr sz="1765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734" algn="l" defTabSz="914367" rtl="0" eaLnBrk="1" latinLnBrk="0" hangingPunct="1">
                  <a:defRPr sz="1765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5918" algn="l" defTabSz="914367" rtl="0" eaLnBrk="1" latinLnBrk="0" hangingPunct="1">
                  <a:defRPr sz="1765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101" algn="l" defTabSz="914367" rtl="0" eaLnBrk="1" latinLnBrk="0" hangingPunct="1">
                  <a:defRPr sz="1765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284" algn="l" defTabSz="914367" rtl="0" eaLnBrk="1" latinLnBrk="0" hangingPunct="1">
                  <a:defRPr sz="1765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469" algn="l" defTabSz="914367" rtl="0" eaLnBrk="1" latinLnBrk="0" hangingPunct="1">
                  <a:defRPr sz="1765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2833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91F2C"/>
                  </a:solidFill>
                  <a:effectLst/>
                  <a:uLnTx/>
                  <a:uFillTx/>
                  <a:latin typeface="Segoe UI Variable Display Semibold" pitchFamily="2" charset="0"/>
                  <a:ea typeface="Segoe UI" pitchFamily="34" charset="0"/>
                  <a:cs typeface="Segoe UI" pitchFamily="34" charset="0"/>
                  <a:sym typeface="Arial"/>
                </a:endParaRPr>
              </a:p>
            </p:txBody>
          </p:sp>
          <p:pic>
            <p:nvPicPr>
              <p:cNvPr id="11" name="Graphic 9">
                <a:extLst>
                  <a:ext uri="{FF2B5EF4-FFF2-40B4-BE49-F238E27FC236}">
                    <a16:creationId xmlns:a16="http://schemas.microsoft.com/office/drawing/2014/main" id="{6E18EC20-7E11-8892-7AFE-19422C5D9889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4947079" y="123914"/>
                <a:ext cx="207248" cy="207247"/>
              </a:xfrm>
              <a:prstGeom prst="rect">
                <a:avLst/>
              </a:prstGeom>
              <a:effectLst/>
            </p:spPr>
          </p:pic>
        </p:grpSp>
      </p:grpSp>
      <p:sp>
        <p:nvSpPr>
          <p:cNvPr id="14" name="Title 17">
            <a:extLst>
              <a:ext uri="{FF2B5EF4-FFF2-40B4-BE49-F238E27FC236}">
                <a16:creationId xmlns:a16="http://schemas.microsoft.com/office/drawing/2014/main" id="{0F98EE5C-5868-4D40-CBC9-C269009A3040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04101" y="2101469"/>
            <a:ext cx="11017250" cy="67627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50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-50" normalizeH="0" baseline="0" noProof="0" dirty="0">
                <a:ln w="3175"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Sans Display Semibold"/>
                <a:ea typeface="+mn-ea"/>
                <a:cs typeface="Segoe Sans Display Semibold"/>
              </a:rPr>
              <a:t>Models Sold Directly By Azure</a:t>
            </a:r>
            <a:endParaRPr kumimoji="0" lang="en-US" sz="4400" b="1" i="0" u="none" strike="noStrike" kern="1200" cap="none" spc="-50" normalizeH="0" baseline="0" noProof="0" dirty="0">
              <a:ln w="3175">
                <a:noFill/>
              </a:ln>
              <a:solidFill>
                <a:schemeClr val="tx1"/>
              </a:solidFill>
              <a:effectLst/>
              <a:uLnTx/>
              <a:uFillTx/>
              <a:latin typeface="Segoe Sans Display Semibold" pitchFamily="2" charset="0"/>
              <a:ea typeface="+mn-ea"/>
              <a:cs typeface="Segoe Sans Display Semibold" pitchFamily="2" charset="0"/>
            </a:endParaRPr>
          </a:p>
        </p:txBody>
      </p:sp>
      <p:sp>
        <p:nvSpPr>
          <p:cNvPr id="15" name="Text Placeholder 18">
            <a:extLst>
              <a:ext uri="{FF2B5EF4-FFF2-40B4-BE49-F238E27FC236}">
                <a16:creationId xmlns:a16="http://schemas.microsoft.com/office/drawing/2014/main" id="{28CFA5A6-B160-131E-E003-61CA27130F76}"/>
              </a:ext>
            </a:extLst>
          </p:cNvPr>
          <p:cNvSpPr txBox="1">
            <a:spLocks/>
          </p:cNvSpPr>
          <p:nvPr/>
        </p:nvSpPr>
        <p:spPr>
          <a:xfrm>
            <a:off x="604101" y="2887607"/>
            <a:ext cx="11017250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solidFill>
                  <a:schemeClr val="tx1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268231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352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2400" b="0" i="1" u="none" strike="noStrike" kern="1200" cap="none" spc="0" normalizeH="0" baseline="0" noProof="0">
                <a:ln w="3175">
                  <a:noFill/>
                </a:ln>
                <a:gradFill flip="none">
                  <a:gsLst>
                    <a:gs pos="0">
                      <a:srgbClr val="0078D4"/>
                    </a:gs>
                    <a:gs pos="99000">
                      <a:srgbClr val="C03BC4"/>
                    </a:gs>
                  </a:gsLst>
                  <a:lin ang="0" scaled="1"/>
                  <a:tileRect/>
                </a:gradFill>
                <a:effectLst/>
                <a:uLnTx/>
                <a:uFillTx/>
                <a:latin typeface="Segoe Sans Display"/>
                <a:ea typeface="+mn-lt"/>
                <a:cs typeface="Segoe Sans Display"/>
                <a:sym typeface="Arial"/>
              </a:rPr>
              <a:t>Enterprise-grade reliability with simplified operations</a:t>
            </a:r>
            <a:endParaRPr kumimoji="0" lang="en-US" sz="2400" b="0" i="1" u="none" strike="noStrike" kern="1200" cap="none" spc="0" normalizeH="0" baseline="0" noProof="0">
              <a:ln>
                <a:noFill/>
              </a:ln>
              <a:gradFill flip="none" rotWithShape="1">
                <a:gsLst>
                  <a:gs pos="0">
                    <a:srgbClr val="0078D4"/>
                  </a:gs>
                  <a:gs pos="99000">
                    <a:srgbClr val="C03BC4"/>
                  </a:gs>
                </a:gsLst>
                <a:lin ang="0" scaled="1"/>
                <a:tileRect/>
              </a:gradFill>
              <a:effectLst/>
              <a:uLnTx/>
              <a:uFillTx/>
              <a:latin typeface="Segoe Sans Display" pitchFamily="2" charset="0"/>
              <a:ea typeface="+mn-ea"/>
              <a:cs typeface="Segoe Sans Display" pitchFamily="2" charset="0"/>
              <a:sym typeface="Arial"/>
            </a:endParaRPr>
          </a:p>
        </p:txBody>
      </p:sp>
      <p:grpSp>
        <p:nvGrpSpPr>
          <p:cNvPr id="110" name="Group 109">
            <a:extLst>
              <a:ext uri="{FF2B5EF4-FFF2-40B4-BE49-F238E27FC236}">
                <a16:creationId xmlns:a16="http://schemas.microsoft.com/office/drawing/2014/main" id="{E16C6440-DA10-C1E7-AE71-2A5EB83ABDD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2828173" y="3294533"/>
            <a:ext cx="6180142" cy="1053426"/>
            <a:chOff x="2826303" y="880180"/>
            <a:chExt cx="6180142" cy="1053426"/>
          </a:xfrm>
        </p:grpSpPr>
        <p:grpSp>
          <p:nvGrpSpPr>
            <p:cNvPr id="86" name="Group 85">
              <a:extLst>
                <a:ext uri="{FF2B5EF4-FFF2-40B4-BE49-F238E27FC236}">
                  <a16:creationId xmlns:a16="http://schemas.microsoft.com/office/drawing/2014/main" id="{89DD5387-50C3-7D7E-BA17-8196929CB106}"/>
                </a:ext>
              </a:extLst>
            </p:cNvPr>
            <p:cNvGrpSpPr/>
            <p:nvPr/>
          </p:nvGrpSpPr>
          <p:grpSpPr>
            <a:xfrm>
              <a:off x="2826303" y="925222"/>
              <a:ext cx="1062898" cy="963468"/>
              <a:chOff x="2835247" y="2585034"/>
              <a:chExt cx="1062898" cy="963468"/>
            </a:xfrm>
          </p:grpSpPr>
          <p:pic>
            <p:nvPicPr>
              <p:cNvPr id="93" name="Picture 92" descr="Azure Open AI Service Icon">
                <a:extLst>
                  <a:ext uri="{FF2B5EF4-FFF2-40B4-BE49-F238E27FC236}">
                    <a16:creationId xmlns:a16="http://schemas.microsoft.com/office/drawing/2014/main" id="{F10A9574-DCC5-F4EF-418E-785C63CD20EC}"/>
                  </a:ext>
                  <a:ext uri="{C183D7F6-B498-43B3-948B-1728B52AA6E4}">
                    <adec:decorative xmlns:adec="http://schemas.microsoft.com/office/drawing/2017/decorative" val="0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19172" y="2585034"/>
                <a:ext cx="495048" cy="495048"/>
              </a:xfrm>
              <a:prstGeom prst="rect">
                <a:avLst/>
              </a:prstGeom>
            </p:spPr>
          </p:pic>
          <p:sp>
            <p:nvSpPr>
              <p:cNvPr id="94" name="TextBox 93">
                <a:extLst>
                  <a:ext uri="{FF2B5EF4-FFF2-40B4-BE49-F238E27FC236}">
                    <a16:creationId xmlns:a16="http://schemas.microsoft.com/office/drawing/2014/main" id="{C5E317AE-9870-4BD3-145E-0A1CEF125355}"/>
                  </a:ext>
                </a:extLst>
              </p:cNvPr>
              <p:cNvSpPr txBox="1"/>
              <p:nvPr/>
            </p:nvSpPr>
            <p:spPr>
              <a:xfrm>
                <a:off x="2835247" y="3133004"/>
                <a:ext cx="1062898" cy="41549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Sans Text"/>
                    <a:ea typeface="+mn-ea"/>
                    <a:cs typeface="Arial"/>
                    <a:sym typeface="Arial"/>
                  </a:rPr>
                  <a:t>OpenAI</a:t>
                </a:r>
                <a:br>
                  <a:rPr kumimoji="0" lang="en-US" sz="10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Sans Text"/>
                    <a:ea typeface="+mn-ea"/>
                    <a:cs typeface="Arial"/>
                    <a:sym typeface="Arial"/>
                  </a:rPr>
                </a:br>
                <a:r>
                  <a:rPr kumimoji="0" lang="en-US" sz="10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Sans Text"/>
                    <a:ea typeface="+mn-ea"/>
                    <a:cs typeface="Arial"/>
                    <a:sym typeface="Arial"/>
                  </a:rPr>
                  <a:t>Model Family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00" b="0" i="1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Sans Text"/>
                    <a:ea typeface="+mn-ea"/>
                    <a:cs typeface="Arial"/>
                    <a:sym typeface="Arial"/>
                  </a:rPr>
                  <a:t>(available day 1)</a:t>
                </a:r>
              </a:p>
            </p:txBody>
          </p:sp>
        </p:grpSp>
        <p:grpSp>
          <p:nvGrpSpPr>
            <p:cNvPr id="87" name="Group 86">
              <a:extLst>
                <a:ext uri="{FF2B5EF4-FFF2-40B4-BE49-F238E27FC236}">
                  <a16:creationId xmlns:a16="http://schemas.microsoft.com/office/drawing/2014/main" id="{1A821DC7-FE24-648C-564F-52611472708F}"/>
                </a:ext>
              </a:extLst>
            </p:cNvPr>
            <p:cNvGrpSpPr/>
            <p:nvPr/>
          </p:nvGrpSpPr>
          <p:grpSpPr>
            <a:xfrm>
              <a:off x="3813099" y="1004752"/>
              <a:ext cx="992001" cy="790508"/>
              <a:chOff x="3798277" y="2641880"/>
              <a:chExt cx="992001" cy="790508"/>
            </a:xfrm>
          </p:grpSpPr>
          <p:sp>
            <p:nvSpPr>
              <p:cNvPr id="91" name="TextBox 90">
                <a:extLst>
                  <a:ext uri="{FF2B5EF4-FFF2-40B4-BE49-F238E27FC236}">
                    <a16:creationId xmlns:a16="http://schemas.microsoft.com/office/drawing/2014/main" id="{9F2FAA33-9AB7-0CD6-68EC-76BE67CCC957}"/>
                  </a:ext>
                </a:extLst>
              </p:cNvPr>
              <p:cNvSpPr txBox="1"/>
              <p:nvPr/>
            </p:nvSpPr>
            <p:spPr>
              <a:xfrm>
                <a:off x="3798277" y="3124611"/>
                <a:ext cx="992001" cy="3077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Sans Text"/>
                    <a:cs typeface="Arial"/>
                    <a:sym typeface="Arial"/>
                  </a:rPr>
                  <a:t>DeepSeek</a:t>
                </a:r>
                <a:br>
                  <a:rPr kumimoji="0" lang="en-US" sz="10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Sans Text"/>
                    <a:cs typeface="Arial"/>
                    <a:sym typeface="Arial"/>
                  </a:rPr>
                </a:br>
                <a:r>
                  <a:rPr kumimoji="0" lang="en-US" sz="10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Sans Text"/>
                    <a:cs typeface="Arial"/>
                    <a:sym typeface="Arial"/>
                  </a:rPr>
                  <a:t>latest</a:t>
                </a:r>
              </a:p>
            </p:txBody>
          </p:sp>
          <p:pic>
            <p:nvPicPr>
              <p:cNvPr id="92" name="Picture 91">
                <a:extLst>
                  <a:ext uri="{FF2B5EF4-FFF2-40B4-BE49-F238E27FC236}">
                    <a16:creationId xmlns:a16="http://schemas.microsoft.com/office/drawing/2014/main" id="{26BB5931-F17A-D408-F7A5-B6B3F0C1C0E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backgroundRemoval t="9649" b="89474" l="9910" r="93694">
                            <a14:foregroundMark x1="93694" y1="28947" x2="92793" y2="28947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072897" y="2641880"/>
                <a:ext cx="445208" cy="457241"/>
              </a:xfrm>
              <a:prstGeom prst="rect">
                <a:avLst/>
              </a:prstGeom>
            </p:spPr>
          </p:pic>
        </p:grpSp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E71EBA93-8A49-B69C-7069-B82B039EA09B}"/>
                </a:ext>
              </a:extLst>
            </p:cNvPr>
            <p:cNvSpPr txBox="1"/>
            <p:nvPr/>
          </p:nvSpPr>
          <p:spPr>
            <a:xfrm>
              <a:off x="5823517" y="1475312"/>
              <a:ext cx="1062898" cy="4154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lvl="0" algn="ctr">
                <a:buClrTx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Arial"/>
                  <a:sym typeface="Arial"/>
                </a:rPr>
                <a:t>Mistral AI</a:t>
              </a:r>
              <a:b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Arial"/>
                  <a:sym typeface="Arial"/>
                </a:rPr>
              </a:b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Arial"/>
                  <a:sym typeface="Arial"/>
                </a:rPr>
                <a:t>latest</a:t>
              </a:r>
              <a:b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Arial"/>
                  <a:sym typeface="Arial"/>
                </a:rPr>
              </a:br>
              <a:r>
                <a:rPr lang="en-US" sz="700" i="1" kern="1200" dirty="0">
                  <a:latin typeface="Segoe Sans Text"/>
                </a:rPr>
                <a:t>(coming soon)</a:t>
              </a:r>
              <a:endParaRPr kumimoji="0" lang="en-US" sz="7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Arial"/>
                <a:sym typeface="Arial"/>
              </a:endParaRPr>
            </a:p>
          </p:txBody>
        </p:sp>
        <p:grpSp>
          <p:nvGrpSpPr>
            <p:cNvPr id="96" name="Group 95">
              <a:extLst>
                <a:ext uri="{FF2B5EF4-FFF2-40B4-BE49-F238E27FC236}">
                  <a16:creationId xmlns:a16="http://schemas.microsoft.com/office/drawing/2014/main" id="{70D89EC9-74CF-7EB8-8E1C-E3C97CF0FEBB}"/>
                </a:ext>
              </a:extLst>
            </p:cNvPr>
            <p:cNvGrpSpPr/>
            <p:nvPr/>
          </p:nvGrpSpPr>
          <p:grpSpPr>
            <a:xfrm>
              <a:off x="6880649" y="977109"/>
              <a:ext cx="1062898" cy="872241"/>
              <a:chOff x="2005774" y="3906482"/>
              <a:chExt cx="1062898" cy="872241"/>
            </a:xfrm>
          </p:grpSpPr>
          <p:pic>
            <p:nvPicPr>
              <p:cNvPr id="103" name="Picture 102">
                <a:extLst>
                  <a:ext uri="{FF2B5EF4-FFF2-40B4-BE49-F238E27FC236}">
                    <a16:creationId xmlns:a16="http://schemas.microsoft.com/office/drawing/2014/main" id="{826BAB19-A07C-938F-67E3-9E3B17B3A739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239115" y="3906482"/>
                <a:ext cx="501903" cy="333818"/>
              </a:xfrm>
              <a:prstGeom prst="rect">
                <a:avLst/>
              </a:prstGeom>
            </p:spPr>
          </p:pic>
          <p:sp>
            <p:nvSpPr>
              <p:cNvPr id="104" name="TextBox 103">
                <a:extLst>
                  <a:ext uri="{FF2B5EF4-FFF2-40B4-BE49-F238E27FC236}">
                    <a16:creationId xmlns:a16="http://schemas.microsoft.com/office/drawing/2014/main" id="{535D1D08-DD4A-DB5E-1BBC-0BF56851BC9C}"/>
                  </a:ext>
                </a:extLst>
              </p:cNvPr>
              <p:cNvSpPr txBox="1"/>
              <p:nvPr/>
            </p:nvSpPr>
            <p:spPr>
              <a:xfrm>
                <a:off x="2005774" y="4347836"/>
                <a:ext cx="1062898" cy="43088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Sans Text"/>
                    <a:ea typeface="+mn-ea"/>
                    <a:cs typeface="Arial"/>
                    <a:sym typeface="Arial"/>
                  </a:rPr>
                  <a:t>Meta Llama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Sans Text"/>
                    <a:cs typeface="Arial"/>
                    <a:sym typeface="Arial"/>
                  </a:rPr>
                  <a:t>latest</a:t>
                </a:r>
                <a:b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Sans Text"/>
                    <a:ea typeface="+mn-ea"/>
                    <a:cs typeface="Arial"/>
                    <a:sym typeface="Arial"/>
                  </a:rPr>
                </a:br>
                <a:r>
                  <a:rPr kumimoji="0" lang="en-US" sz="8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Sans Text"/>
                    <a:ea typeface="+mn-ea"/>
                    <a:cs typeface="Arial"/>
                    <a:sym typeface="Arial"/>
                  </a:rPr>
                  <a:t>(coming soon)</a:t>
                </a:r>
                <a:endParaRPr kumimoji="0" lang="en-US" sz="1000" b="0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Arial"/>
                  <a:sym typeface="Arial"/>
                </a:endParaRPr>
              </a:p>
            </p:txBody>
          </p:sp>
        </p:grpSp>
        <p:grpSp>
          <p:nvGrpSpPr>
            <p:cNvPr id="97" name="Group 96">
              <a:extLst>
                <a:ext uri="{FF2B5EF4-FFF2-40B4-BE49-F238E27FC236}">
                  <a16:creationId xmlns:a16="http://schemas.microsoft.com/office/drawing/2014/main" id="{D2739E7B-5BFA-C9D1-05D9-B855F8139B77}"/>
                </a:ext>
              </a:extLst>
            </p:cNvPr>
            <p:cNvGrpSpPr/>
            <p:nvPr/>
          </p:nvGrpSpPr>
          <p:grpSpPr>
            <a:xfrm>
              <a:off x="4602792" y="880180"/>
              <a:ext cx="1286107" cy="1053426"/>
              <a:chOff x="2630795" y="3817206"/>
              <a:chExt cx="1286107" cy="1053426"/>
            </a:xfrm>
          </p:grpSpPr>
          <p:sp>
            <p:nvSpPr>
              <p:cNvPr id="101" name="TextBox 100">
                <a:extLst>
                  <a:ext uri="{FF2B5EF4-FFF2-40B4-BE49-F238E27FC236}">
                    <a16:creationId xmlns:a16="http://schemas.microsoft.com/office/drawing/2014/main" id="{E95D30C1-1BC8-533A-F9B4-6FC150522F3F}"/>
                  </a:ext>
                </a:extLst>
              </p:cNvPr>
              <p:cNvSpPr txBox="1"/>
              <p:nvPr/>
            </p:nvSpPr>
            <p:spPr>
              <a:xfrm>
                <a:off x="2630795" y="4439745"/>
                <a:ext cx="1286107" cy="430887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Sans Text"/>
                    <a:cs typeface="Arial"/>
                    <a:sym typeface="Arial"/>
                  </a:rPr>
                  <a:t>xAI</a:t>
                </a:r>
                <a:r>
                  <a:rPr kumimoji="0" lang="en-US" sz="10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Sans Text"/>
                    <a:cs typeface="Arial"/>
                    <a:sym typeface="Arial"/>
                  </a:rPr>
                  <a:t> 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Sans Text"/>
                    <a:cs typeface="Arial"/>
                    <a:sym typeface="Arial"/>
                  </a:rPr>
                  <a:t>Grok</a:t>
                </a:r>
                <a:br>
                  <a:rPr kumimoji="0" lang="en-US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Sans Text"/>
                    <a:cs typeface="Arial"/>
                    <a:sym typeface="Arial"/>
                  </a:rPr>
                </a:br>
                <a:endParaRPr kumimoji="0" lang="en-US" sz="8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cs typeface="Segoe Sans Text"/>
                  <a:sym typeface="Arial"/>
                </a:endParaRPr>
              </a:p>
            </p:txBody>
          </p:sp>
          <p:pic>
            <p:nvPicPr>
              <p:cNvPr id="102" name="Picture 2" descr="Grok color icon in PNG, SVG">
                <a:extLst>
                  <a:ext uri="{FF2B5EF4-FFF2-40B4-BE49-F238E27FC236}">
                    <a16:creationId xmlns:a16="http://schemas.microsoft.com/office/drawing/2014/main" id="{A569D435-A702-829C-E21B-97A6A610F3C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970197" y="3817206"/>
                <a:ext cx="607303" cy="60730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98" name="Group 97">
              <a:extLst>
                <a:ext uri="{FF2B5EF4-FFF2-40B4-BE49-F238E27FC236}">
                  <a16:creationId xmlns:a16="http://schemas.microsoft.com/office/drawing/2014/main" id="{BEC34C64-F279-2177-4D69-9C40E3275C39}"/>
                </a:ext>
              </a:extLst>
            </p:cNvPr>
            <p:cNvGrpSpPr/>
            <p:nvPr/>
          </p:nvGrpSpPr>
          <p:grpSpPr>
            <a:xfrm>
              <a:off x="7943547" y="891546"/>
              <a:ext cx="1062898" cy="965268"/>
              <a:chOff x="4263589" y="3820919"/>
              <a:chExt cx="1062898" cy="965268"/>
            </a:xfrm>
          </p:grpSpPr>
          <p:sp>
            <p:nvSpPr>
              <p:cNvPr id="99" name="TextBox 98">
                <a:extLst>
                  <a:ext uri="{FF2B5EF4-FFF2-40B4-BE49-F238E27FC236}">
                    <a16:creationId xmlns:a16="http://schemas.microsoft.com/office/drawing/2014/main" id="{CC348888-248C-193D-D9C3-1A66A918A73B}"/>
                  </a:ext>
                </a:extLst>
              </p:cNvPr>
              <p:cNvSpPr txBox="1"/>
              <p:nvPr/>
            </p:nvSpPr>
            <p:spPr>
              <a:xfrm>
                <a:off x="4263589" y="4355300"/>
                <a:ext cx="1062898" cy="430887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Sans Text"/>
                    <a:cs typeface="Arial"/>
                    <a:sym typeface="Arial"/>
                  </a:rPr>
                  <a:t>Black Forest 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Sans Text"/>
                    <a:cs typeface="Arial"/>
                    <a:sym typeface="Arial"/>
                  </a:rPr>
                  <a:t>Labs</a:t>
                </a:r>
                <a:br>
                  <a:rPr kumimoji="0" lang="en-US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Sans Text"/>
                    <a:cs typeface="Arial"/>
                    <a:sym typeface="Arial"/>
                  </a:rPr>
                </a:br>
                <a:r>
                  <a:rPr kumimoji="0" lang="en-US" sz="800" b="0" i="1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Sans Text"/>
                    <a:ea typeface="+mn-ea"/>
                    <a:cs typeface="Arial"/>
                    <a:sym typeface="Arial"/>
                  </a:rPr>
                  <a:t>(coming soon)</a:t>
                </a: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Arial"/>
                </a:endParaRPr>
              </a:p>
            </p:txBody>
          </p:sp>
          <p:pic>
            <p:nvPicPr>
              <p:cNvPr id="100" name="Picture 8" descr="Flux 1.0 | [New Open-Source AI Model is Here] 🔥">
                <a:extLst>
                  <a:ext uri="{FF2B5EF4-FFF2-40B4-BE49-F238E27FC236}">
                    <a16:creationId xmlns:a16="http://schemas.microsoft.com/office/drawing/2014/main" id="{08F87FD2-35A0-2B6C-10E4-B3EF22A7005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492156" y="3820919"/>
                <a:ext cx="473895" cy="47389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pic>
        <p:nvPicPr>
          <p:cNvPr id="3" name="Picture 2" descr="A white letter on a red and yellow background">
            <a:extLst>
              <a:ext uri="{FF2B5EF4-FFF2-40B4-BE49-F238E27FC236}">
                <a16:creationId xmlns:a16="http://schemas.microsoft.com/office/drawing/2014/main" id="{1DD7A6BA-D5D7-98C4-485E-DA49B4D64640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3364046"/>
            <a:ext cx="4572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626173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15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DCC1BFB0-C4EE-142B-8042-EB721C54DF11}"/>
              </a:ext>
            </a:extLst>
          </p:cNvPr>
          <p:cNvCxnSpPr/>
          <p:nvPr/>
        </p:nvCxnSpPr>
        <p:spPr>
          <a:xfrm>
            <a:off x="369867" y="3729484"/>
            <a:ext cx="8445577" cy="19852"/>
          </a:xfrm>
          <a:prstGeom prst="straightConnector1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696F8E8B-4CA5-6DAB-152F-3C3DC4159937}"/>
              </a:ext>
            </a:extLst>
          </p:cNvPr>
          <p:cNvCxnSpPr>
            <a:cxnSpLocks/>
          </p:cNvCxnSpPr>
          <p:nvPr/>
        </p:nvCxnSpPr>
        <p:spPr>
          <a:xfrm>
            <a:off x="379048" y="5020758"/>
            <a:ext cx="8436396" cy="19852"/>
          </a:xfrm>
          <a:prstGeom prst="straightConnector1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A4D20F56-6398-F34D-AA4B-7D1447120075}"/>
              </a:ext>
            </a:extLst>
          </p:cNvPr>
          <p:cNvSpPr/>
          <p:nvPr/>
        </p:nvSpPr>
        <p:spPr>
          <a:xfrm>
            <a:off x="5285772" y="1333074"/>
            <a:ext cx="3000374" cy="5072033"/>
          </a:xfrm>
          <a:prstGeom prst="roundRect">
            <a:avLst/>
          </a:prstGeom>
          <a:solidFill>
            <a:srgbClr val="FFC000">
              <a:alpha val="19000"/>
            </a:srgbClr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5" name="Graphic 4" descr="Icon for aoai.">
            <a:extLst>
              <a:ext uri="{FF2B5EF4-FFF2-40B4-BE49-F238E27FC236}">
                <a16:creationId xmlns:a16="http://schemas.microsoft.com/office/drawing/2014/main" id="{E8252651-5340-1831-46A3-4A7E0465282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99084" y="1928186"/>
            <a:ext cx="501956" cy="506546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B4526E1-386C-BDFE-6CF1-99768E1E9CAB}"/>
              </a:ext>
            </a:extLst>
          </p:cNvPr>
          <p:cNvSpPr txBox="1"/>
          <p:nvPr/>
        </p:nvSpPr>
        <p:spPr>
          <a:xfrm>
            <a:off x="2495756" y="3007534"/>
            <a:ext cx="2311704" cy="4616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Only Azure OpenAI models are available for PTU deployment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CA28AA9-0671-DD60-29CB-46686A3B47C5}"/>
              </a:ext>
            </a:extLst>
          </p:cNvPr>
          <p:cNvSpPr txBox="1"/>
          <p:nvPr/>
        </p:nvSpPr>
        <p:spPr>
          <a:xfrm>
            <a:off x="5465720" y="3007535"/>
            <a:ext cx="2623848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irect from Azure models will offer PTU deployment options for high throughput &amp; low latency request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273E682-E150-191E-1D81-F2DC5F9DDA15}"/>
              </a:ext>
            </a:extLst>
          </p:cNvPr>
          <p:cNvSpPr txBox="1"/>
          <p:nvPr/>
        </p:nvSpPr>
        <p:spPr>
          <a:xfrm>
            <a:off x="611894" y="3104604"/>
            <a:ext cx="1531343" cy="58477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odel Choic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79BB0F6-24E5-866E-A07B-91F793D9534C}"/>
              </a:ext>
            </a:extLst>
          </p:cNvPr>
          <p:cNvSpPr txBox="1"/>
          <p:nvPr/>
        </p:nvSpPr>
        <p:spPr>
          <a:xfrm>
            <a:off x="611894" y="4003643"/>
            <a:ext cx="1939885" cy="58477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Reservation Fungibility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FE99C70-F95D-46C3-BD8F-BEAD05F0D093}"/>
              </a:ext>
            </a:extLst>
          </p:cNvPr>
          <p:cNvSpPr txBox="1"/>
          <p:nvPr/>
        </p:nvSpPr>
        <p:spPr>
          <a:xfrm>
            <a:off x="2495756" y="3884773"/>
            <a:ext cx="2311704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zure OpenAI PTU reservation can only support Azure OpenAI model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BFE6250-4C48-A2C4-44AA-524509961B1F}"/>
              </a:ext>
            </a:extLst>
          </p:cNvPr>
          <p:cNvSpPr txBox="1"/>
          <p:nvPr/>
        </p:nvSpPr>
        <p:spPr>
          <a:xfrm>
            <a:off x="5463153" y="3869658"/>
            <a:ext cx="2573353" cy="101566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New Azure AI Foundry Provisioned Throughput Unit Reservation will support all Azure Direct models which are enabled with PTU capabilit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86394D7A-EBA6-0E09-E79B-D87E55D99AF6}"/>
              </a:ext>
            </a:extLst>
          </p:cNvPr>
          <p:cNvSpPr txBox="1"/>
          <p:nvPr/>
        </p:nvSpPr>
        <p:spPr>
          <a:xfrm>
            <a:off x="611894" y="5178774"/>
            <a:ext cx="1595607" cy="83099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odel agnostic PTU Quota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CD9DFC4-9813-B99A-41D5-3C4E6FFD70C0}"/>
              </a:ext>
            </a:extLst>
          </p:cNvPr>
          <p:cNvSpPr txBox="1"/>
          <p:nvPr/>
        </p:nvSpPr>
        <p:spPr>
          <a:xfrm>
            <a:off x="2495756" y="5178774"/>
            <a:ext cx="2311704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TU quota can only support OpenAI models under the same region/subscription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9E8D2282-EAD2-CF72-9D87-6985CA1E6C1D}"/>
              </a:ext>
            </a:extLst>
          </p:cNvPr>
          <p:cNvSpPr txBox="1"/>
          <p:nvPr/>
        </p:nvSpPr>
        <p:spPr>
          <a:xfrm>
            <a:off x="5488672" y="5178774"/>
            <a:ext cx="2623847" cy="83099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TU quota can be used across all Azure Direct models under the same region/subscription with Provisioned Throughput option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FE758054-8112-0568-9544-0DE8DD4D512C}"/>
              </a:ext>
            </a:extLst>
          </p:cNvPr>
          <p:cNvSpPr txBox="1"/>
          <p:nvPr/>
        </p:nvSpPr>
        <p:spPr>
          <a:xfrm>
            <a:off x="9036309" y="2181339"/>
            <a:ext cx="2605487" cy="33855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What you will get</a:t>
            </a:r>
            <a:endParaRPr kumimoji="0" lang="en-US" sz="200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42" name="Graphic 41" descr="Checkbox Checked with solid fill">
            <a:extLst>
              <a:ext uri="{FF2B5EF4-FFF2-40B4-BE49-F238E27FC236}">
                <a16:creationId xmlns:a16="http://schemas.microsoft.com/office/drawing/2014/main" id="{2DFE3AAB-D391-F16A-9ECD-70EE5548870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369763" y="2864508"/>
            <a:ext cx="661931" cy="707834"/>
          </a:xfrm>
          <a:prstGeom prst="rect">
            <a:avLst/>
          </a:prstGeom>
        </p:spPr>
      </p:pic>
      <p:pic>
        <p:nvPicPr>
          <p:cNvPr id="43" name="Graphic 42" descr="Checkbox Checked with solid fill">
            <a:extLst>
              <a:ext uri="{FF2B5EF4-FFF2-40B4-BE49-F238E27FC236}">
                <a16:creationId xmlns:a16="http://schemas.microsoft.com/office/drawing/2014/main" id="{5CE79029-E1D2-2A61-F78C-3C0A89E83A4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345497" y="4008535"/>
            <a:ext cx="661931" cy="707834"/>
          </a:xfrm>
          <a:prstGeom prst="rect">
            <a:avLst/>
          </a:prstGeom>
        </p:spPr>
      </p:pic>
      <p:pic>
        <p:nvPicPr>
          <p:cNvPr id="45" name="Graphic 44" descr="Checkbox Checked with solid fill">
            <a:extLst>
              <a:ext uri="{FF2B5EF4-FFF2-40B4-BE49-F238E27FC236}">
                <a16:creationId xmlns:a16="http://schemas.microsoft.com/office/drawing/2014/main" id="{EEC09F19-4FDA-E912-B5CA-7A2B09196E3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369238" y="5210094"/>
            <a:ext cx="661931" cy="707834"/>
          </a:xfrm>
          <a:prstGeom prst="rect">
            <a:avLst/>
          </a:prstGeom>
        </p:spPr>
      </p:pic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B7D7BA4B-797D-D7BA-8F4E-3C7B2E81C896}"/>
              </a:ext>
            </a:extLst>
          </p:cNvPr>
          <p:cNvSpPr/>
          <p:nvPr/>
        </p:nvSpPr>
        <p:spPr>
          <a:xfrm>
            <a:off x="5674123" y="1687003"/>
            <a:ext cx="2215652" cy="1219199"/>
          </a:xfrm>
          <a:prstGeom prst="round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8" name="Graphic 7" descr="Icon for meta.">
            <a:extLst>
              <a:ext uri="{FF2B5EF4-FFF2-40B4-BE49-F238E27FC236}">
                <a16:creationId xmlns:a16="http://schemas.microsoft.com/office/drawing/2014/main" id="{A0FD6574-A6D8-4BB8-037F-F70376459A3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226813" y="1845831"/>
            <a:ext cx="514579" cy="360342"/>
          </a:xfrm>
          <a:prstGeom prst="rect">
            <a:avLst/>
          </a:prstGeom>
        </p:spPr>
      </p:pic>
      <p:pic>
        <p:nvPicPr>
          <p:cNvPr id="11" name="Graphic 10" descr="Icon for mistral.">
            <a:extLst>
              <a:ext uri="{FF2B5EF4-FFF2-40B4-BE49-F238E27FC236}">
                <a16:creationId xmlns:a16="http://schemas.microsoft.com/office/drawing/2014/main" id="{2E5832A8-57F2-AA6C-BDC6-5144F477F7A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529421" y="2349738"/>
            <a:ext cx="502300" cy="442625"/>
          </a:xfrm>
          <a:prstGeom prst="rect">
            <a:avLst/>
          </a:prstGeom>
        </p:spPr>
      </p:pic>
      <p:pic>
        <p:nvPicPr>
          <p:cNvPr id="15" name="Graphic 14" descr="Icon for aoai.">
            <a:extLst>
              <a:ext uri="{FF2B5EF4-FFF2-40B4-BE49-F238E27FC236}">
                <a16:creationId xmlns:a16="http://schemas.microsoft.com/office/drawing/2014/main" id="{65DBCBAA-E03F-16B2-D696-DAA5EC03343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966185" y="1836994"/>
            <a:ext cx="382607" cy="382607"/>
          </a:xfrm>
          <a:prstGeom prst="rect">
            <a:avLst/>
          </a:prstGeom>
        </p:spPr>
      </p:pic>
      <p:pic>
        <p:nvPicPr>
          <p:cNvPr id="10" name="Picture 9" descr="xAI Logo PNG Vector - BrandLogo">
            <a:extLst>
              <a:ext uri="{FF2B5EF4-FFF2-40B4-BE49-F238E27FC236}">
                <a16:creationId xmlns:a16="http://schemas.microsoft.com/office/drawing/2014/main" id="{47049D2B-E19D-2C31-03F3-A3093EF072A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960371" y="2312335"/>
            <a:ext cx="402116" cy="425067"/>
          </a:xfrm>
          <a:prstGeom prst="rect">
            <a:avLst/>
          </a:prstGeom>
        </p:spPr>
      </p:pic>
      <p:pic>
        <p:nvPicPr>
          <p:cNvPr id="16" name="Picture 8" descr="Flux 1.0 | [New Open-Source AI Model is Here] 🔥">
            <a:extLst>
              <a:ext uri="{FF2B5EF4-FFF2-40B4-BE49-F238E27FC236}">
                <a16:creationId xmlns:a16="http://schemas.microsoft.com/office/drawing/2014/main" id="{6B1ABD36-F22B-92E7-51CE-9B7E91F217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27426" y="2288673"/>
            <a:ext cx="473895" cy="473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Title 1">
            <a:extLst>
              <a:ext uri="{FF2B5EF4-FFF2-40B4-BE49-F238E27FC236}">
                <a16:creationId xmlns:a16="http://schemas.microsoft.com/office/drawing/2014/main" id="{D03A6AFD-A6BC-9BE4-5B77-408BD8B3AFCD}"/>
              </a:ext>
            </a:extLst>
          </p:cNvPr>
          <p:cNvSpPr txBox="1">
            <a:spLocks/>
          </p:cNvSpPr>
          <p:nvPr/>
        </p:nvSpPr>
        <p:spPr>
          <a:xfrm>
            <a:off x="93205" y="185405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ctr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6000" b="0" kern="1200" cap="none" spc="-50" baseline="0">
                <a:ln w="3175"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+mj-lt"/>
                <a:ea typeface="+mn-ea"/>
                <a:cs typeface="Segoe Sans Text" pitchFamily="2" charset="0"/>
              </a:defRPr>
            </a:lvl1pPr>
          </a:lstStyle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-50" normalizeH="0" baseline="0" noProof="0" dirty="0">
                <a:ln w="3175"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            Azure AI Foundry PTU Offering</a:t>
            </a:r>
          </a:p>
        </p:txBody>
      </p:sp>
      <p:pic>
        <p:nvPicPr>
          <p:cNvPr id="31" name="Picture 30" descr="A blue whale with a black background&#10;&#10;AI-generated content may be incorrect.">
            <a:extLst>
              <a:ext uri="{FF2B5EF4-FFF2-40B4-BE49-F238E27FC236}">
                <a16:creationId xmlns:a16="http://schemas.microsoft.com/office/drawing/2014/main" id="{13D5B432-FB40-62CD-892D-589B00FA7953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ackgroundRemoval t="9649" b="89474" l="9910" r="93694">
                        <a14:foregroundMark x1="93694" y1="28947" x2="92793" y2="28947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548760" y="1786208"/>
            <a:ext cx="498596" cy="500922"/>
          </a:xfrm>
          <a:prstGeom prst="rect">
            <a:avLst/>
          </a:prstGeom>
        </p:spPr>
      </p:pic>
      <p:sp>
        <p:nvSpPr>
          <p:cNvPr id="33" name="Rounded Rectangle 6">
            <a:extLst>
              <a:ext uri="{FF2B5EF4-FFF2-40B4-BE49-F238E27FC236}">
                <a16:creationId xmlns:a16="http://schemas.microsoft.com/office/drawing/2014/main" id="{425C399B-70C0-FDD7-FE52-E170841707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5463741" y="992094"/>
            <a:ext cx="2615251" cy="400389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FFB900"/>
              </a:gs>
              <a:gs pos="100000">
                <a:srgbClr val="FF5C39"/>
              </a:gs>
            </a:gsLst>
            <a:lin ang="2700000" scaled="0"/>
          </a:gradFill>
          <a:ln w="19050" cap="flat" cmpd="sng" algn="ctr">
            <a:noFill/>
            <a:prstDash val="solid"/>
            <a:miter lim="800000"/>
          </a:ln>
          <a:effectLst>
            <a:outerShdw blurRad="63500" dist="63500" dir="2400000" algn="ctr" rotWithShape="0">
              <a:srgbClr val="454142">
                <a:alpha val="20000"/>
              </a:srgbClr>
            </a:outerShdw>
          </a:effectLst>
        </p:spPr>
        <p:txBody>
          <a:bodyPr lIns="182880" tIns="0" rIns="182880" bIns="4572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New PTU Offering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35" name="Rounded Rectangle 6">
            <a:extLst>
              <a:ext uri="{FF2B5EF4-FFF2-40B4-BE49-F238E27FC236}">
                <a16:creationId xmlns:a16="http://schemas.microsoft.com/office/drawing/2014/main" id="{BCB8A0F1-13A9-FD73-68D0-E0AA2ED7D5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2415831" y="990212"/>
            <a:ext cx="2615250" cy="400389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8DE971"/>
              </a:gs>
              <a:gs pos="100000">
                <a:srgbClr val="49C5B1"/>
              </a:gs>
            </a:gsLst>
            <a:lin ang="2700000" scaled="0"/>
          </a:gradFill>
          <a:ln w="19050" cap="flat" cmpd="sng" algn="ctr">
            <a:noFill/>
            <a:prstDash val="solid"/>
            <a:miter lim="800000"/>
          </a:ln>
          <a:effectLst>
            <a:outerShdw blurRad="63500" dist="63500" dir="2400000" algn="ctr" rotWithShape="0">
              <a:srgbClr val="454142">
                <a:alpha val="20000"/>
              </a:srgbClr>
            </a:outerShdw>
          </a:effectLst>
        </p:spPr>
        <p:txBody>
          <a:bodyPr lIns="182880" tIns="0" rIns="182880" bIns="4572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oday's PTU Offering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47" name="Rounded Rectangle 12">
            <a:extLst>
              <a:ext uri="{FF2B5EF4-FFF2-40B4-BE49-F238E27FC236}">
                <a16:creationId xmlns:a16="http://schemas.microsoft.com/office/drawing/2014/main" id="{8794366B-9E75-A680-E673-AFCB7D9152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9030869" y="2762609"/>
            <a:ext cx="2909310" cy="914400"/>
          </a:xfrm>
          <a:prstGeom prst="roundRect">
            <a:avLst>
              <a:gd name="adj" fmla="val 19649"/>
            </a:avLst>
          </a:prstGeom>
          <a:gradFill flip="none" rotWithShape="1">
            <a:gsLst>
              <a:gs pos="0">
                <a:srgbClr val="0078D4"/>
              </a:gs>
              <a:gs pos="99000">
                <a:srgbClr val="C03BC4"/>
              </a:gs>
            </a:gsLst>
            <a:lin ang="0" scaled="1"/>
            <a:tileRect/>
          </a:gradFill>
          <a:ln w="1270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101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lt"/>
                <a:cs typeface="Segoe UI" panose="020B0502040204020203" pitchFamily="34" charset="0"/>
              </a:rPr>
              <a:t>A boarder model choice on the latest flagship models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48" name="Rounded Rectangle 12">
            <a:extLst>
              <a:ext uri="{FF2B5EF4-FFF2-40B4-BE49-F238E27FC236}">
                <a16:creationId xmlns:a16="http://schemas.microsoft.com/office/drawing/2014/main" id="{35AE5464-5CB0-33BE-F2F1-E81FA287E03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9035398" y="3980840"/>
            <a:ext cx="2909310" cy="909547"/>
          </a:xfrm>
          <a:prstGeom prst="roundRect">
            <a:avLst>
              <a:gd name="adj" fmla="val 19649"/>
            </a:avLst>
          </a:prstGeom>
          <a:gradFill flip="none" rotWithShape="1">
            <a:gsLst>
              <a:gs pos="0">
                <a:srgbClr val="0078D4"/>
              </a:gs>
              <a:gs pos="99000">
                <a:srgbClr val="C03BC4"/>
              </a:gs>
            </a:gsLst>
            <a:lin ang="0" scaled="1"/>
            <a:tileRect/>
          </a:gradFill>
          <a:ln w="1270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101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lt"/>
                <a:cs typeface="Segoe UI" panose="020B0502040204020203" pitchFamily="34" charset="0"/>
              </a:rPr>
              <a:t>Flexibility on switching models and deployments with given PTU quota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49" name="Rounded Rectangle 12">
            <a:extLst>
              <a:ext uri="{FF2B5EF4-FFF2-40B4-BE49-F238E27FC236}">
                <a16:creationId xmlns:a16="http://schemas.microsoft.com/office/drawing/2014/main" id="{C261660A-DCB3-83F3-97D6-7C22657E2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9030222" y="5189361"/>
            <a:ext cx="2909309" cy="933814"/>
          </a:xfrm>
          <a:prstGeom prst="roundRect">
            <a:avLst>
              <a:gd name="adj" fmla="val 18098"/>
            </a:avLst>
          </a:prstGeom>
          <a:gradFill flip="none" rotWithShape="1">
            <a:gsLst>
              <a:gs pos="0">
                <a:srgbClr val="0078D4"/>
              </a:gs>
              <a:gs pos="99000">
                <a:srgbClr val="C03BC4"/>
              </a:gs>
            </a:gsLst>
            <a:lin ang="0" scaled="1"/>
            <a:tileRect/>
          </a:gradFill>
          <a:ln w="1270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101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lt"/>
                <a:cs typeface="Segoe UI" panose="020B0502040204020203" pitchFamily="34" charset="0"/>
              </a:rPr>
              <a:t>Significant discounts and the ability to boost your reservation utilization with a more flexible Reservation choice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8338DFD-08B0-537F-D868-1AC15AF26C03}"/>
              </a:ext>
            </a:extLst>
          </p:cNvPr>
          <p:cNvSpPr txBox="1"/>
          <p:nvPr/>
        </p:nvSpPr>
        <p:spPr>
          <a:xfrm>
            <a:off x="6316791" y="2707062"/>
            <a:ext cx="98583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Arial"/>
                <a:sym typeface="Arial"/>
              </a:rPr>
              <a:t>(coming soon)</a:t>
            </a:r>
            <a:endParaRPr lang="en-HK" sz="1000" dirty="0"/>
          </a:p>
        </p:txBody>
      </p:sp>
    </p:spTree>
    <p:extLst>
      <p:ext uri="{BB962C8B-B14F-4D97-AF65-F5344CB8AC3E}">
        <p14:creationId xmlns:p14="http://schemas.microsoft.com/office/powerpoint/2010/main" val="490367366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AC8A567-B319-2C68-DB88-AFED95FFDB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HK"/>
              <a:t>Sora API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73496D1-727B-E3F5-42DB-3CF4E77E6891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84200" y="1435100"/>
            <a:ext cx="3683000" cy="5096780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HK" sz="1800" dirty="0"/>
              <a:t>Available in </a:t>
            </a:r>
            <a:r>
              <a:rPr lang="en-HK" sz="1800" b="1" dirty="0"/>
              <a:t>East US2 </a:t>
            </a:r>
            <a:r>
              <a:rPr lang="en-HK" sz="1800" dirty="0"/>
              <a:t>with deployment option </a:t>
            </a:r>
            <a:r>
              <a:rPr lang="en-HK" sz="1800" b="1" dirty="0"/>
              <a:t>Standard/Regional</a:t>
            </a:r>
          </a:p>
          <a:p>
            <a:pPr marL="0" indent="0">
              <a:buNone/>
            </a:pPr>
            <a:endParaRPr lang="en-HK" sz="1800" b="1" dirty="0"/>
          </a:p>
          <a:p>
            <a:pPr>
              <a:buFont typeface="Arial" panose="020B0604020202020204" pitchFamily="34" charset="0"/>
              <a:buChar char="•"/>
            </a:pPr>
            <a:r>
              <a:rPr lang="en-US" sz="1800" b="1" dirty="0"/>
              <a:t>REST API</a:t>
            </a:r>
            <a:r>
              <a:rPr lang="en-US" sz="1800" dirty="0"/>
              <a:t>: text-to-video generation, image-to-video coming soon</a:t>
            </a:r>
          </a:p>
          <a:p>
            <a:pPr>
              <a:buFont typeface="Arial" panose="020B0604020202020204" pitchFamily="34" charset="0"/>
              <a:buChar char="•"/>
            </a:pPr>
            <a:endParaRPr lang="en-US" sz="1800" dirty="0"/>
          </a:p>
          <a:p>
            <a:pPr>
              <a:buFont typeface="Arial" panose="020B0604020202020204" pitchFamily="34" charset="0"/>
              <a:buChar char="•"/>
            </a:pPr>
            <a:r>
              <a:rPr lang="en-US" sz="1800" b="1" dirty="0"/>
              <a:t>Responsible by design:</a:t>
            </a:r>
            <a:r>
              <a:rPr lang="en-US" sz="1800" dirty="0"/>
              <a:t> Content safety, provenance C2PA, and abuse monitoring</a:t>
            </a:r>
          </a:p>
          <a:p>
            <a:pPr>
              <a:buFont typeface="Arial" panose="020B0604020202020204" pitchFamily="34" charset="0"/>
              <a:buChar char="•"/>
            </a:pPr>
            <a:endParaRPr lang="en-US" sz="1800" dirty="0"/>
          </a:p>
          <a:p>
            <a:pPr>
              <a:buFont typeface="Arial" panose="020B0604020202020204" pitchFamily="34" charset="0"/>
              <a:buChar char="•"/>
            </a:pPr>
            <a:r>
              <a:rPr lang="en-US" sz="1800" dirty="0"/>
              <a:t>Generation history through portal/API will be showing in the playground, available for download in 24 hours</a:t>
            </a:r>
          </a:p>
          <a:p>
            <a:pPr>
              <a:buFont typeface="Arial" panose="020B0604020202020204" pitchFamily="34" charset="0"/>
              <a:buChar char="•"/>
            </a:pPr>
            <a:endParaRPr lang="en-HK" sz="1800" dirty="0"/>
          </a:p>
        </p:txBody>
      </p:sp>
      <p:sp>
        <p:nvSpPr>
          <p:cNvPr id="6" name="!!1">
            <a:extLst>
              <a:ext uri="{FF2B5EF4-FFF2-40B4-BE49-F238E27FC236}">
                <a16:creationId xmlns:a16="http://schemas.microsoft.com/office/drawing/2014/main" id="{D82BD030-1010-FB7C-8FC8-8C6143C7727E}"/>
              </a:ext>
            </a:extLst>
          </p:cNvPr>
          <p:cNvSpPr txBox="1"/>
          <p:nvPr/>
        </p:nvSpPr>
        <p:spPr>
          <a:xfrm>
            <a:off x="9332867" y="528055"/>
            <a:ext cx="1962102" cy="463396"/>
          </a:xfrm>
          <a:prstGeom prst="roundRect">
            <a:avLst>
              <a:gd name="adj" fmla="val 28094"/>
            </a:avLst>
          </a:prstGeom>
          <a:gradFill flip="none" rotWithShape="1">
            <a:gsLst>
              <a:gs pos="0">
                <a:srgbClr val="AC35AF"/>
              </a:gs>
              <a:gs pos="80000">
                <a:srgbClr val="0A6BBA"/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 wrap="none" lIns="183697" tIns="36738" rIns="183697" bIns="73478" rtlCol="0" anchor="ctr" anchorCtr="0">
            <a:spAutoFit/>
          </a:bodyPr>
          <a:lstStyle>
            <a:defPPr>
              <a:defRPr lang="en-US"/>
            </a:defPPr>
            <a:lvl1pPr algn="ctr" defTabSz="914346" fontAlgn="base">
              <a:spcBef>
                <a:spcPct val="0"/>
              </a:spcBef>
              <a:spcAft>
                <a:spcPct val="0"/>
              </a:spcAft>
              <a:tabLst>
                <a:tab pos="1487009" algn="l"/>
              </a:tabLst>
              <a:defRPr sz="2000" b="1">
                <a:ln w="3175">
                  <a:noFill/>
                </a:ln>
                <a:gradFill>
                  <a:gsLst>
                    <a:gs pos="53147">
                      <a:srgbClr val="FFFFFF"/>
                    </a:gs>
                    <a:gs pos="28000">
                      <a:srgbClr val="FFFFFF"/>
                    </a:gs>
                  </a:gsLst>
                  <a:path path="circle">
                    <a:fillToRect l="100000" b="100000"/>
                  </a:path>
                </a:gradFill>
                <a:latin typeface="Segoe UI Variable Display Semibold" pitchFamily="2" charset="0"/>
                <a:cs typeface="Segoe UI" pitchFamily="34" charset="0"/>
              </a:defRPr>
            </a:lvl1pPr>
          </a:lstStyle>
          <a:p>
            <a:pPr marL="0" marR="0" lvl="0" indent="0" algn="ctr" defTabSz="91434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487009" algn="l"/>
              </a:tabLst>
              <a:defRPr/>
            </a:pPr>
            <a:r>
              <a:rPr kumimoji="0" lang="en-US" sz="1800" b="1" i="0" u="none" strike="noStrike" kern="1200" cap="none" spc="0" normalizeH="0" baseline="0" noProof="0">
                <a:ln w="3175">
                  <a:noFill/>
                </a:ln>
                <a:gradFill>
                  <a:gsLst>
                    <a:gs pos="53147">
                      <a:srgbClr val="FFFFFF"/>
                    </a:gs>
                    <a:gs pos="28000">
                      <a:srgbClr val="FFFFFF"/>
                    </a:gs>
                  </a:gsLst>
                  <a:path path="circle">
                    <a:fillToRect l="100000" b="100000"/>
                  </a:path>
                </a:gradFill>
                <a:effectLst/>
                <a:uLnTx/>
                <a:uFillTx/>
                <a:latin typeface="Segoe UI Variable Display Semibold" pitchFamily="2" charset="0"/>
                <a:ea typeface="+mn-ea"/>
                <a:cs typeface="Segoe UI" pitchFamily="34" charset="0"/>
                <a:sym typeface="Arial"/>
              </a:rPr>
              <a:t>Public preview</a:t>
            </a:r>
          </a:p>
        </p:txBody>
      </p:sp>
      <p:pic>
        <p:nvPicPr>
          <p:cNvPr id="11" name="Sora">
            <a:hlinkClick r:id="" action="ppaction://media"/>
            <a:extLst>
              <a:ext uri="{FF2B5EF4-FFF2-40B4-BE49-F238E27FC236}">
                <a16:creationId xmlns:a16="http://schemas.microsoft.com/office/drawing/2014/main" id="{64886B85-9D3D-E047-6752-1CBA27ED0B72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4267200" y="1343025"/>
            <a:ext cx="7949400" cy="4657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214669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3.33333E-6 L 0 0.03541 " pathEditMode="relative" rAng="0" ptsTypes="AA">
                                      <p:cBhvr>
                                        <p:cTn id="9" dur="700" spd="-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700"/>
                            </p:stCondLst>
                            <p:childTnLst>
                              <p:par>
                                <p:cTn id="11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2" dur="24191" fill="hold"/>
                                        <p:tgtEl>
                                          <p:spTgt spid="1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13" fill="hold" display="0">
                  <p:stCondLst>
                    <p:cond delay="indefinite"/>
                  </p:stCondLst>
                </p:cTn>
                <p:tgtEl>
                  <p:spTgt spid="11"/>
                </p:tgtEl>
              </p:cMediaNode>
            </p:video>
            <p:seq concurrent="1" nextAc="seek">
              <p:cTn id="14" restart="whenNotActive" fill="hold" evtFilter="cancelBubble" nodeType="interactiveSeq">
                <p:stCondLst>
                  <p:cond evt="onClick" delay="0">
                    <p:tgtEl>
                      <p:spTgt spid="11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5" fill="hold">
                      <p:stCondLst>
                        <p:cond delay="0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8" dur="1" fill="hold"/>
                                        <p:tgtEl>
                                          <p:spTgt spid="1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1"/>
                  </p:tgtEl>
                </p:cond>
              </p:nextCondLst>
            </p:seq>
          </p:childTnLst>
        </p:cTn>
      </p:par>
    </p:tnLst>
    <p:bldLst>
      <p:bldP spid="6" grpId="0" animBg="1"/>
      <p:bldP spid="6" grpId="1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B098D6-1AD0-B84B-F5FA-6534554971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3140588" cy="553998"/>
          </a:xfrm>
        </p:spPr>
        <p:txBody>
          <a:bodyPr/>
          <a:lstStyle/>
          <a:p>
            <a:r>
              <a:rPr lang="fr-BE" dirty="0"/>
              <a:t>Azure </a:t>
            </a:r>
            <a:r>
              <a:rPr lang="fr-BE" dirty="0" err="1"/>
              <a:t>Samples</a:t>
            </a:r>
            <a:r>
              <a:rPr lang="fr-BE" dirty="0"/>
              <a:t> </a:t>
            </a:r>
            <a:r>
              <a:rPr lang="fr-BE" dirty="0" err="1"/>
              <a:t>Visionary</a:t>
            </a:r>
            <a:r>
              <a:rPr lang="fr-BE" dirty="0"/>
              <a:t> </a:t>
            </a:r>
            <a:r>
              <a:rPr lang="fr-BE" dirty="0" err="1"/>
              <a:t>Lab</a:t>
            </a:r>
            <a:endParaRPr lang="en-BE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6A19606-58B1-F2AC-3F25-1914B0EE46DD}"/>
              </a:ext>
            </a:extLst>
          </p:cNvPr>
          <p:cNvSpPr txBox="1"/>
          <p:nvPr/>
        </p:nvSpPr>
        <p:spPr>
          <a:xfrm>
            <a:off x="588263" y="5982632"/>
            <a:ext cx="3140589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  <a:hlinkClick r:id="rId2"/>
              </a:rPr>
              <a:t>Azure-Samples/visionary-lab: Create high-quality visual content with Sora and GPT-Image-1 on Azure OpenAI</a:t>
            </a:r>
            <a:endParaRPr kumimoji="0" lang="en-BE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"/>
              <a:ea typeface="+mn-ea"/>
              <a:cs typeface="+mn-cs"/>
            </a:endParaRPr>
          </a:p>
        </p:txBody>
      </p:sp>
      <p:pic>
        <p:nvPicPr>
          <p:cNvPr id="5122" name="Picture 2" descr="description">
            <a:extLst>
              <a:ext uri="{FF2B5EF4-FFF2-40B4-BE49-F238E27FC236}">
                <a16:creationId xmlns:a16="http://schemas.microsoft.com/office/drawing/2014/main" id="{4AF4B429-FE68-C5D9-814A-4376CCE258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82913" y="457200"/>
            <a:ext cx="8077192" cy="60991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5CF0D5B-FD8D-7488-A7EA-5DB8BECEC161}"/>
              </a:ext>
            </a:extLst>
          </p:cNvPr>
          <p:cNvSpPr txBox="1"/>
          <p:nvPr/>
        </p:nvSpPr>
        <p:spPr>
          <a:xfrm>
            <a:off x="4393870" y="6550223"/>
            <a:ext cx="4308680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Kudos</a:t>
            </a:r>
            <a:r>
              <a:rPr kumimoji="0" lang="fr-BE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 to </a:t>
            </a:r>
            <a:r>
              <a:rPr kumimoji="0" lang="fr-BE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my</a:t>
            </a:r>
            <a:r>
              <a:rPr kumimoji="0" lang="fr-BE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 </a:t>
            </a:r>
            <a:r>
              <a:rPr kumimoji="0" lang="fr-BE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friends</a:t>
            </a:r>
            <a:r>
              <a:rPr kumimoji="0" lang="fr-BE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 in the GBB team for the </a:t>
            </a:r>
            <a:r>
              <a:rPr kumimoji="0" lang="fr-BE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nice</a:t>
            </a:r>
            <a:r>
              <a:rPr kumimoji="0" lang="fr-BE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 </a:t>
            </a:r>
            <a:r>
              <a:rPr kumimoji="0" lang="fr-BE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work</a:t>
            </a:r>
            <a:endParaRPr kumimoji="0" lang="en-BE" sz="14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4685900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C1FD8B-84B9-2A8D-EDF6-2F3EFF0353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7">
            <a:extLst>
              <a:ext uri="{FF2B5EF4-FFF2-40B4-BE49-F238E27FC236}">
                <a16:creationId xmlns:a16="http://schemas.microsoft.com/office/drawing/2014/main" id="{D582030B-8046-6387-E7D5-FC45BD59D231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587375" y="2266588"/>
            <a:ext cx="11017250" cy="61595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50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-50" normalizeH="0" baseline="0" noProof="0" dirty="0">
                <a:ln w="3175">
                  <a:noFill/>
                </a:ln>
                <a:gradFill>
                  <a:gsLst>
                    <a:gs pos="9174">
                      <a:srgbClr val="000000"/>
                    </a:gs>
                    <a:gs pos="42000">
                      <a:srgbClr val="000000"/>
                    </a:gs>
                  </a:gsLst>
                  <a:path path="circle">
                    <a:fillToRect l="100000" t="100000"/>
                  </a:path>
                </a:gradFill>
                <a:effectLst/>
                <a:uLnTx/>
                <a:uFillTx/>
                <a:latin typeface="+mj-lt"/>
                <a:ea typeface="+mn-ea"/>
                <a:cs typeface="Segoe UI" pitchFamily="34" charset="0"/>
              </a:rPr>
              <a:t>Introducing Voice Live API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9B22AD6-7F06-EC61-86E8-24741369C704}"/>
              </a:ext>
            </a:extLst>
          </p:cNvPr>
          <p:cNvSpPr txBox="1"/>
          <p:nvPr/>
        </p:nvSpPr>
        <p:spPr>
          <a:xfrm>
            <a:off x="3581400" y="897939"/>
            <a:ext cx="50292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 w="3175"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Semibold"/>
                <a:ea typeface="+mn-ea"/>
                <a:cs typeface="Segoe UI" pitchFamily="34" charset="0"/>
                <a:sym typeface="Arial"/>
              </a:rPr>
              <a:t>Azure AI Foundry</a:t>
            </a: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38669A4E-694E-B484-EF5D-9FF6442904B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 bwMode="auto">
          <a:xfrm>
            <a:off x="5048038" y="1354613"/>
            <a:ext cx="2095924" cy="481560"/>
          </a:xfrm>
          <a:prstGeom prst="roundRect">
            <a:avLst>
              <a:gd name="adj" fmla="val 34256"/>
            </a:avLst>
          </a:prstGeom>
          <a:gradFill flip="none" rotWithShape="1">
            <a:gsLst>
              <a:gs pos="80000">
                <a:srgbClr val="A9D5ED"/>
              </a:gs>
              <a:gs pos="0">
                <a:srgbClr val="FFC6CC"/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 wrap="square" lIns="182880" tIns="36576" rIns="182880" bIns="73152" rtlCol="0" anchor="ctr" anchorCtr="0">
            <a:spAutoFit/>
          </a:bodyPr>
          <a:lstStyle>
            <a:defPPr>
              <a:defRPr lang="en-US"/>
            </a:defPPr>
            <a:lvl1pPr marL="0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814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7626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440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35252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94066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52877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11691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70503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3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487158" algn="l"/>
              </a:tabLst>
              <a:defRPr/>
            </a:pPr>
            <a:r>
              <a:rPr kumimoji="0" lang="en-US" sz="1800" b="1" i="0" u="none" strike="noStrike" kern="1200" cap="none" spc="0" normalizeH="0" baseline="0" noProof="0" dirty="0">
                <a:ln w="3175">
                  <a:noFill/>
                </a:ln>
                <a:gradFill>
                  <a:gsLst>
                    <a:gs pos="46602">
                      <a:srgbClr val="000000"/>
                    </a:gs>
                    <a:gs pos="80000">
                      <a:srgbClr val="000000"/>
                    </a:gs>
                  </a:gsLst>
                  <a:path path="circle">
                    <a:fillToRect l="100000" t="100000"/>
                  </a:path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  <a:sym typeface="Arial"/>
              </a:rPr>
              <a:t>Public Preview</a:t>
            </a:r>
          </a:p>
        </p:txBody>
      </p:sp>
      <p:sp>
        <p:nvSpPr>
          <p:cNvPr id="5" name="Text Placeholder 18">
            <a:extLst>
              <a:ext uri="{FF2B5EF4-FFF2-40B4-BE49-F238E27FC236}">
                <a16:creationId xmlns:a16="http://schemas.microsoft.com/office/drawing/2014/main" id="{9ECDA73D-72D0-ECB1-0AFD-200674A0CA77}"/>
              </a:ext>
            </a:extLst>
          </p:cNvPr>
          <p:cNvSpPr txBox="1">
            <a:spLocks/>
          </p:cNvSpPr>
          <p:nvPr/>
        </p:nvSpPr>
        <p:spPr>
          <a:xfrm>
            <a:off x="3200400" y="3091929"/>
            <a:ext cx="5791200" cy="86177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solidFill>
                  <a:schemeClr val="tx1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268231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52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 w="3175">
                  <a:noFill/>
                </a:ln>
                <a:gradFill flip="none" rotWithShape="1">
                  <a:gsLst>
                    <a:gs pos="0">
                      <a:srgbClr val="73262F"/>
                    </a:gs>
                    <a:gs pos="80000">
                      <a:srgbClr val="2A446F"/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  <a:sym typeface="Arial"/>
              </a:rPr>
              <a:t>Redefining agent communication with advanced, real-time voice</a:t>
            </a:r>
          </a:p>
        </p:txBody>
      </p:sp>
      <p:sp>
        <p:nvSpPr>
          <p:cNvPr id="6" name="Text Placeholder 19">
            <a:extLst>
              <a:ext uri="{FF2B5EF4-FFF2-40B4-BE49-F238E27FC236}">
                <a16:creationId xmlns:a16="http://schemas.microsoft.com/office/drawing/2014/main" id="{B766A09F-3AF0-7FDC-B5B2-5AE140453403}"/>
              </a:ext>
            </a:extLst>
          </p:cNvPr>
          <p:cNvSpPr txBox="1">
            <a:spLocks/>
          </p:cNvSpPr>
          <p:nvPr/>
        </p:nvSpPr>
        <p:spPr>
          <a:xfrm>
            <a:off x="1123948" y="4526374"/>
            <a:ext cx="3009902" cy="61555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marR="0" indent="0" algn="ct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745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Segoe UI Light" panose="020B0502040204020203" pitchFamily="34" charset="0"/>
                <a:sym typeface="Arial"/>
              </a:rPr>
              <a:t>Use the foundation model of your choice</a:t>
            </a:r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0E1AED85-7FAF-18A0-AADC-6A6261EF5542}"/>
              </a:ext>
            </a:extLst>
          </p:cNvPr>
          <p:cNvSpPr txBox="1">
            <a:spLocks/>
          </p:cNvSpPr>
          <p:nvPr/>
        </p:nvSpPr>
        <p:spPr>
          <a:xfrm>
            <a:off x="4848225" y="4372486"/>
            <a:ext cx="2495550" cy="92333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marR="0" indent="0" algn="ct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745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Segoe UI Light" panose="020B0502040204020203" pitchFamily="34" charset="0"/>
                <a:sym typeface="Arial"/>
              </a:rPr>
              <a:t>Unparalleled speech recognition and synthesis capabilities</a:t>
            </a:r>
          </a:p>
        </p:txBody>
      </p:sp>
      <p:sp>
        <p:nvSpPr>
          <p:cNvPr id="8" name="Text Placeholder 21">
            <a:extLst>
              <a:ext uri="{FF2B5EF4-FFF2-40B4-BE49-F238E27FC236}">
                <a16:creationId xmlns:a16="http://schemas.microsoft.com/office/drawing/2014/main" id="{8A77FE72-4633-351F-5D69-3BFBA652AA23}"/>
              </a:ext>
            </a:extLst>
          </p:cNvPr>
          <p:cNvSpPr txBox="1">
            <a:spLocks/>
          </p:cNvSpPr>
          <p:nvPr/>
        </p:nvSpPr>
        <p:spPr>
          <a:xfrm>
            <a:off x="8144014" y="4526374"/>
            <a:ext cx="2866886" cy="61555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marR="0" indent="0" algn="ct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745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Segoe UI Light" panose="020B0502040204020203" pitchFamily="34" charset="0"/>
                <a:sym typeface="Arial"/>
              </a:rPr>
              <a:t>Fully customizable voices and avatars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F5E27A91-420A-BD86-591D-6B5F7ED04A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V="1">
            <a:off x="4391204" y="4526374"/>
            <a:ext cx="0" cy="646163"/>
          </a:xfrm>
          <a:prstGeom prst="line">
            <a:avLst/>
          </a:prstGeom>
          <a:noFill/>
          <a:ln w="12700" cap="rnd">
            <a:solidFill>
              <a:schemeClr val="tx1">
                <a:lumMod val="5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09D4466-E425-418A-283E-C98017175E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V="1">
            <a:off x="7852724" y="4526374"/>
            <a:ext cx="0" cy="646163"/>
          </a:xfrm>
          <a:prstGeom prst="line">
            <a:avLst/>
          </a:prstGeom>
          <a:noFill/>
          <a:ln w="12700" cap="rnd">
            <a:solidFill>
              <a:schemeClr val="tx1">
                <a:lumMod val="5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BA0D888A-4513-C1F0-E8A4-AB495E8FF4E6}"/>
              </a:ext>
            </a:extLst>
          </p:cNvPr>
          <p:cNvSpPr txBox="1"/>
          <p:nvPr/>
        </p:nvSpPr>
        <p:spPr>
          <a:xfrm>
            <a:off x="3581400" y="5834007"/>
            <a:ext cx="50292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algn="ctr" defTabSz="91440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800" b="1" i="0" u="none" strike="noStrike" cap="none" spc="0" normalizeH="0" baseline="0">
                <a:ln w="3175"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egoe UI Variable Display Semib" pitchFamily="2" charset="0"/>
                <a:cs typeface="Segoe UI" pitchFamily="34" charset="0"/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 w="3175"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Semibold"/>
                <a:cs typeface="Segoe UI" pitchFamily="34" charset="0"/>
                <a:sym typeface="Arial"/>
              </a:rPr>
              <a:t>a</a:t>
            </a:r>
            <a:r>
              <a:rPr kumimoji="0" lang="en-US" sz="1800" b="1" i="0" u="none" strike="noStrike" kern="1200" cap="none" spc="0" normalizeH="0" baseline="0" noProof="0">
                <a:ln w="3175"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Semibold"/>
                <a:ea typeface="+mn-ea"/>
                <a:cs typeface="Segoe UI" pitchFamily="34" charset="0"/>
                <a:sym typeface="Arial"/>
              </a:rPr>
              <a:t>ka.ms/voice-live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5FA58FCE-F32C-5601-DEBF-9B87F59F5F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5207" y="492684"/>
            <a:ext cx="361586" cy="361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5517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Microsoft Build 16:9 Template Dark">
  <a:themeElements>
    <a:clrScheme name="Custom 18">
      <a:dk1>
        <a:srgbClr val="091F2C"/>
      </a:dk1>
      <a:lt1>
        <a:srgbClr val="FFFFFF"/>
      </a:lt1>
      <a:dk2>
        <a:srgbClr val="091F2C"/>
      </a:dk2>
      <a:lt2>
        <a:srgbClr val="E8E6DF"/>
      </a:lt2>
      <a:accent1>
        <a:srgbClr val="D59ED7"/>
      </a:accent1>
      <a:accent2>
        <a:srgbClr val="0078D4"/>
      </a:accent2>
      <a:accent3>
        <a:srgbClr val="FFB900"/>
      </a:accent3>
      <a:accent4>
        <a:srgbClr val="D7D2CB"/>
      </a:accent4>
      <a:accent5>
        <a:srgbClr val="FF5C39"/>
      </a:accent5>
      <a:accent6>
        <a:srgbClr val="D2D2D2"/>
      </a:accent6>
      <a:hlink>
        <a:srgbClr val="D59ED7"/>
      </a:hlink>
      <a:folHlink>
        <a:srgbClr val="D59ED7"/>
      </a:folHlink>
    </a:clrScheme>
    <a:fontScheme name="Microsoft 2019 Brand Templates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err="1" smtClean="0">
            <a:solidFill>
              <a:schemeClr val="bg1"/>
            </a:soli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/>
        </a:defPPr>
      </a:lstStyle>
    </a:txDef>
  </a:objectDefaults>
  <a:extraClrSchemeLst/>
  <a:custClrLst>
    <a:custClr name="Light Brown">
      <a:srgbClr val="E1D3C7"/>
    </a:custClr>
    <a:custClr name="Light Yellow">
      <a:srgbClr val="FFE399"/>
    </a:custClr>
    <a:custClr name="Light Orange">
      <a:srgbClr val="FFA38B"/>
    </a:custClr>
    <a:custClr name="Light Red">
      <a:srgbClr val="FFB3BB"/>
    </a:custClr>
    <a:custClr name="Light Magenta">
      <a:srgbClr val="D59ED7"/>
    </a:custClr>
    <a:custClr name="Light Purple">
      <a:srgbClr val="C5B4E3"/>
    </a:custClr>
    <a:custClr name="Light Blue">
      <a:srgbClr val="8DC8E8"/>
    </a:custClr>
    <a:custClr name="Light Teal">
      <a:srgbClr val="B9DCD2"/>
    </a:custClr>
    <a:custClr name="Light Green">
      <a:srgbClr val="D4EC8E"/>
    </a:custClr>
    <a:custClr name="Blue Black">
      <a:srgbClr val="091F2C"/>
    </a:custClr>
    <a:custClr name="Brown">
      <a:srgbClr val="BF9474"/>
    </a:custClr>
    <a:custClr name="Yellow">
      <a:srgbClr val="FFB900"/>
    </a:custClr>
    <a:custClr name="Orange">
      <a:srgbClr val="FF5C39"/>
    </a:custClr>
    <a:custClr name="Red">
      <a:srgbClr val="F4364C"/>
    </a:custClr>
    <a:custClr name="Magenta">
      <a:srgbClr val="C03BC4"/>
    </a:custClr>
    <a:custClr name="Purple">
      <a:srgbClr val="8661C5"/>
    </a:custClr>
    <a:custClr name="Blue">
      <a:srgbClr val="0078D4"/>
    </a:custClr>
    <a:custClr name="Teal">
      <a:srgbClr val="49C5B1"/>
    </a:custClr>
    <a:custClr name="Green">
      <a:srgbClr val="8DE971"/>
    </a:custClr>
    <a:custClr name="Rich Black">
      <a:srgbClr val="000000"/>
    </a:custClr>
    <a:custClr name="Dark Brown">
      <a:srgbClr val="5C4738"/>
    </a:custClr>
    <a:custClr name="Dark Yellow">
      <a:srgbClr val="7F5A1A"/>
    </a:custClr>
    <a:custClr name="Dark Orange">
      <a:srgbClr val="73391D"/>
    </a:custClr>
    <a:custClr name="Dark Red">
      <a:srgbClr val="73262F"/>
    </a:custClr>
    <a:custClr name="Dark Magenta">
      <a:srgbClr val="702573"/>
    </a:custClr>
    <a:custClr name="Dark Purple">
      <a:srgbClr val="463668"/>
    </a:custClr>
    <a:custClr name="Dark Blue">
      <a:srgbClr val="2A446F"/>
    </a:custClr>
    <a:custClr name="Dark Teal">
      <a:srgbClr val="225B62"/>
    </a:custClr>
    <a:custClr name="Dark Green">
      <a:srgbClr val="07641D"/>
    </a:custClr>
    <a:custClr name="Brown Black">
      <a:srgbClr val="291817"/>
    </a:custClr>
    <a:custClr name="Pure White">
      <a:srgbClr val="FFFFFF"/>
    </a:custClr>
    <a:custClr name="Off White">
      <a:srgbClr val="F4F3F5"/>
    </a:custClr>
    <a:custClr name="Warm White">
      <a:srgbClr val="FFF8F3"/>
    </a:custClr>
    <a:custClr name="Warm Light Gray">
      <a:srgbClr val="E8E6DF"/>
    </a:custClr>
    <a:custClr name="Mid Gray">
      <a:srgbClr val="D7D2CB"/>
    </a:custClr>
    <a:custClr name="Warm Gray">
      <a:srgbClr val="8C8279"/>
    </a:custClr>
    <a:custClr name="Light Gray">
      <a:srgbClr val="D9D9D6"/>
    </a:custClr>
    <a:custClr name="Cool Gray">
      <a:srgbClr val="B1B3B3"/>
    </a:custClr>
    <a:custClr name="Dark Gray">
      <a:srgbClr val="454142"/>
    </a:custClr>
    <a:custClr name="Pure White">
      <a:srgbClr val="FFFFFF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</a:custClrLst>
  <a:extLst>
    <a:ext uri="{05A4C25C-085E-4340-85A3-A5531E510DB2}">
      <thm15:themeFamily xmlns:thm15="http://schemas.microsoft.com/office/thememl/2012/main" name="Build_2025_16-9 Event-template" id="{C2469FDB-82FA-4F2B-9769-C862A0A29573}" vid="{BAEEBADA-AA8C-4424-A9AC-AB189F0E2C04}"/>
    </a:ext>
  </a:extLst>
</a:theme>
</file>

<file path=ppt/theme/theme2.xml><?xml version="1.0" encoding="utf-8"?>
<a:theme xmlns:a="http://schemas.openxmlformats.org/drawingml/2006/main" name="Microsoft Build 16:9 Template Light">
  <a:themeElements>
    <a:clrScheme name="Custom 16">
      <a:dk1>
        <a:srgbClr val="000000"/>
      </a:dk1>
      <a:lt1>
        <a:srgbClr val="FFFFFF"/>
      </a:lt1>
      <a:dk2>
        <a:srgbClr val="2A446F"/>
      </a:dk2>
      <a:lt2>
        <a:srgbClr val="E8E6DF"/>
      </a:lt2>
      <a:accent1>
        <a:srgbClr val="8661C5"/>
      </a:accent1>
      <a:accent2>
        <a:srgbClr val="0078D4"/>
      </a:accent2>
      <a:accent3>
        <a:srgbClr val="FFB900"/>
      </a:accent3>
      <a:accent4>
        <a:srgbClr val="D7D2CB"/>
      </a:accent4>
      <a:accent5>
        <a:srgbClr val="FF5C39"/>
      </a:accent5>
      <a:accent6>
        <a:srgbClr val="D7D2CB"/>
      </a:accent6>
      <a:hlink>
        <a:srgbClr val="8661C5"/>
      </a:hlink>
      <a:folHlink>
        <a:srgbClr val="8661C5"/>
      </a:folHlink>
    </a:clrScheme>
    <a:fontScheme name="Microsoft 2019 Brand Templates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err="1" smtClean="0">
            <a:solidFill>
              <a:srgbClr val="FFFFFF"/>
            </a:soli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/>
        </a:defPPr>
      </a:lstStyle>
    </a:txDef>
  </a:objectDefaults>
  <a:extraClrSchemeLst/>
  <a:custClrLst>
    <a:custClr name="Light Brown">
      <a:srgbClr val="E1D3C7"/>
    </a:custClr>
    <a:custClr name="Light Yellow">
      <a:srgbClr val="FFE399"/>
    </a:custClr>
    <a:custClr name="Light Orange">
      <a:srgbClr val="FFA38B"/>
    </a:custClr>
    <a:custClr name="Light Red">
      <a:srgbClr val="FFB3BB"/>
    </a:custClr>
    <a:custClr name="Light Magenta">
      <a:srgbClr val="D59ED7"/>
    </a:custClr>
    <a:custClr name="Light Purple">
      <a:srgbClr val="C5B4E3"/>
    </a:custClr>
    <a:custClr name="Light Blue">
      <a:srgbClr val="8DC8E8"/>
    </a:custClr>
    <a:custClr name="Light Teal">
      <a:srgbClr val="B9DCD2"/>
    </a:custClr>
    <a:custClr name="Light Green">
      <a:srgbClr val="D4EC8E"/>
    </a:custClr>
    <a:custClr name="Blue Black">
      <a:srgbClr val="091F2C"/>
    </a:custClr>
    <a:custClr name="Brown">
      <a:srgbClr val="BF9474"/>
    </a:custClr>
    <a:custClr name="Yellow">
      <a:srgbClr val="FFB900"/>
    </a:custClr>
    <a:custClr name="Orange">
      <a:srgbClr val="FF5C39"/>
    </a:custClr>
    <a:custClr name="Red">
      <a:srgbClr val="F4364C"/>
    </a:custClr>
    <a:custClr name="Magenta">
      <a:srgbClr val="C03BC4"/>
    </a:custClr>
    <a:custClr name="Purple">
      <a:srgbClr val="8661C5"/>
    </a:custClr>
    <a:custClr name="Blue">
      <a:srgbClr val="0078D4"/>
    </a:custClr>
    <a:custClr name="Teal">
      <a:srgbClr val="49C5B1"/>
    </a:custClr>
    <a:custClr name="Green">
      <a:srgbClr val="8DE971"/>
    </a:custClr>
    <a:custClr name="Rich Black">
      <a:srgbClr val="000000"/>
    </a:custClr>
    <a:custClr name="Dark Brown">
      <a:srgbClr val="5C4738"/>
    </a:custClr>
    <a:custClr name="Dark Yellow">
      <a:srgbClr val="7F5A1A"/>
    </a:custClr>
    <a:custClr name="Dark Orange">
      <a:srgbClr val="73391D"/>
    </a:custClr>
    <a:custClr name="Dark Red">
      <a:srgbClr val="73262F"/>
    </a:custClr>
    <a:custClr name="Dark Magenta">
      <a:srgbClr val="702573"/>
    </a:custClr>
    <a:custClr name="Dark Purple">
      <a:srgbClr val="463668"/>
    </a:custClr>
    <a:custClr name="Dark Blue">
      <a:srgbClr val="2A446F"/>
    </a:custClr>
    <a:custClr name="Dark Teal">
      <a:srgbClr val="225B62"/>
    </a:custClr>
    <a:custClr name="Dark Green">
      <a:srgbClr val="07641D"/>
    </a:custClr>
    <a:custClr name="Brown Black">
      <a:srgbClr val="291817"/>
    </a:custClr>
    <a:custClr name="Pure White">
      <a:srgbClr val="FFFFFF"/>
    </a:custClr>
    <a:custClr name="Off White">
      <a:srgbClr val="F4F3F5"/>
    </a:custClr>
    <a:custClr name="Warm White">
      <a:srgbClr val="FFF8F3"/>
    </a:custClr>
    <a:custClr name="Warm Light Gray">
      <a:srgbClr val="E8E6DF"/>
    </a:custClr>
    <a:custClr name="Mid Gray">
      <a:srgbClr val="D7D2CB"/>
    </a:custClr>
    <a:custClr name="Warm Gray">
      <a:srgbClr val="8C8279"/>
    </a:custClr>
    <a:custClr name="Light Gray">
      <a:srgbClr val="D9D9D6"/>
    </a:custClr>
    <a:custClr name="Cool Gray">
      <a:srgbClr val="B1B3B3"/>
    </a:custClr>
    <a:custClr name="Dark Gray">
      <a:srgbClr val="454142"/>
    </a:custClr>
    <a:custClr name="Pure White">
      <a:srgbClr val="FFFFFF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</a:custClrLst>
  <a:extLst>
    <a:ext uri="{05A4C25C-085E-4340-85A3-A5531E510DB2}">
      <thm15:themeFamily xmlns:thm15="http://schemas.microsoft.com/office/thememl/2012/main" name="Build_2025_16-9 Event-template" id="{C2469FDB-82FA-4F2B-9769-C862A0A29573}" vid="{70371F83-8744-4A35-8E82-4A9015383011}"/>
    </a:ext>
  </a:extLst>
</a:theme>
</file>

<file path=ppt/theme/theme3.xml><?xml version="1.0" encoding="utf-8"?>
<a:theme xmlns:a="http://schemas.openxmlformats.org/drawingml/2006/main" name="Power Platform - Core Pattern Templates">
  <a:themeElements>
    <a:clrScheme name="Core Pattern Decks">
      <a:dk1>
        <a:srgbClr val="000000"/>
      </a:dk1>
      <a:lt1>
        <a:srgbClr val="FFFFFF"/>
      </a:lt1>
      <a:dk2>
        <a:srgbClr val="2A446F"/>
      </a:dk2>
      <a:lt2>
        <a:srgbClr val="C3E5FE"/>
      </a:lt2>
      <a:accent1>
        <a:srgbClr val="374649"/>
      </a:accent1>
      <a:accent2>
        <a:srgbClr val="50E6FF"/>
      </a:accent2>
      <a:accent3>
        <a:srgbClr val="742774"/>
      </a:accent3>
      <a:accent4>
        <a:srgbClr val="0B556A"/>
      </a:accent4>
      <a:accent5>
        <a:srgbClr val="222043"/>
      </a:accent5>
      <a:accent6>
        <a:srgbClr val="14938C"/>
      </a:accent6>
      <a:hlink>
        <a:srgbClr val="0078D4"/>
      </a:hlink>
      <a:folHlink>
        <a:srgbClr val="50E6FF"/>
      </a:folHlink>
    </a:clrScheme>
    <a:fontScheme name="Microsoft 2019 Brand Templates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err="1" smtClean="0">
            <a:solidFill>
              <a:srgbClr val="FFFFFF"/>
            </a:soli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/>
        </a:defPPr>
      </a:lstStyle>
    </a:txDef>
  </a:objectDefaults>
  <a:extraClrSchemeLst/>
  <a:custClrLst>
    <a:custClr name="Light Orange">
      <a:srgbClr val="FFA38B"/>
    </a:custClr>
    <a:custClr name="Light Red">
      <a:srgbClr val="FF5C39"/>
    </a:custClr>
    <a:custClr name="Red">
      <a:srgbClr val="F4364C"/>
    </a:custClr>
    <a:custClr name="Dark Red">
      <a:srgbClr val="73262F"/>
    </a:custClr>
    <a:custClr name="Light Purple">
      <a:srgbClr val="C5B4E3"/>
    </a:custClr>
    <a:custClr name="Light Violet">
      <a:srgbClr val="D59ED7"/>
    </a:custClr>
    <a:custClr name="Red Violet">
      <a:srgbClr val="C03BC4"/>
    </a:custClr>
    <a:custClr name="Dark Violet">
      <a:srgbClr val="702573"/>
    </a:custClr>
    <a:custClr name="Light Teal">
      <a:srgbClr val="B9DCD2"/>
    </a:custClr>
    <a:custClr name="Light Blue">
      <a:srgbClr val="8DC8E8"/>
    </a:custClr>
    <a:custClr name="Brilliant Blue">
      <a:srgbClr val="0078D4"/>
    </a:custClr>
    <a:custClr name="Dark Blue">
      <a:srgbClr val="2A446F"/>
    </a:custClr>
    <a:custClr name="Light Green">
      <a:srgbClr val="D4EC8E"/>
    </a:custClr>
    <a:custClr name="Green">
      <a:srgbClr val="8DE971"/>
    </a:custClr>
    <a:custClr name="Biscay Green">
      <a:srgbClr val="49C5B1"/>
    </a:custClr>
    <a:custClr name="Dark Teal">
      <a:srgbClr val="225B62"/>
    </a:custClr>
    <a:custClr name="Pure White">
      <a:srgbClr val="FFFFFF"/>
    </a:custClr>
    <a:custClr name="Off White">
      <a:srgbClr val="F4F3F5"/>
    </a:custClr>
    <a:custClr name="Extra Light Gray">
      <a:srgbClr val="F2F2F2"/>
    </a:custClr>
    <a:custClr name="Pure Black">
      <a:srgbClr val="000000"/>
    </a:custClr>
  </a:custClrLst>
  <a:extLst>
    <a:ext uri="{05A4C25C-085E-4340-85A3-A5531E510DB2}">
      <thm15:themeFamily xmlns:thm15="http://schemas.microsoft.com/office/thememl/2012/main" name="Presentation1" id="{652C1184-2488-449E-A844-5E413F9B44B9}" vid="{6D0986AC-F46A-4ED2-8B22-83492290F949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Metadata/LabelInfo.xml><?xml version="1.0" encoding="utf-8"?>
<clbl:labelList xmlns:clbl="http://schemas.microsoft.com/office/2020/mipLabelMetadata">
  <clbl:label id="{f42aa342-8706-4288-bd11-ebb85995028c}" enabled="1" method="Privileged" siteId="{72f988bf-86f1-41af-91ab-2d7cd011db4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643</Words>
  <Application>Microsoft Office PowerPoint</Application>
  <PresentationFormat>Widescreen</PresentationFormat>
  <Paragraphs>528</Paragraphs>
  <Slides>47</Slides>
  <Notes>24</Notes>
  <HiddenSlides>0</HiddenSlides>
  <MMClips>7</MMClips>
  <ScaleCrop>false</ScaleCrop>
  <HeadingPairs>
    <vt:vector size="6" baseType="variant">
      <vt:variant>
        <vt:lpstr>Fonts Used</vt:lpstr>
      </vt:variant>
      <vt:variant>
        <vt:i4>20</vt:i4>
      </vt:variant>
      <vt:variant>
        <vt:lpstr>Theme</vt:lpstr>
      </vt:variant>
      <vt:variant>
        <vt:i4>3</vt:i4>
      </vt:variant>
      <vt:variant>
        <vt:lpstr>Slide Titles</vt:lpstr>
      </vt:variant>
      <vt:variant>
        <vt:i4>47</vt:i4>
      </vt:variant>
    </vt:vector>
  </HeadingPairs>
  <TitlesOfParts>
    <vt:vector size="70" baseType="lpstr">
      <vt:lpstr>Segoe Sans Text</vt:lpstr>
      <vt:lpstr>Cascadia Mono Light</vt:lpstr>
      <vt:lpstr>Consolas</vt:lpstr>
      <vt:lpstr>Segoe Sans Display Semibold</vt:lpstr>
      <vt:lpstr>Calibri</vt:lpstr>
      <vt:lpstr>Segoe UI</vt:lpstr>
      <vt:lpstr>Mona Sans</vt:lpstr>
      <vt:lpstr>Aptos</vt:lpstr>
      <vt:lpstr>Segoe UI Variable Display Semib</vt:lpstr>
      <vt:lpstr>Segoe Sans Display</vt:lpstr>
      <vt:lpstr>Quattrocento Sans</vt:lpstr>
      <vt:lpstr>Arial</vt:lpstr>
      <vt:lpstr>Wingdings</vt:lpstr>
      <vt:lpstr>Segoe Pro Display</vt:lpstr>
      <vt:lpstr>Segoe Pro Display Semibold</vt:lpstr>
      <vt:lpstr>Segoe UI Semibold (Headings)</vt:lpstr>
      <vt:lpstr>Segoe UI Semilight</vt:lpstr>
      <vt:lpstr>Segoe UI Variable Display Semibold</vt:lpstr>
      <vt:lpstr>Segoe UI Semibold</vt:lpstr>
      <vt:lpstr>Segoe Sans Text Semibold</vt:lpstr>
      <vt:lpstr>Microsoft Build 16:9 Template Dark</vt:lpstr>
      <vt:lpstr>Microsoft Build 16:9 Template Light</vt:lpstr>
      <vt:lpstr>Power Platform - Core Pattern Templates</vt:lpstr>
      <vt:lpstr>Exploring the Agent landscape</vt:lpstr>
      <vt:lpstr>Agenda</vt:lpstr>
      <vt:lpstr>Latest Updates</vt:lpstr>
      <vt:lpstr>Azure AI Foundry stack</vt:lpstr>
      <vt:lpstr>Models Sold Directly By Azure</vt:lpstr>
      <vt:lpstr>PowerPoint Presentation</vt:lpstr>
      <vt:lpstr>Sora API</vt:lpstr>
      <vt:lpstr>Azure Samples Visionary Lab</vt:lpstr>
      <vt:lpstr>Introducing Voice Live API</vt:lpstr>
      <vt:lpstr>PowerPoint Presentation</vt:lpstr>
      <vt:lpstr>PowerPoint Presentation</vt:lpstr>
      <vt:lpstr>PowerPoint Presentation</vt:lpstr>
      <vt:lpstr>Agent mode</vt:lpstr>
      <vt:lpstr>New VS Code extensions on Database</vt:lpstr>
      <vt:lpstr>App modernization announcement</vt:lpstr>
      <vt:lpstr>Coding Agent</vt:lpstr>
      <vt:lpstr>PowerPoint Presentation</vt:lpstr>
      <vt:lpstr>PowerPoint Presentation</vt:lpstr>
      <vt:lpstr>PowerPoint Presentation</vt:lpstr>
      <vt:lpstr>PowerPoint Presentation</vt:lpstr>
      <vt:lpstr>Open source Copilot extension for VS Code</vt:lpstr>
      <vt:lpstr>Tools for Building Agents</vt:lpstr>
      <vt:lpstr>Building Agents with your Preferred Ways</vt:lpstr>
      <vt:lpstr>PowerPoint Presentation</vt:lpstr>
      <vt:lpstr>Agent Store</vt:lpstr>
      <vt:lpstr>PowerPoint Presentation</vt:lpstr>
      <vt:lpstr>PowerPoint Presentation</vt:lpstr>
      <vt:lpstr>Agent Builder</vt:lpstr>
      <vt:lpstr>PowerPoint Presentation</vt:lpstr>
      <vt:lpstr>PowerPoint Presentation</vt:lpstr>
      <vt:lpstr>Copilot Studio</vt:lpstr>
      <vt:lpstr>Multi-agent orchestration in Copilot Studio</vt:lpstr>
      <vt:lpstr>Copilot Studio agent   </vt:lpstr>
      <vt:lpstr>Agents seamlessly connect and work together</vt:lpstr>
      <vt:lpstr>Microsoft 365 Copilot APIs</vt:lpstr>
      <vt:lpstr>Copilot APIs</vt:lpstr>
      <vt:lpstr>Multi-Agent Challenges</vt:lpstr>
      <vt:lpstr>The need for MCP arises – a Timeline</vt:lpstr>
      <vt:lpstr>MCP &amp; A2A</vt:lpstr>
      <vt:lpstr>What’s supported today?</vt:lpstr>
      <vt:lpstr>MCP Microsoft Ecosystem</vt:lpstr>
      <vt:lpstr>PowerPoint Presentation</vt:lpstr>
      <vt:lpstr>Building and Managing MCP servers</vt:lpstr>
      <vt:lpstr>PowerPoint Presentation</vt:lpstr>
      <vt:lpstr>Building Agents in your Preferred Ways</vt:lpstr>
      <vt:lpstr>Working with A2A &amp; MCP with Azure AI Foundry Agent Service</vt:lpstr>
      <vt:lpstr>Microsoft Cloud &amp; AI Bootcamp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keywords/>
  <cp:lastModifiedBy/>
  <cp:revision>1</cp:revision>
  <dcterms:created xsi:type="dcterms:W3CDTF">2025-06-05T09:51:44Z</dcterms:created>
  <dcterms:modified xsi:type="dcterms:W3CDTF">2025-07-03T12:45:28Z</dcterms:modified>
  <cp:category/>
  <cp:contentStatus/>
</cp:coreProperties>
</file>